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3.xml" ContentType="application/vnd.openxmlformats-officedocument.theme+xml"/>
  <Override PartName="/ppt/tags/tag33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4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charts/chart9.xml" ContentType="application/vnd.openxmlformats-officedocument.drawingml.chart+xml"/>
  <Override PartName="/ppt/tags/tag84.xml" ContentType="application/vnd.openxmlformats-officedocument.presentationml.tags+xml"/>
  <Override PartName="/ppt/charts/chart10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11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88" r:id="rId3"/>
    <p:sldMasterId id="2147483709" r:id="rId4"/>
  </p:sldMasterIdLst>
  <p:sldIdLst>
    <p:sldId id="256" r:id="rId5"/>
    <p:sldId id="2147478305" r:id="rId6"/>
    <p:sldId id="2147478338" r:id="rId7"/>
    <p:sldId id="2147478462" r:id="rId8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69" autoAdjust="0"/>
    <p:restoredTop sz="94660"/>
  </p:normalViewPr>
  <p:slideViewPr>
    <p:cSldViewPr snapToGrid="0">
      <p:cViewPr varScale="1">
        <p:scale>
          <a:sx n="86" d="100"/>
          <a:sy n="86" d="100"/>
        </p:scale>
        <p:origin x="204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/lsgbldn009\Group$\David%20Jollie\JM+\S&amp;D%20January%202023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/lsgbldn009\Group$\David%20Jollie\JM+\S&amp;D%20January%202023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0706075533661742"/>
          <c:y val="0.10236220472440945"/>
          <c:w val="0.60755336617405586"/>
          <c:h val="0.7952755905511811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21.852536396199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576-46EC-B9A1-872CB51A3CC5}"/>
            </c:ext>
          </c:extLst>
        </c:ser>
        <c:ser>
          <c:idx val="1"/>
          <c:order val="1"/>
          <c:spPr>
            <a:solidFill>
              <a:srgbClr val="669834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92.067243505299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576-46EC-B9A1-872CB51A3CC5}"/>
            </c:ext>
          </c:extLst>
        </c:ser>
        <c:ser>
          <c:idx val="2"/>
          <c:order val="2"/>
          <c:spPr>
            <a:solidFill>
              <a:srgbClr val="9DB1CF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2.65096343167009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576-46EC-B9A1-872CB51A3CC5}"/>
            </c:ext>
          </c:extLst>
        </c:ser>
        <c:ser>
          <c:idx val="3"/>
          <c:order val="3"/>
          <c:spPr>
            <a:solidFill>
              <a:schemeClr val="tx1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4.42925666683137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576-46EC-B9A1-872CB51A3C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65569439"/>
        <c:axId val="1"/>
      </c:barChart>
      <c:catAx>
        <c:axId val="11655694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5569439"/>
        <c:crosses val="min"/>
        <c:crossBetween val="between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1200" b="1" dirty="0">
                <a:solidFill>
                  <a:schemeClr val="tx1"/>
                </a:solidFill>
              </a:rPr>
              <a:t>PGM demand by end-use, $</a:t>
            </a:r>
            <a:r>
              <a:rPr lang="en-US" sz="1200" b="1" dirty="0" err="1">
                <a:solidFill>
                  <a:schemeClr val="tx1"/>
                </a:solidFill>
              </a:rPr>
              <a:t>mn</a:t>
            </a:r>
            <a:endParaRPr lang="en-US" sz="1200" b="1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1988057483243716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9356770155965949"/>
          <c:y val="0.17332531350247884"/>
          <c:w val="0.64326500818874022"/>
          <c:h val="0.82266071110823535"/>
        </c:manualLayout>
      </c:layout>
      <c:pieChart>
        <c:varyColors val="1"/>
        <c:ser>
          <c:idx val="0"/>
          <c:order val="0"/>
          <c:spPr>
            <a:solidFill>
              <a:schemeClr val="tx1"/>
            </a:solidFill>
          </c:spPr>
          <c:dPt>
            <c:idx val="0"/>
            <c:bubble3D val="0"/>
            <c:spPr>
              <a:solidFill>
                <a:schemeClr val="tx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378-4063-8C27-1FD6C0CBDD3C}"/>
              </c:ext>
            </c:extLst>
          </c:dPt>
          <c:dPt>
            <c:idx val="1"/>
            <c:bubble3D val="0"/>
            <c:spPr>
              <a:solidFill>
                <a:schemeClr val="tx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378-4063-8C27-1FD6C0CBDD3C}"/>
              </c:ext>
            </c:extLst>
          </c:dPt>
          <c:dPt>
            <c:idx val="2"/>
            <c:bubble3D val="0"/>
            <c:spPr>
              <a:solidFill>
                <a:schemeClr val="tx1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378-4063-8C27-1FD6C0CBDD3C}"/>
              </c:ext>
            </c:extLst>
          </c:dPt>
          <c:dPt>
            <c:idx val="3"/>
            <c:bubble3D val="0"/>
            <c:spPr>
              <a:solidFill>
                <a:schemeClr val="tx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378-4063-8C27-1FD6C0CBDD3C}"/>
              </c:ext>
            </c:extLst>
          </c:dPt>
          <c:dLbls>
            <c:dLbl>
              <c:idx val="0"/>
              <c:layout>
                <c:manualLayout>
                  <c:x val="-0.10696583832579712"/>
                  <c:y val="-0.27887891465407078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0D67FFE4-6BF4-4687-A74A-E3C7D3AF618B}" type="CATEGORYNAME">
                      <a:rPr lang="en-US" sz="900">
                        <a:solidFill>
                          <a:schemeClr val="bg1"/>
                        </a:solidFill>
                      </a:rPr>
                      <a:pPr>
                        <a:defRPr sz="900">
                          <a:solidFill>
                            <a:schemeClr val="bg1"/>
                          </a:solidFill>
                        </a:defRPr>
                      </a:pPr>
                      <a:t>[CATEGORY NAME]</a:t>
                    </a:fld>
                    <a:r>
                      <a:rPr lang="en-US" sz="900">
                        <a:solidFill>
                          <a:schemeClr val="bg1"/>
                        </a:solidFill>
                      </a:rPr>
                      <a:t>, </a:t>
                    </a:r>
                    <a:fld id="{67BCB71D-1638-409C-93B3-339513A520A9}" type="VALUE">
                      <a:rPr lang="en-US" sz="900">
                        <a:solidFill>
                          <a:schemeClr val="bg1"/>
                        </a:solidFill>
                      </a:rPr>
                      <a:pPr>
                        <a:defRPr sz="900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US" sz="900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2378-4063-8C27-1FD6C0CBDD3C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526C60A2-7261-4499-A04D-552DEF9DF2F1}" type="CATEGORYNAME">
                      <a:rPr lang="en-US" sz="900">
                        <a:solidFill>
                          <a:schemeClr val="bg1"/>
                        </a:solidFill>
                      </a:rPr>
                      <a:pPr>
                        <a:defRPr sz="900">
                          <a:solidFill>
                            <a:schemeClr val="bg1"/>
                          </a:solidFill>
                        </a:defRPr>
                      </a:pPr>
                      <a:t>[CATEGORY NAME]</a:t>
                    </a:fld>
                    <a:r>
                      <a:rPr lang="en-US" sz="900" baseline="0" dirty="0">
                        <a:solidFill>
                          <a:schemeClr val="bg1"/>
                        </a:solidFill>
                      </a:rPr>
                      <a:t>, </a:t>
                    </a:r>
                    <a:fld id="{52AD85D9-D08D-459C-BC17-095A5C4EE9D7}" type="VALUE">
                      <a:rPr lang="en-US" sz="900" baseline="0">
                        <a:solidFill>
                          <a:schemeClr val="bg1"/>
                        </a:solidFill>
                      </a:rPr>
                      <a:pPr>
                        <a:defRPr sz="900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US" sz="900" baseline="0" dirty="0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2378-4063-8C27-1FD6C0CBDD3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6AF6A7A-C730-494F-94A9-4933664386D3}" type="CATEGORYNAME">
                      <a:rPr lang="en-US">
                        <a:solidFill>
                          <a:schemeClr val="tx1"/>
                        </a:solidFill>
                      </a:rPr>
                      <a:pPr/>
                      <a:t>[CATEGORY NAME]</a:t>
                    </a:fld>
                    <a:r>
                      <a:rPr lang="en-US" baseline="0" dirty="0">
                        <a:solidFill>
                          <a:schemeClr val="tx1"/>
                        </a:solidFill>
                      </a:rPr>
                      <a:t>, </a:t>
                    </a:r>
                    <a:fld id="{4110FEEB-A864-413A-8A4A-B420D537198B}" type="VALUE">
                      <a:rPr lang="en-US" baseline="0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US" baseline="0" dirty="0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2378-4063-8C27-1FD6C0CBDD3C}"/>
                </c:ext>
              </c:extLst>
            </c:dLbl>
            <c:dLbl>
              <c:idx val="3"/>
              <c:layout>
                <c:manualLayout>
                  <c:x val="9.049038893551653E-2"/>
                  <c:y val="1.7617291339771482E-2"/>
                </c:manualLayout>
              </c:layout>
              <c:tx>
                <c:rich>
                  <a:bodyPr/>
                  <a:lstStyle/>
                  <a:p>
                    <a:fld id="{2D0C1738-8CE2-4687-A121-D524F5DA8104}" type="CATEGORYNAME">
                      <a:rPr lang="en-US">
                        <a:solidFill>
                          <a:schemeClr val="tx1"/>
                        </a:solidFill>
                      </a:rPr>
                      <a:pPr/>
                      <a:t>[CATEGORY NAME]</a:t>
                    </a:fld>
                    <a:r>
                      <a:rPr lang="en-US" baseline="0" dirty="0">
                        <a:solidFill>
                          <a:schemeClr val="tx1"/>
                        </a:solidFill>
                      </a:rPr>
                      <a:t>, </a:t>
                    </a:r>
                    <a:fld id="{DAB3BDD1-B3AE-46CB-A009-F4C4886F8779}" type="VALUE">
                      <a:rPr lang="en-US" baseline="0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US" baseline="0" dirty="0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2378-4063-8C27-1FD6C0CBDD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For market update'!$CF$58:$CF$61</c:f>
              <c:strCache>
                <c:ptCount val="4"/>
                <c:pt idx="0">
                  <c:v>Automotive</c:v>
                </c:pt>
                <c:pt idx="1">
                  <c:v>Industrial</c:v>
                </c:pt>
                <c:pt idx="2">
                  <c:v>Jewellery</c:v>
                </c:pt>
                <c:pt idx="3">
                  <c:v>Investment</c:v>
                </c:pt>
              </c:strCache>
            </c:strRef>
          </c:cat>
          <c:val>
            <c:numRef>
              <c:f>'For market update'!$CG$58:$CG$61</c:f>
              <c:numCache>
                <c:formatCode>_-* #,##0_-;\-* #,##0_-;_-* "-"??_-;_-@_-</c:formatCode>
                <c:ptCount val="4"/>
                <c:pt idx="0">
                  <c:v>32435.207899999998</c:v>
                </c:pt>
                <c:pt idx="1">
                  <c:v>5944.2657999999992</c:v>
                </c:pt>
                <c:pt idx="2">
                  <c:v>1908.0042750000002</c:v>
                </c:pt>
                <c:pt idx="3">
                  <c:v>127.767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378-4063-8C27-1FD6C0CBDD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1200" b="1" dirty="0">
                <a:solidFill>
                  <a:schemeClr val="tx1"/>
                </a:solidFill>
              </a:rPr>
              <a:t>PGM demand by end-use, 3e </a:t>
            </a:r>
            <a:r>
              <a:rPr lang="en-US" sz="1200" b="1" dirty="0" err="1">
                <a:solidFill>
                  <a:schemeClr val="tx1"/>
                </a:solidFill>
              </a:rPr>
              <a:t>koz</a:t>
            </a:r>
            <a:endParaRPr lang="en-US" sz="1200" b="1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17148207031336984"/>
          <c:y val="4.302168021680217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9356770155965949"/>
          <c:y val="0.17332531350247884"/>
          <c:w val="0.64661613756613756"/>
          <c:h val="0.82667479674796751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tx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7FC-4450-A1E0-CF12FE084F5F}"/>
              </c:ext>
            </c:extLst>
          </c:dPt>
          <c:dPt>
            <c:idx val="1"/>
            <c:bubble3D val="0"/>
            <c:spPr>
              <a:solidFill>
                <a:schemeClr val="tx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7FC-4450-A1E0-CF12FE084F5F}"/>
              </c:ext>
            </c:extLst>
          </c:dPt>
          <c:dPt>
            <c:idx val="2"/>
            <c:bubble3D val="0"/>
            <c:spPr>
              <a:solidFill>
                <a:schemeClr val="tx1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7FC-4450-A1E0-CF12FE084F5F}"/>
              </c:ext>
            </c:extLst>
          </c:dPt>
          <c:dPt>
            <c:idx val="3"/>
            <c:bubble3D val="0"/>
            <c:spPr>
              <a:solidFill>
                <a:schemeClr val="tx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7FC-4450-A1E0-CF12FE084F5F}"/>
              </c:ext>
            </c:extLst>
          </c:dPt>
          <c:dLbls>
            <c:dLbl>
              <c:idx val="0"/>
              <c:layout>
                <c:manualLayout>
                  <c:x val="-0.19566666666666666"/>
                  <c:y val="-0.130688008130081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40D93D57-438C-46E7-A874-C230A91DB0BA}" type="CATEGORYNAME">
                      <a:rPr lang="en-US" sz="900">
                        <a:solidFill>
                          <a:schemeClr val="bg1"/>
                        </a:solidFill>
                      </a:rPr>
                      <a:pPr>
                        <a:defRPr sz="900">
                          <a:solidFill>
                            <a:schemeClr val="bg1"/>
                          </a:solidFill>
                        </a:defRPr>
                      </a:pPr>
                      <a:t>[CATEGORY NAME]</a:t>
                    </a:fld>
                    <a:r>
                      <a:rPr lang="en-US" sz="900" baseline="0" dirty="0">
                        <a:solidFill>
                          <a:schemeClr val="bg1"/>
                        </a:solidFill>
                      </a:rPr>
                      <a:t>, </a:t>
                    </a:r>
                    <a:fld id="{7B573703-93B5-4224-BDDB-854FE5C6AA67}" type="VALUE">
                      <a:rPr lang="en-US" sz="900" baseline="0">
                        <a:solidFill>
                          <a:schemeClr val="bg1"/>
                        </a:solidFill>
                      </a:rPr>
                      <a:pPr>
                        <a:defRPr sz="900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US" sz="900" baseline="0" dirty="0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87FC-4450-A1E0-CF12FE084F5F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50181D90-B967-4B67-A74D-0DF16A955DB9}" type="CATEGORYNAME">
                      <a:rPr lang="en-US" sz="900">
                        <a:solidFill>
                          <a:schemeClr val="bg1"/>
                        </a:solidFill>
                      </a:rPr>
                      <a:pPr>
                        <a:defRPr sz="900">
                          <a:solidFill>
                            <a:schemeClr val="bg1"/>
                          </a:solidFill>
                        </a:defRPr>
                      </a:pPr>
                      <a:t>[CATEGORY NAME]</a:t>
                    </a:fld>
                    <a:r>
                      <a:rPr lang="en-US" sz="900" baseline="0" dirty="0">
                        <a:solidFill>
                          <a:schemeClr val="bg1"/>
                        </a:solidFill>
                      </a:rPr>
                      <a:t>, </a:t>
                    </a:r>
                    <a:fld id="{15EFCB07-54EB-469B-8F43-1BB383EB6983}" type="VALUE">
                      <a:rPr lang="en-US" sz="900" baseline="0">
                        <a:solidFill>
                          <a:schemeClr val="bg1"/>
                        </a:solidFill>
                      </a:rPr>
                      <a:pPr>
                        <a:defRPr sz="900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US" sz="900" baseline="0" dirty="0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87FC-4450-A1E0-CF12FE084F5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59604E3-1BEF-46A5-8B0B-552D0D81F1D2}" type="CATEGORYNAME">
                      <a:rPr lang="en-US">
                        <a:solidFill>
                          <a:schemeClr val="tx1"/>
                        </a:solidFill>
                      </a:rPr>
                      <a:pPr/>
                      <a:t>[CATEGORY NAME]</a:t>
                    </a:fld>
                    <a:r>
                      <a:rPr lang="en-US" baseline="0" dirty="0">
                        <a:solidFill>
                          <a:schemeClr val="tx1"/>
                        </a:solidFill>
                      </a:rPr>
                      <a:t>, </a:t>
                    </a:r>
                    <a:fld id="{F5880DE0-C617-4561-BB16-171467DDF47D}" type="VALUE">
                      <a:rPr lang="en-US" baseline="0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US" baseline="0" dirty="0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87FC-4450-A1E0-CF12FE084F5F}"/>
                </c:ext>
              </c:extLst>
            </c:dLbl>
            <c:dLbl>
              <c:idx val="3"/>
              <c:layout>
                <c:manualLayout>
                  <c:x val="1.740019732182525E-2"/>
                  <c:y val="1.2930894308943074E-2"/>
                </c:manualLayout>
              </c:layout>
              <c:tx>
                <c:rich>
                  <a:bodyPr/>
                  <a:lstStyle/>
                  <a:p>
                    <a:fld id="{282A7FDF-D690-4B78-8CC6-44BD24EBB65A}" type="CATEGORYNAME">
                      <a:rPr lang="en-US">
                        <a:solidFill>
                          <a:schemeClr val="tx1"/>
                        </a:solidFill>
                      </a:rPr>
                      <a:pPr/>
                      <a:t>[CATEGORY NAME]</a:t>
                    </a:fld>
                    <a:r>
                      <a:rPr lang="en-US" baseline="0" dirty="0">
                        <a:solidFill>
                          <a:schemeClr val="tx1"/>
                        </a:solidFill>
                      </a:rPr>
                      <a:t>, </a:t>
                    </a:r>
                    <a:fld id="{0FD23D37-88A7-4BCA-B9A8-74EE30B4A173}" type="VALUE">
                      <a:rPr lang="en-US" baseline="0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US" baseline="0" dirty="0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87FC-4450-A1E0-CF12FE084F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For market update'!$CF$52:$CF$55</c:f>
              <c:strCache>
                <c:ptCount val="4"/>
                <c:pt idx="0">
                  <c:v>Automotive</c:v>
                </c:pt>
                <c:pt idx="1">
                  <c:v>Industrial</c:v>
                </c:pt>
                <c:pt idx="2">
                  <c:v>Jewellery</c:v>
                </c:pt>
                <c:pt idx="3">
                  <c:v>Investment</c:v>
                </c:pt>
              </c:strCache>
            </c:strRef>
          </c:cat>
          <c:val>
            <c:numRef>
              <c:f>'For market update'!$CG$52:$CG$55</c:f>
              <c:numCache>
                <c:formatCode>_-* #,##0_-;\-* #,##0_-;_-* "-"??_-;_-@_-</c:formatCode>
                <c:ptCount val="4"/>
                <c:pt idx="0">
                  <c:v>12200</c:v>
                </c:pt>
                <c:pt idx="1">
                  <c:v>3927.5</c:v>
                </c:pt>
                <c:pt idx="2">
                  <c:v>1787.5</c:v>
                </c:pt>
                <c:pt idx="3">
                  <c:v>4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7FC-4450-A1E0-CF12FE084F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833333333333334"/>
          <c:y val="0.11255411255411256"/>
          <c:w val="0.78333333333333333"/>
          <c:h val="0.7748917748917748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78.7413708160573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C0-453B-978F-51748C5572E7}"/>
            </c:ext>
          </c:extLst>
        </c:ser>
        <c:ser>
          <c:idx val="1"/>
          <c:order val="1"/>
          <c:spPr>
            <a:solidFill>
              <a:srgbClr val="669834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331.74643114306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CC0-453B-978F-51748C5572E7}"/>
            </c:ext>
          </c:extLst>
        </c:ser>
        <c:ser>
          <c:idx val="2"/>
          <c:order val="2"/>
          <c:spPr>
            <a:solidFill>
              <a:srgbClr val="9DB1CF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9.5522318694889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CC0-453B-978F-51748C5572E7}"/>
            </c:ext>
          </c:extLst>
        </c:ser>
        <c:ser>
          <c:idx val="3"/>
          <c:order val="3"/>
          <c:spPr>
            <a:solidFill>
              <a:schemeClr val="tx1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15.959966171392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CC0-453B-978F-51748C5572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65594399"/>
        <c:axId val="1"/>
      </c:barChart>
      <c:catAx>
        <c:axId val="11655943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35.9999999999999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655943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0706075533661742"/>
          <c:y val="0.10236220472440945"/>
          <c:w val="0.60755336617405586"/>
          <c:h val="0.7952755905511811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5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04-4834-86FE-993388148E35}"/>
            </c:ext>
          </c:extLst>
        </c:ser>
        <c:ser>
          <c:idx val="1"/>
          <c:order val="1"/>
          <c:spPr>
            <a:solidFill>
              <a:srgbClr val="669834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12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404-4834-86FE-993388148E35}"/>
            </c:ext>
          </c:extLst>
        </c:ser>
        <c:ser>
          <c:idx val="2"/>
          <c:order val="2"/>
          <c:spPr>
            <a:solidFill>
              <a:srgbClr val="9DB1CF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1.280000000000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404-4834-86FE-993388148E35}"/>
            </c:ext>
          </c:extLst>
        </c:ser>
        <c:ser>
          <c:idx val="3"/>
          <c:order val="3"/>
          <c:spPr>
            <a:solidFill>
              <a:schemeClr val="tx1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2.2399999999999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404-4834-86FE-993388148E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65578079"/>
        <c:axId val="1"/>
      </c:barChart>
      <c:catAx>
        <c:axId val="11655780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5578079"/>
        <c:crosses val="min"/>
        <c:crossBetween val="between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833333333333334"/>
          <c:y val="0.11255411255411256"/>
          <c:w val="0.78333333333333333"/>
          <c:h val="0.7748917748917748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203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AD-4980-8310-28DAB50217C6}"/>
            </c:ext>
          </c:extLst>
        </c:ser>
        <c:ser>
          <c:idx val="1"/>
          <c:order val="1"/>
          <c:spPr>
            <a:solidFill>
              <a:srgbClr val="669834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164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EAD-4980-8310-28DAB50217C6}"/>
            </c:ext>
          </c:extLst>
        </c:ser>
        <c:ser>
          <c:idx val="2"/>
          <c:order val="2"/>
          <c:spPr>
            <a:solidFill>
              <a:srgbClr val="9DB1CF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17.28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EAD-4980-8310-28DAB50217C6}"/>
            </c:ext>
          </c:extLst>
        </c:ser>
        <c:ser>
          <c:idx val="3"/>
          <c:order val="3"/>
          <c:spPr>
            <a:solidFill>
              <a:schemeClr val="tx1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30.24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EAD-4980-8310-28DAB50217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65568959"/>
        <c:axId val="1"/>
      </c:barChart>
      <c:catAx>
        <c:axId val="116556895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14.7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655689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970464135021098"/>
          <c:y val="0.10236220472440945"/>
          <c:w val="0.78059071729957807"/>
          <c:h val="0.7952755905511811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46.3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62-4C60-8D14-437E7E678F07}"/>
            </c:ext>
          </c:extLst>
        </c:ser>
        <c:ser>
          <c:idx val="1"/>
          <c:order val="1"/>
          <c:spPr>
            <a:solidFill>
              <a:srgbClr val="669834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87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262-4C60-8D14-437E7E678F07}"/>
            </c:ext>
          </c:extLst>
        </c:ser>
        <c:ser>
          <c:idx val="2"/>
          <c:order val="2"/>
          <c:spPr>
            <a:solidFill>
              <a:srgbClr val="9DB1CF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18.62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262-4C60-8D14-437E7E678F07}"/>
            </c:ext>
          </c:extLst>
        </c:ser>
        <c:ser>
          <c:idx val="3"/>
          <c:order val="3"/>
          <c:spPr>
            <a:solidFill>
              <a:schemeClr val="tx1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13.2999999999999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262-4C60-8D14-437E7E678F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65580479"/>
        <c:axId val="1"/>
      </c:barChart>
      <c:catAx>
        <c:axId val="11655804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5580479"/>
        <c:crosses val="min"/>
        <c:crossBetween val="between"/>
        <c:majorUnit val="5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833333333333334"/>
          <c:y val="0.11087420042643924"/>
          <c:w val="0.78333333333333333"/>
          <c:h val="0.778251599147121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97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B4-446D-AFFA-78854C034A53}"/>
            </c:ext>
          </c:extLst>
        </c:ser>
        <c:ser>
          <c:idx val="1"/>
          <c:order val="1"/>
          <c:spPr>
            <a:solidFill>
              <a:srgbClr val="669834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584.76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B4-446D-AFFA-78854C034A53}"/>
            </c:ext>
          </c:extLst>
        </c:ser>
        <c:ser>
          <c:idx val="2"/>
          <c:order val="2"/>
          <c:spPr>
            <a:solidFill>
              <a:srgbClr val="9DB1CF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124.03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B4-446D-AFFA-78854C034A53}"/>
            </c:ext>
          </c:extLst>
        </c:ser>
        <c:ser>
          <c:idx val="3"/>
          <c:order val="3"/>
          <c:spPr>
            <a:solidFill>
              <a:schemeClr val="tx1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88.5999999999999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CB4-446D-AFFA-78854C034A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65574239"/>
        <c:axId val="1"/>
      </c:barChart>
      <c:catAx>
        <c:axId val="11655742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7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655742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0655737704918035"/>
          <c:y val="0.10236220472440945"/>
          <c:w val="0.6081967213114754"/>
          <c:h val="0.7952755905511811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89-4EF8-877D-646C9FE99010}"/>
            </c:ext>
          </c:extLst>
        </c:ser>
        <c:ser>
          <c:idx val="1"/>
          <c:order val="1"/>
          <c:spPr>
            <a:solidFill>
              <a:srgbClr val="669834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C89-4EF8-877D-646C9FE990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65625599"/>
        <c:axId val="1"/>
      </c:barChart>
      <c:catAx>
        <c:axId val="11656255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5625599"/>
        <c:crosses val="min"/>
        <c:crossBetween val="between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833333333333334"/>
          <c:y val="0.11182795698924732"/>
          <c:w val="0.78333333333333333"/>
          <c:h val="0.776344086021505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6F-4480-BBF6-B3901222067C}"/>
            </c:ext>
          </c:extLst>
        </c:ser>
        <c:ser>
          <c:idx val="1"/>
          <c:order val="1"/>
          <c:spPr>
            <a:solidFill>
              <a:srgbClr val="669834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6F-4480-BBF6-B39012220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65611679"/>
        <c:axId val="1"/>
      </c:barChart>
      <c:catAx>
        <c:axId val="11656116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656116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194833153928956E-2"/>
          <c:y val="2.7440633245382585E-2"/>
          <c:w val="0.97761033369214212"/>
          <c:h val="0.94511873350923481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8"/>
            <c:spPr>
              <a:solidFill>
                <a:schemeClr val="accent1"/>
              </a:solidFill>
              <a:ln w="9525" algn="ctr">
                <a:solidFill>
                  <a:schemeClr val="accent1"/>
                </a:solidFill>
                <a:prstDash val="solid"/>
              </a:ln>
            </c:spPr>
          </c:marker>
          <c:xVal>
            <c:numRef>
              <c:f>Sheet1!$A$1:$A$4</c:f>
              <c:numCache>
                <c:formatCode>General</c:formatCode>
                <c:ptCount val="4"/>
                <c:pt idx="0">
                  <c:v>4</c:v>
                </c:pt>
                <c:pt idx="1">
                  <c:v>3.5</c:v>
                </c:pt>
                <c:pt idx="2">
                  <c:v>4.5</c:v>
                </c:pt>
              </c:numCache>
            </c:numRef>
          </c:xVal>
          <c:yVal>
            <c:numRef>
              <c:f>Sheet1!$B$1:$B$4</c:f>
              <c:numCache>
                <c:formatCode>General</c:formatCode>
                <c:ptCount val="4"/>
                <c:pt idx="0">
                  <c:v>4.5</c:v>
                </c:pt>
                <c:pt idx="1">
                  <c:v>2</c:v>
                </c:pt>
                <c:pt idx="2">
                  <c:v>2.29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642-4557-90C3-2F9AEC97562A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circle"/>
            <c:size val="8"/>
            <c:spPr>
              <a:solidFill>
                <a:schemeClr val="accent2"/>
              </a:solidFill>
              <a:ln w="9525" algn="ctr">
                <a:solidFill>
                  <a:schemeClr val="accent2"/>
                </a:solidFill>
                <a:prstDash val="solid"/>
              </a:ln>
            </c:spPr>
          </c:marker>
          <c:xVal>
            <c:numRef>
              <c:f>Sheet1!$A$1:$A$4</c:f>
              <c:numCache>
                <c:formatCode>General</c:formatCode>
                <c:ptCount val="4"/>
                <c:pt idx="3">
                  <c:v>2</c:v>
                </c:pt>
              </c:numCache>
            </c:numRef>
          </c:xVal>
          <c:yVal>
            <c:numRef>
              <c:f>Sheet1!$C$1:$C$4</c:f>
              <c:numCache>
                <c:formatCode>General</c:formatCode>
                <c:ptCount val="4"/>
                <c:pt idx="3">
                  <c:v>3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A642-4557-90C3-2F9AEC9756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55637168"/>
        <c:axId val="1"/>
      </c:scatterChart>
      <c:valAx>
        <c:axId val="655637168"/>
        <c:scaling>
          <c:orientation val="minMax"/>
          <c:max val="5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655637168"/>
        <c:crosses val="min"/>
        <c:crossBetween val="midCat"/>
      </c:valAx>
      <c:spPr>
        <a:noFill/>
        <a:ln w="9525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sv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png"/><Relationship Id="rId9" Type="http://schemas.openxmlformats.org/officeDocument/2006/relationships/image" Target="../media/image6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image" Target="../media/image1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6" Type="http://schemas.openxmlformats.org/officeDocument/2006/relationships/tags" Target="../tags/tag27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2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5.xml"/><Relationship Id="rId9" Type="http://schemas.openxmlformats.org/officeDocument/2006/relationships/tags" Target="../tags/tag30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C52C65-2C6A-0672-3D4B-9010535676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B477264-13A9-E5BF-2AAD-B3BB520F90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CBDD4B-8D72-0C1B-7071-9A7C298702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26C0A-4BBB-4F12-BA76-351D31733057}" type="datetimeFigureOut">
              <a:rPr lang="en-US" smtClean="0"/>
              <a:t>5/3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9A9559-FCEE-18E5-93A0-B0D46D2E0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03FBC4-7A0B-AA0F-6C19-1983CFB4E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B97D2-C52B-45F9-9BC7-D39EAE3F0F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298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49D789-4F13-AA5D-E43E-83C1D74CF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A27B75-8946-3EFB-D505-249ABB7F44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025E3F-632C-EEEE-B84F-70E0F8E958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26C0A-4BBB-4F12-BA76-351D31733057}" type="datetimeFigureOut">
              <a:rPr lang="en-US" smtClean="0"/>
              <a:t>5/3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833D1C-2697-CBA3-F62E-B4115D851E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77FA88-A758-7B62-D509-20F74C493D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B97D2-C52B-45F9-9BC7-D39EAE3F0F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82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B3D07B-C753-1A16-F7B6-651DDE72C9B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34AFE00-4107-020B-C6B5-D7DF151081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2D70A1-BD51-A027-5367-1B637A19D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26C0A-4BBB-4F12-BA76-351D31733057}" type="datetimeFigureOut">
              <a:rPr lang="en-US" smtClean="0"/>
              <a:t>5/3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20612D-0745-EA20-F995-CECB11B5AE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399D3C-5F88-D36C-78BA-77FFF76891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B97D2-C52B-45F9-9BC7-D39EAE3F0F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9734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90136B-FC42-4C8D-9BF7-AB577097D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94775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383" imgH="383" progId="TCLayout.ActiveDocument.1">
                  <p:embed/>
                </p:oleObj>
              </mc:Choice>
              <mc:Fallback>
                <p:oleObj name="think-cell Slide" r:id="rId4" imgW="383" imgH="38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90136B-FC42-4C8D-9BF7-AB577097D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picture containing text, person, person&#10;&#10;Description automatically generated">
            <a:extLst>
              <a:ext uri="{FF2B5EF4-FFF2-40B4-BE49-F238E27FC236}">
                <a16:creationId xmlns:a16="http://schemas.microsoft.com/office/drawing/2014/main" id="{C65F119F-67F7-8540-9466-0D2F09BB53C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6214" y="0"/>
            <a:ext cx="12159575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C7C9B0-3A2D-6943-86B0-EC0A7965705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59148" y="5649420"/>
            <a:ext cx="162437" cy="143629"/>
          </a:xfrm>
          <a:prstGeom prst="rect">
            <a:avLst/>
          </a:prstGeom>
        </p:spPr>
        <p:txBody>
          <a:bodyPr/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4032D20-A8C4-7941-9824-C3DBBBBFFCA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271" y="548219"/>
            <a:ext cx="2448000" cy="53747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9192C62-8ACA-2940-84AC-3964442FA1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4964" y="2709336"/>
            <a:ext cx="5561037" cy="1439333"/>
          </a:xfrm>
        </p:spPr>
        <p:txBody>
          <a:bodyPr vert="horz" lIns="0" tIns="0" rIns="0" bIns="0" anchor="ctr" anchorCtr="0">
            <a:noAutofit/>
          </a:bodyPr>
          <a:lstStyle>
            <a:lvl1pPr>
              <a:lnSpc>
                <a:spcPct val="100000"/>
              </a:lnSpc>
              <a:defRPr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4B53E78-3389-7649-AAA3-5253434574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5272" y="4148668"/>
            <a:ext cx="5573685" cy="7196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67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1C800B-D71C-0548-8E50-4C18174716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7051" y="5902032"/>
            <a:ext cx="2210093" cy="390673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vert="horz" wrap="none" lIns="216000" tIns="36000" rIns="216000" bIns="36000" rtlCol="0" anchor="ctr" anchorCtr="1">
            <a:spAutoFit/>
          </a:bodyPr>
          <a:lstStyle>
            <a:lvl1pPr>
              <a:defRPr lang="en-GB" sz="1333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Security Classification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582ABE8-F1AD-F347-A8C1-15AEE57B211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553463" y="802889"/>
            <a:ext cx="889196" cy="135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8753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76366EA-13EE-4F8D-A55F-E3C19736A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37252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5" imgW="383" imgH="383" progId="TCLayout.ActiveDocument.1">
                  <p:embed/>
                </p:oleObj>
              </mc:Choice>
              <mc:Fallback>
                <p:oleObj name="think-cell Slide" r:id="rId5" imgW="383" imgH="38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76366EA-13EE-4F8D-A55F-E3C19736A5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187122E6-0AC6-4210-98C1-36A53F8C0FF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271" y="548219"/>
            <a:ext cx="2448000" cy="5374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64" y="2709336"/>
            <a:ext cx="5561037" cy="1439333"/>
          </a:xfrm>
        </p:spPr>
        <p:txBody>
          <a:bodyPr vert="horz" lIns="0" tIns="0" rIns="0" bIns="0" anchor="ctr" anchorCtr="0">
            <a:noAutofit/>
          </a:bodyPr>
          <a:lstStyle>
            <a:lvl1pPr>
              <a:lnSpc>
                <a:spcPct val="100000"/>
              </a:lnSpc>
              <a:defRPr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5272" y="4148668"/>
            <a:ext cx="5573685" cy="7196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67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3234D72-E2B8-4553-ACE8-EB61E8CA8D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7051" y="5902032"/>
            <a:ext cx="2210093" cy="390673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vert="horz" wrap="none" lIns="216000" tIns="36000" rIns="216000" bIns="36000" rtlCol="0" anchor="ctr" anchorCtr="1">
            <a:spAutoFit/>
          </a:bodyPr>
          <a:lstStyle>
            <a:lvl1pPr>
              <a:defRPr lang="en-GB" sz="1333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Security Classification</a:t>
            </a:r>
            <a:endParaRPr lang="en-GB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37B2145-C3C3-C747-B53D-EF5BC99644C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553463" y="802889"/>
            <a:ext cx="889196" cy="135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6398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ustom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75B662-589C-4096-9820-8DFB2BA47B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598845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383" imgH="383" progId="TCLayout.ActiveDocument.1">
                  <p:embed/>
                </p:oleObj>
              </mc:Choice>
              <mc:Fallback>
                <p:oleObj name="think-cell Slide" r:id="rId4" imgW="383" imgH="38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75B662-589C-4096-9820-8DFB2BA47B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7C1D2EB-1C0D-43FC-91D9-A95C6CB0161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" y="0"/>
            <a:ext cx="12192001" cy="6858000"/>
          </a:xfrm>
          <a:solidFill>
            <a:schemeClr val="bg1">
              <a:lumMod val="85000"/>
            </a:schemeClr>
          </a:solidFill>
        </p:spPr>
        <p:txBody>
          <a:bodyPr rIns="468000" anchor="ctr" anchorCtr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6757" y="2709336"/>
            <a:ext cx="5569243" cy="1439333"/>
          </a:xfrm>
        </p:spPr>
        <p:txBody>
          <a:bodyPr vert="horz" anchor="ctr" anchorCtr="0">
            <a:noAutofit/>
          </a:bodyPr>
          <a:lstStyle>
            <a:lvl1pPr>
              <a:lnSpc>
                <a:spcPct val="100000"/>
              </a:lnSpc>
              <a:defRPr>
                <a:gradFill>
                  <a:gsLst>
                    <a:gs pos="0">
                      <a:schemeClr val="bg2"/>
                    </a:gs>
                    <a:gs pos="30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32C071A-6A2D-4184-A484-D1696B508C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5272" y="4148668"/>
            <a:ext cx="5573685" cy="7196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67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F240C88-79AB-4ECC-A804-75AB01F82E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7051" y="5902032"/>
            <a:ext cx="2210093" cy="390673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vert="horz" wrap="none" lIns="216000" tIns="36000" rIns="216000" bIns="36000" rtlCol="0" anchor="ctr" anchorCtr="1">
            <a:spAutoFit/>
          </a:bodyPr>
          <a:lstStyle>
            <a:lvl1pPr>
              <a:defRPr lang="en-GB" sz="1333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Security Classification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FA7539-070D-4190-BFCD-7B02BB55081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271" y="548219"/>
            <a:ext cx="2448000" cy="53747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2E1FB66-78F9-8F4C-8837-B16C3A5D7223}"/>
              </a:ext>
            </a:extLst>
          </p:cNvPr>
          <p:cNvSpPr txBox="1"/>
          <p:nvPr userDrawn="1"/>
        </p:nvSpPr>
        <p:spPr>
          <a:xfrm>
            <a:off x="520775" y="6434097"/>
            <a:ext cx="6128477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>
                <a:solidFill>
                  <a:schemeClr val="bg1"/>
                </a:solidFill>
              </a:rPr>
              <a:t>Anglo American  /  © 2021</a:t>
            </a:r>
          </a:p>
          <a:p>
            <a:pPr algn="l"/>
            <a:endParaRPr lang="en-GB" sz="933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96782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C8EF43D-3095-874F-80FE-644D4133E8B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7052" y="2709335"/>
            <a:ext cx="8449733" cy="143933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733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6095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</a:t>
            </a:r>
            <a:br>
              <a:rPr lang="en-GB"/>
            </a:br>
            <a:r>
              <a:rPr lang="en-GB"/>
              <a:t>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D6F054-962A-9640-97C4-BB18F7AF1EA2}"/>
              </a:ext>
            </a:extLst>
          </p:cNvPr>
          <p:cNvSpPr txBox="1"/>
          <p:nvPr userDrawn="1"/>
        </p:nvSpPr>
        <p:spPr>
          <a:xfrm>
            <a:off x="520775" y="6434097"/>
            <a:ext cx="6128477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>
                <a:solidFill>
                  <a:schemeClr val="bg1"/>
                </a:solidFill>
              </a:rPr>
              <a:t>Anglo American  /  © 2021</a:t>
            </a:r>
          </a:p>
          <a:p>
            <a:pPr algn="l"/>
            <a:endParaRPr lang="en-GB" sz="933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4515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7BFC63D6-6981-48D5-9254-FA87F1A4FD8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22660" y="0"/>
            <a:ext cx="6069341" cy="6858000"/>
          </a:xfrm>
          <a:custGeom>
            <a:avLst/>
            <a:gdLst>
              <a:gd name="connsiteX0" fmla="*/ 0 w 4552006"/>
              <a:gd name="connsiteY0" fmla="*/ 0 h 5143500"/>
              <a:gd name="connsiteX1" fmla="*/ 4552006 w 4552006"/>
              <a:gd name="connsiteY1" fmla="*/ 0 h 5143500"/>
              <a:gd name="connsiteX2" fmla="*/ 4552006 w 4552006"/>
              <a:gd name="connsiteY2" fmla="*/ 5143500 h 5143500"/>
              <a:gd name="connsiteX3" fmla="*/ 0 w 4552006"/>
              <a:gd name="connsiteY3" fmla="*/ 5143500 h 5143500"/>
              <a:gd name="connsiteX4" fmla="*/ 1307 w 4552006"/>
              <a:gd name="connsiteY4" fmla="*/ 5140187 h 5143500"/>
              <a:gd name="connsiteX5" fmla="*/ 454584 w 4552006"/>
              <a:gd name="connsiteY5" fmla="*/ 2571750 h 5143500"/>
              <a:gd name="connsiteX6" fmla="*/ 1307 w 4552006"/>
              <a:gd name="connsiteY6" fmla="*/ 3314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52006" h="5143500">
                <a:moveTo>
                  <a:pt x="0" y="0"/>
                </a:moveTo>
                <a:lnTo>
                  <a:pt x="4552006" y="0"/>
                </a:lnTo>
                <a:lnTo>
                  <a:pt x="4552006" y="5143500"/>
                </a:lnTo>
                <a:lnTo>
                  <a:pt x="0" y="5143500"/>
                </a:lnTo>
                <a:lnTo>
                  <a:pt x="1307" y="5140187"/>
                </a:lnTo>
                <a:cubicBezTo>
                  <a:pt x="294548" y="4339307"/>
                  <a:pt x="454584" y="3474218"/>
                  <a:pt x="454584" y="2571750"/>
                </a:cubicBezTo>
                <a:cubicBezTo>
                  <a:pt x="454584" y="1669282"/>
                  <a:pt x="294548" y="804193"/>
                  <a:pt x="1307" y="331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 algn="ctr">
              <a:defRPr lang="en-US" sz="12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C8EF43D-3095-874F-80FE-644D4133E8B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7052" y="2709335"/>
            <a:ext cx="5568949" cy="143933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3733" b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</a:t>
            </a:r>
            <a:br>
              <a:rPr lang="en-GB"/>
            </a:br>
            <a:r>
              <a:rPr lang="en-GB"/>
              <a:t>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01A835-B48D-464C-8BD0-1D232EEA686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527053" y="5505987"/>
            <a:ext cx="10591857" cy="143629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2205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Blue">
    <p:bg>
      <p:bgPr>
        <a:gradFill>
          <a:gsLst>
            <a:gs pos="86500">
              <a:srgbClr val="0047D1"/>
            </a:gs>
            <a:gs pos="73000">
              <a:srgbClr val="002CB4"/>
            </a:gs>
            <a:gs pos="56000">
              <a:srgbClr val="00169D"/>
            </a:gs>
            <a:gs pos="0">
              <a:srgbClr val="000086"/>
            </a:gs>
            <a:gs pos="100000">
              <a:srgbClr val="0071FD"/>
            </a:gs>
          </a:gsLst>
          <a:lin ang="19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052" y="1221317"/>
            <a:ext cx="8449733" cy="2207683"/>
          </a:xfrm>
          <a:prstGeom prst="rect">
            <a:avLst/>
          </a:prstGeom>
        </p:spPr>
        <p:txBody>
          <a:bodyPr>
            <a:noAutofit/>
          </a:bodyPr>
          <a:lstStyle>
            <a:lvl1pPr marL="158392" indent="-158392">
              <a:buNone/>
              <a:defRPr sz="32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609570" indent="0">
              <a:buNone/>
              <a:defRPr sz="3200">
                <a:solidFill>
                  <a:schemeClr val="bg1"/>
                </a:solidFill>
              </a:defRPr>
            </a:lvl2pPr>
            <a:lvl3pPr marL="1219140" indent="0">
              <a:buNone/>
              <a:defRPr sz="3200">
                <a:solidFill>
                  <a:schemeClr val="bg1"/>
                </a:solidFill>
              </a:defRPr>
            </a:lvl3pPr>
            <a:lvl4pPr marL="1828709" indent="0">
              <a:buNone/>
              <a:defRPr sz="3200">
                <a:solidFill>
                  <a:schemeClr val="bg1"/>
                </a:solidFill>
              </a:defRPr>
            </a:lvl4pPr>
            <a:lvl5pPr marL="2438278" indent="0">
              <a:buNone/>
              <a:defRPr sz="3200">
                <a:solidFill>
                  <a:schemeClr val="bg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A0504AF-EACC-994F-8D40-535CEE9663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7053" y="3429001"/>
            <a:ext cx="8449735" cy="7196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609570" indent="0">
              <a:buNone/>
              <a:defRPr>
                <a:solidFill>
                  <a:schemeClr val="bg1"/>
                </a:solidFill>
              </a:defRPr>
            </a:lvl2pPr>
            <a:lvl3pPr marL="1219140" indent="0">
              <a:buNone/>
              <a:defRPr>
                <a:solidFill>
                  <a:schemeClr val="bg1"/>
                </a:solidFill>
              </a:defRPr>
            </a:lvl3pPr>
            <a:lvl4pPr marL="1828709" indent="0">
              <a:buNone/>
              <a:defRPr>
                <a:solidFill>
                  <a:schemeClr val="bg1"/>
                </a:solidFill>
              </a:defRPr>
            </a:lvl4pPr>
            <a:lvl5pPr marL="243827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62A075-659F-C64B-8593-273E260B3746}"/>
              </a:ext>
            </a:extLst>
          </p:cNvPr>
          <p:cNvSpPr txBox="1"/>
          <p:nvPr userDrawn="1"/>
        </p:nvSpPr>
        <p:spPr>
          <a:xfrm>
            <a:off x="520775" y="6434097"/>
            <a:ext cx="6128477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>
                <a:solidFill>
                  <a:schemeClr val="bg1"/>
                </a:solidFill>
              </a:rPr>
              <a:t>Anglo American  /  © 2021</a:t>
            </a:r>
          </a:p>
          <a:p>
            <a:pPr algn="l"/>
            <a:endParaRPr lang="en-GB" sz="933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57014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053" y="1221317"/>
            <a:ext cx="11135783" cy="2207683"/>
          </a:xfrm>
          <a:prstGeom prst="rect">
            <a:avLst/>
          </a:prstGeom>
        </p:spPr>
        <p:txBody>
          <a:bodyPr>
            <a:noAutofit/>
          </a:bodyPr>
          <a:lstStyle>
            <a:lvl1pPr marL="158392" indent="-158392">
              <a:buNone/>
              <a:defRPr sz="3200" b="0">
                <a:gradFill>
                  <a:gsLst>
                    <a:gs pos="1000">
                      <a:schemeClr val="bg2"/>
                    </a:gs>
                    <a:gs pos="30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  <a:latin typeface="Arial" panose="020B0604020202020204" pitchFamily="34" charset="0"/>
              </a:defRPr>
            </a:lvl1pPr>
            <a:lvl2pPr marL="609570" indent="0">
              <a:buNone/>
              <a:defRPr sz="3200">
                <a:solidFill>
                  <a:schemeClr val="bg1"/>
                </a:solidFill>
              </a:defRPr>
            </a:lvl2pPr>
            <a:lvl3pPr marL="1219140" indent="0">
              <a:buNone/>
              <a:defRPr sz="3200">
                <a:solidFill>
                  <a:schemeClr val="bg1"/>
                </a:solidFill>
              </a:defRPr>
            </a:lvl3pPr>
            <a:lvl4pPr marL="1828709" indent="0">
              <a:buNone/>
              <a:defRPr sz="3200">
                <a:solidFill>
                  <a:schemeClr val="bg1"/>
                </a:solidFill>
              </a:defRPr>
            </a:lvl4pPr>
            <a:lvl5pPr marL="2438278" indent="0">
              <a:buNone/>
              <a:defRPr sz="3200">
                <a:solidFill>
                  <a:schemeClr val="bg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A0504AF-EACC-994F-8D40-535CEE9663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7052" y="3440084"/>
            <a:ext cx="11135785" cy="72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  <a:lvl2pPr marL="609570" indent="0">
              <a:buNone/>
              <a:defRPr>
                <a:solidFill>
                  <a:schemeClr val="bg1"/>
                </a:solidFill>
              </a:defRPr>
            </a:lvl2pPr>
            <a:lvl3pPr marL="1219140" indent="0">
              <a:buNone/>
              <a:defRPr>
                <a:solidFill>
                  <a:schemeClr val="bg1"/>
                </a:solidFill>
              </a:defRPr>
            </a:lvl3pPr>
            <a:lvl4pPr marL="1828709" indent="0">
              <a:buNone/>
              <a:defRPr>
                <a:solidFill>
                  <a:schemeClr val="bg1"/>
                </a:solidFill>
              </a:defRPr>
            </a:lvl4pPr>
            <a:lvl5pPr marL="243827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09877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full page custom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8EEE5B2-A390-4F38-8510-0F55179C54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anchor="ctr" anchorCtr="1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27051" y="1221317"/>
            <a:ext cx="8304735" cy="14880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58392" indent="-158392">
              <a:buNone/>
              <a:defRPr sz="3200" b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70" indent="0">
              <a:buNone/>
              <a:defRPr sz="3200">
                <a:solidFill>
                  <a:schemeClr val="bg1"/>
                </a:solidFill>
              </a:defRPr>
            </a:lvl2pPr>
            <a:lvl3pPr marL="1219140" indent="0">
              <a:buNone/>
              <a:defRPr sz="3200">
                <a:solidFill>
                  <a:schemeClr val="bg1"/>
                </a:solidFill>
              </a:defRPr>
            </a:lvl3pPr>
            <a:lvl4pPr marL="1828709" indent="0">
              <a:buNone/>
              <a:defRPr sz="3200">
                <a:solidFill>
                  <a:schemeClr val="bg1"/>
                </a:solidFill>
              </a:defRPr>
            </a:lvl4pPr>
            <a:lvl5pPr marL="2438278" indent="0">
              <a:buNone/>
              <a:defRPr sz="3200">
                <a:solidFill>
                  <a:schemeClr val="bg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Quote tex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A0504AF-EACC-994F-8D40-535CEE9663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7051" y="3045884"/>
            <a:ext cx="8448031" cy="6357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  <a:lvl2pPr marL="609570" indent="0">
              <a:buNone/>
              <a:defRPr>
                <a:solidFill>
                  <a:schemeClr val="bg1"/>
                </a:solidFill>
              </a:defRPr>
            </a:lvl2pPr>
            <a:lvl3pPr marL="1219140" indent="0">
              <a:buNone/>
              <a:defRPr>
                <a:solidFill>
                  <a:schemeClr val="bg1"/>
                </a:solidFill>
              </a:defRPr>
            </a:lvl3pPr>
            <a:lvl4pPr marL="1828709" indent="0">
              <a:buNone/>
              <a:defRPr>
                <a:solidFill>
                  <a:schemeClr val="bg1"/>
                </a:solidFill>
              </a:defRPr>
            </a:lvl4pPr>
            <a:lvl5pPr marL="243827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Quote source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F9572A1-B3BE-3A47-97ED-C92902853721}"/>
              </a:ext>
            </a:extLst>
          </p:cNvPr>
          <p:cNvSpPr txBox="1"/>
          <p:nvPr userDrawn="1"/>
        </p:nvSpPr>
        <p:spPr>
          <a:xfrm>
            <a:off x="520775" y="6434097"/>
            <a:ext cx="6128477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/>
              <a:t>Anglo American  /  © 2021</a:t>
            </a:r>
          </a:p>
          <a:p>
            <a:pPr algn="l"/>
            <a:endParaRPr lang="en-GB" sz="933"/>
          </a:p>
        </p:txBody>
      </p:sp>
    </p:spTree>
    <p:extLst>
      <p:ext uri="{BB962C8B-B14F-4D97-AF65-F5344CB8AC3E}">
        <p14:creationId xmlns:p14="http://schemas.microsoft.com/office/powerpoint/2010/main" val="2721519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11BE1B-430A-0266-38AB-E6D4239064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39BBD9-F38D-716E-7811-4223A20536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FCA623-4300-0520-50C8-BB212CFD60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26C0A-4BBB-4F12-BA76-351D31733057}" type="datetimeFigureOut">
              <a:rPr lang="en-US" smtClean="0"/>
              <a:t>5/3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EF65E0-C4EA-64B3-96D1-A30C102206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310C43-8DE0-BFFD-0E60-1532DAF8FA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B97D2-C52B-45F9-9BC7-D39EAE3F0F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0249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ing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E53AC6-098E-4C76-8578-18ED768DEA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509336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383" imgH="383" progId="TCLayout.ActiveDocument.1">
                  <p:embed/>
                </p:oleObj>
              </mc:Choice>
              <mc:Fallback>
                <p:oleObj name="think-cell Slide" r:id="rId4" imgW="383" imgH="38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E53AC6-098E-4C76-8578-18ED768DEA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548217"/>
            <a:ext cx="11135784" cy="675219"/>
          </a:xfrm>
        </p:spPr>
        <p:txBody>
          <a:bodyPr vert="horz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62A6FDD-C04C-4A23-9277-C0FAC55CAF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1929" y="229437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A8FE34A-D2E7-4E9C-B6B1-70CBFF85DDE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7051" y="2709333"/>
            <a:ext cx="8496301" cy="3316907"/>
          </a:xfr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21D94378-15C5-49BF-BDB5-458633B6CA7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27053" y="5505987"/>
            <a:ext cx="10591857" cy="14362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/>
            </a:lvl1pPr>
          </a:lstStyle>
          <a:p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79214B7-EFC5-4FFC-B5F8-F7CF254B676F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27052" y="1223437"/>
            <a:ext cx="11135784" cy="609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70" indent="0">
              <a:buNone/>
              <a:defRPr>
                <a:solidFill>
                  <a:schemeClr val="tx2"/>
                </a:solidFill>
              </a:defRPr>
            </a:lvl2pPr>
            <a:lvl3pPr marL="1219140" indent="0">
              <a:buNone/>
              <a:defRPr>
                <a:solidFill>
                  <a:schemeClr val="tx2"/>
                </a:solidFill>
              </a:defRPr>
            </a:lvl3pPr>
            <a:lvl4pPr marL="1828709" indent="0">
              <a:buNone/>
              <a:defRPr>
                <a:solidFill>
                  <a:schemeClr val="tx2"/>
                </a:solidFill>
              </a:defRPr>
            </a:lvl4pPr>
            <a:lvl5pPr marL="2438278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45503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D8F66EB-C38D-4328-B16C-94E7D9F34D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11036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383" imgH="383" progId="TCLayout.ActiveDocument.1">
                  <p:embed/>
                </p:oleObj>
              </mc:Choice>
              <mc:Fallback>
                <p:oleObj name="think-cell Slide" r:id="rId4" imgW="383" imgH="38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D8F66EB-C38D-4328-B16C-94E7D9F34D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2" y="548217"/>
            <a:ext cx="11132096" cy="1284816"/>
          </a:xfrm>
        </p:spPr>
        <p:txBody>
          <a:bodyPr vert="horz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E32A8DC5-1AA9-4332-9083-1C228977A0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1929" y="229437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F86F187F-AD63-4F1D-AB33-D65AB6A677D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7051" y="2709333"/>
            <a:ext cx="8496300" cy="3600451"/>
          </a:xfrm>
        </p:spPr>
        <p:txBody>
          <a:bodyPr>
            <a:noAutofit/>
          </a:bodyPr>
          <a:lstStyle>
            <a:lvl1pPr marL="228589" indent="-228589">
              <a:buFont typeface="Arial" panose="020B0604020202020204" pitchFamily="34" charset="0"/>
              <a:buChar char="•"/>
              <a:defRPr/>
            </a:lvl1pPr>
            <a:lvl2pPr marL="237055" indent="0">
              <a:defRPr/>
            </a:lvl2pPr>
            <a:lvl3pPr marL="359815" indent="-122761">
              <a:defRPr/>
            </a:lvl3pPr>
            <a:lvl4pPr marL="480460" indent="-120645">
              <a:defRPr/>
            </a:lvl4pPr>
            <a:lvl5pPr marL="596870" indent="-116412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5C679F-7B1F-4DFD-82D5-C372ED6699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527053" y="5505987"/>
            <a:ext cx="10591857" cy="14362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/>
            </a:lvl1pPr>
          </a:lstStyle>
          <a:p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DE44055-048D-4AAB-8470-C6A886048E7A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527053" y="1833036"/>
            <a:ext cx="11135783" cy="6760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70" indent="0">
              <a:buNone/>
              <a:defRPr>
                <a:solidFill>
                  <a:schemeClr val="tx2"/>
                </a:solidFill>
              </a:defRPr>
            </a:lvl2pPr>
            <a:lvl3pPr marL="1219140" indent="0">
              <a:buNone/>
              <a:defRPr>
                <a:solidFill>
                  <a:schemeClr val="tx2"/>
                </a:solidFill>
              </a:defRPr>
            </a:lvl3pPr>
            <a:lvl4pPr marL="1828709" indent="0">
              <a:buNone/>
              <a:defRPr>
                <a:solidFill>
                  <a:schemeClr val="tx2"/>
                </a:solidFill>
              </a:defRPr>
            </a:lvl4pPr>
            <a:lvl5pPr marL="2438278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82443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 &amp; bullets - blue">
    <p:bg>
      <p:bgPr>
        <a:gradFill>
          <a:gsLst>
            <a:gs pos="86500">
              <a:srgbClr val="0047D1"/>
            </a:gs>
            <a:gs pos="73000">
              <a:srgbClr val="002CB4"/>
            </a:gs>
            <a:gs pos="56000">
              <a:srgbClr val="00169D"/>
            </a:gs>
            <a:gs pos="0">
              <a:srgbClr val="000086"/>
            </a:gs>
            <a:gs pos="100000">
              <a:srgbClr val="0071FD"/>
            </a:gs>
          </a:gsLst>
          <a:lin ang="19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FD3B7DC-CEA7-440C-9BB7-C639322ED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315019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383" imgH="383" progId="TCLayout.ActiveDocument.1">
                  <p:embed/>
                </p:oleObj>
              </mc:Choice>
              <mc:Fallback>
                <p:oleObj name="think-cell Slide" r:id="rId4" imgW="383" imgH="38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FD3B7DC-CEA7-440C-9BB7-C639322ED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3" y="548219"/>
            <a:ext cx="11135783" cy="1284816"/>
          </a:xfrm>
        </p:spPr>
        <p:txBody>
          <a:bodyPr vert="horz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56EE284-F52B-436B-B6B5-10FE2F5D1F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052" y="1833035"/>
            <a:ext cx="11135781" cy="6368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609570" indent="0">
              <a:buNone/>
              <a:defRPr>
                <a:solidFill>
                  <a:schemeClr val="tx2"/>
                </a:solidFill>
              </a:defRPr>
            </a:lvl2pPr>
            <a:lvl3pPr marL="1219140" indent="0">
              <a:buNone/>
              <a:defRPr>
                <a:solidFill>
                  <a:schemeClr val="tx2"/>
                </a:solidFill>
              </a:defRPr>
            </a:lvl3pPr>
            <a:lvl4pPr marL="1828709" indent="0">
              <a:buNone/>
              <a:defRPr>
                <a:solidFill>
                  <a:schemeClr val="tx2"/>
                </a:solidFill>
              </a:defRPr>
            </a:lvl4pPr>
            <a:lvl5pPr marL="2438278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51D1252F-AA75-450C-8B1A-90B0849762A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1929" y="229437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DEAC3D-AF3E-4004-8C78-5509BE1CE73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7051" y="2709335"/>
            <a:ext cx="7466068" cy="3265095"/>
          </a:xfrm>
        </p:spPr>
        <p:txBody>
          <a:bodyPr>
            <a:noAutofit/>
          </a:bodyPr>
          <a:lstStyle>
            <a:lvl1pPr marL="228589" indent="-228589">
              <a:buFont typeface="Arial" panose="020B0604020202020204" pitchFamily="34" charset="0"/>
              <a:buChar char="•"/>
              <a:defRPr sz="1333">
                <a:solidFill>
                  <a:schemeClr val="bg1"/>
                </a:solidFill>
              </a:defRPr>
            </a:lvl1pPr>
            <a:lvl2pPr marL="237055" indent="0">
              <a:defRPr sz="1200">
                <a:solidFill>
                  <a:schemeClr val="bg1"/>
                </a:solidFill>
              </a:defRPr>
            </a:lvl2pPr>
            <a:lvl3pPr marL="359815" indent="-122761">
              <a:defRPr sz="1200">
                <a:solidFill>
                  <a:schemeClr val="bg1"/>
                </a:solidFill>
              </a:defRPr>
            </a:lvl3pPr>
            <a:lvl4pPr marL="480460" indent="-120645">
              <a:defRPr sz="1200">
                <a:solidFill>
                  <a:schemeClr val="bg1"/>
                </a:solidFill>
              </a:defRPr>
            </a:lvl4pPr>
            <a:lvl5pPr marL="596870" indent="-116412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FF0529-8D44-40F5-BD8A-C776CAED8B7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527053" y="5505987"/>
            <a:ext cx="10591857" cy="14362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1091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ing &amp;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768D54A-8363-40BA-968D-2436E32944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306369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383" imgH="383" progId="TCLayout.ActiveDocument.1">
                  <p:embed/>
                </p:oleObj>
              </mc:Choice>
              <mc:Fallback>
                <p:oleObj name="think-cell Slide" r:id="rId4" imgW="383" imgH="38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768D54A-8363-40BA-968D-2436E32944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3" y="548220"/>
            <a:ext cx="11135783" cy="675217"/>
          </a:xfrm>
        </p:spPr>
        <p:txBody>
          <a:bodyPr vert="horz" lIns="0" tIns="0" rIns="0" bIns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04F520FC-C37D-4AC5-8E9D-6E08BB9934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1929" y="229437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EDE36B54-211C-42C2-95B8-594A78DCFB2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7051" y="2704241"/>
            <a:ext cx="4903552" cy="3265096"/>
          </a:xfrm>
        </p:spPr>
        <p:txBody>
          <a:bodyPr>
            <a:noAutofit/>
          </a:bodyPr>
          <a:lstStyle>
            <a:lvl1pPr marL="228589" indent="-228589">
              <a:buFont typeface="Arial" panose="020B0604020202020204" pitchFamily="34" charset="0"/>
              <a:buChar char="•"/>
              <a:defRPr/>
            </a:lvl1pPr>
            <a:lvl2pPr marL="237055" indent="0">
              <a:defRPr/>
            </a:lvl2pPr>
            <a:lvl3pPr marL="359815" indent="-122761">
              <a:defRPr/>
            </a:lvl3pPr>
            <a:lvl4pPr marL="480460" indent="-120645">
              <a:defRPr/>
            </a:lvl4pPr>
            <a:lvl5pPr marL="596870" indent="-116412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7C87F995-4A1D-415D-A81C-9BF6CCDA7FA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5356" y="2709333"/>
            <a:ext cx="4903552" cy="3265096"/>
          </a:xfrm>
        </p:spPr>
        <p:txBody>
          <a:bodyPr>
            <a:noAutofit/>
          </a:bodyPr>
          <a:lstStyle>
            <a:lvl1pPr marL="228589" indent="-228589">
              <a:buFont typeface="Arial" panose="020B0604020202020204" pitchFamily="34" charset="0"/>
              <a:buChar char="•"/>
              <a:defRPr/>
            </a:lvl1pPr>
            <a:lvl2pPr marL="237055" indent="0">
              <a:defRPr/>
            </a:lvl2pPr>
            <a:lvl3pPr marL="359815" indent="-122761">
              <a:defRPr/>
            </a:lvl3pPr>
            <a:lvl4pPr marL="480460" indent="-120645">
              <a:defRPr/>
            </a:lvl4pPr>
            <a:lvl5pPr marL="596870" indent="-116412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F57649-C692-41BD-83D1-4A6997A17A4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527053" y="5505987"/>
            <a:ext cx="10591857" cy="14362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/>
            </a:lvl1pPr>
          </a:lstStyle>
          <a:p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589C551-58EC-4AE1-B383-9C02DCF59A5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27053" y="1223437"/>
            <a:ext cx="11135783" cy="609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70" indent="0">
              <a:buNone/>
              <a:defRPr>
                <a:solidFill>
                  <a:schemeClr val="tx2"/>
                </a:solidFill>
              </a:defRPr>
            </a:lvl2pPr>
            <a:lvl3pPr marL="1219140" indent="0">
              <a:buNone/>
              <a:defRPr>
                <a:solidFill>
                  <a:schemeClr val="tx2"/>
                </a:solidFill>
              </a:defRPr>
            </a:lvl3pPr>
            <a:lvl4pPr marL="1828709" indent="0">
              <a:buNone/>
              <a:defRPr>
                <a:solidFill>
                  <a:schemeClr val="tx2"/>
                </a:solidFill>
              </a:defRPr>
            </a:lvl4pPr>
            <a:lvl5pPr marL="2438278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67425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ing, intro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A96BC34-B25C-429B-9F82-3C4D683B8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152926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383" imgH="383" progId="TCLayout.ActiveDocument.1">
                  <p:embed/>
                </p:oleObj>
              </mc:Choice>
              <mc:Fallback>
                <p:oleObj name="think-cell Slide" r:id="rId4" imgW="383" imgH="38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A96BC34-B25C-429B-9F82-3C4D683B8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3" y="548219"/>
            <a:ext cx="11135783" cy="673100"/>
          </a:xfrm>
        </p:spPr>
        <p:txBody>
          <a:bodyPr vert="horz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7052" y="2709333"/>
            <a:ext cx="3181885" cy="36004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8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609570" indent="0">
              <a:buNone/>
              <a:defRPr>
                <a:solidFill>
                  <a:schemeClr val="tx2"/>
                </a:solidFill>
              </a:defRPr>
            </a:lvl2pPr>
            <a:lvl3pPr marL="1219140" indent="0">
              <a:buNone/>
              <a:defRPr>
                <a:solidFill>
                  <a:schemeClr val="tx2"/>
                </a:solidFill>
              </a:defRPr>
            </a:lvl3pPr>
            <a:lvl4pPr marL="1828709" indent="0">
              <a:buNone/>
              <a:defRPr>
                <a:solidFill>
                  <a:schemeClr val="tx2"/>
                </a:solidFill>
              </a:defRPr>
            </a:lvl4pPr>
            <a:lvl5pPr marL="2438278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</a:t>
            </a:r>
            <a:br>
              <a:rPr lang="en-GB"/>
            </a:br>
            <a:r>
              <a:rPr lang="en-GB"/>
              <a:t>Master text styles</a:t>
            </a:r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39EDECD-E2EE-4F43-A6BB-FF4A27B8048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27053" y="1223437"/>
            <a:ext cx="11135783" cy="609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70" indent="0">
              <a:buNone/>
              <a:defRPr>
                <a:solidFill>
                  <a:schemeClr val="tx2"/>
                </a:solidFill>
              </a:defRPr>
            </a:lvl2pPr>
            <a:lvl3pPr marL="1219140" indent="0">
              <a:buNone/>
              <a:defRPr>
                <a:solidFill>
                  <a:schemeClr val="tx2"/>
                </a:solidFill>
              </a:defRPr>
            </a:lvl3pPr>
            <a:lvl4pPr marL="1828709" indent="0">
              <a:buNone/>
              <a:defRPr>
                <a:solidFill>
                  <a:schemeClr val="tx2"/>
                </a:solidFill>
              </a:defRPr>
            </a:lvl4pPr>
            <a:lvl5pPr marL="2438278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77668EF5-ADE1-435E-AA1C-2DE4A80DF1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1929" y="229437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590789FC-B105-4985-BF14-5E107301DC7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72740" y="2709333"/>
            <a:ext cx="7690093" cy="3600451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5FD0882-1340-4785-8D8D-9661DB0F46B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527053" y="5505987"/>
            <a:ext cx="10591857" cy="14362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6428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, intros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466A66-8228-45A9-9F29-935C15D1C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880641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383" imgH="383" progId="TCLayout.ActiveDocument.1">
                  <p:embed/>
                </p:oleObj>
              </mc:Choice>
              <mc:Fallback>
                <p:oleObj name="think-cell Slide" r:id="rId4" imgW="383" imgH="38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466A66-8228-45A9-9F29-935C15D1C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3" y="548217"/>
            <a:ext cx="11135783" cy="1284819"/>
          </a:xfrm>
        </p:spPr>
        <p:txBody>
          <a:bodyPr vert="horz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215219" y="2709333"/>
            <a:ext cx="2661141" cy="36004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800"/>
              </a:spcBef>
              <a:buNone/>
              <a:defRPr sz="18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609570" indent="0">
              <a:buNone/>
              <a:defRPr>
                <a:solidFill>
                  <a:schemeClr val="tx2"/>
                </a:solidFill>
              </a:defRPr>
            </a:lvl2pPr>
            <a:lvl3pPr marL="1219140" indent="0">
              <a:buNone/>
              <a:defRPr>
                <a:solidFill>
                  <a:schemeClr val="tx2"/>
                </a:solidFill>
              </a:defRPr>
            </a:lvl3pPr>
            <a:lvl4pPr marL="1828709" indent="0">
              <a:buNone/>
              <a:defRPr>
                <a:solidFill>
                  <a:schemeClr val="tx2"/>
                </a:solidFill>
              </a:defRPr>
            </a:lvl4pPr>
            <a:lvl5pPr marL="2438278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</a:t>
            </a:r>
            <a:br>
              <a:rPr lang="en-GB"/>
            </a:br>
            <a:r>
              <a:rPr lang="en-GB"/>
              <a:t>Master text styles</a:t>
            </a:r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C5A62CD-BFE2-4D4F-8935-C2A70FF7029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7049" y="2709336"/>
            <a:ext cx="2532504" cy="36004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8800">
                <a:gradFill>
                  <a:gsLst>
                    <a:gs pos="0">
                      <a:schemeClr val="bg2"/>
                    </a:gs>
                    <a:gs pos="30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60%</a:t>
            </a:r>
            <a:endParaRPr lang="en-US"/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32DDB218-0800-4E14-B318-A5DEBCD3C6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1929" y="229437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0993AD9-4B39-4387-830F-2BEC07A6CA1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1" y="2709333"/>
            <a:ext cx="5563147" cy="3600451"/>
          </a:xfrm>
        </p:spPr>
        <p:txBody>
          <a:bodyPr>
            <a:noAutofit/>
          </a:bodyPr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BB650A0-1DD8-44BF-91B4-3797F08D116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27053" y="5505987"/>
            <a:ext cx="10591857" cy="14362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/>
            </a:lvl1pPr>
          </a:lstStyle>
          <a:p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4DC680F-D469-45F1-8457-5F3B9EAE1F3A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527052" y="1833036"/>
            <a:ext cx="11135781" cy="6760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70" indent="0">
              <a:buNone/>
              <a:defRPr>
                <a:solidFill>
                  <a:schemeClr val="tx2"/>
                </a:solidFill>
              </a:defRPr>
            </a:lvl2pPr>
            <a:lvl3pPr marL="1219140" indent="0">
              <a:buNone/>
              <a:defRPr>
                <a:solidFill>
                  <a:schemeClr val="tx2"/>
                </a:solidFill>
              </a:defRPr>
            </a:lvl3pPr>
            <a:lvl4pPr marL="1828709" indent="0">
              <a:buNone/>
              <a:defRPr>
                <a:solidFill>
                  <a:schemeClr val="tx2"/>
                </a:solidFill>
              </a:defRPr>
            </a:lvl4pPr>
            <a:lvl5pPr marL="2438278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667488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73BC696-0CDC-4037-BE23-8F60BA0B74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0683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383" imgH="383" progId="TCLayout.ActiveDocument.1">
                  <p:embed/>
                </p:oleObj>
              </mc:Choice>
              <mc:Fallback>
                <p:oleObj name="think-cell Slide" r:id="rId4" imgW="383" imgH="38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73BC696-0CDC-4037-BE23-8F60BA0B74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2" y="548220"/>
            <a:ext cx="11132096" cy="1284817"/>
          </a:xfrm>
        </p:spPr>
        <p:txBody>
          <a:bodyPr vert="horz" lIns="0" tIns="0" rIns="0" bIns="0" anchor="t">
            <a:noAutofit/>
          </a:bodyPr>
          <a:lstStyle>
            <a:lvl1pPr>
              <a:defRPr>
                <a:gradFill>
                  <a:gsLst>
                    <a:gs pos="86500">
                      <a:srgbClr val="0047D1"/>
                    </a:gs>
                    <a:gs pos="73000">
                      <a:srgbClr val="002CB4"/>
                    </a:gs>
                    <a:gs pos="56000">
                      <a:srgbClr val="00169D"/>
                    </a:gs>
                    <a:gs pos="0">
                      <a:srgbClr val="000086"/>
                    </a:gs>
                    <a:gs pos="100000">
                      <a:srgbClr val="0071FD"/>
                    </a:gs>
                  </a:gsLst>
                  <a:lin ang="19800000" scaled="0"/>
                </a:gra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9F51459-5168-F241-892E-2EA70D1465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052" y="1833035"/>
            <a:ext cx="11132096" cy="6474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70" indent="0">
              <a:buNone/>
              <a:defRPr>
                <a:solidFill>
                  <a:schemeClr val="tx2"/>
                </a:solidFill>
              </a:defRPr>
            </a:lvl2pPr>
            <a:lvl3pPr marL="1219140" indent="0">
              <a:buNone/>
              <a:defRPr>
                <a:solidFill>
                  <a:schemeClr val="tx2"/>
                </a:solidFill>
              </a:defRPr>
            </a:lvl3pPr>
            <a:lvl4pPr marL="1828709" indent="0">
              <a:buNone/>
              <a:defRPr>
                <a:solidFill>
                  <a:schemeClr val="tx2"/>
                </a:solidFill>
              </a:defRPr>
            </a:lvl4pPr>
            <a:lvl5pPr marL="2438278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40790B6-818E-4CE5-B265-0FB09161C8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1929" y="229437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C2D40-371C-466F-98CA-E70E963E3F7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527053" y="5505987"/>
            <a:ext cx="10591857" cy="14362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2410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ing only#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5CCD61E-4A62-4E0B-B136-07B8BE881C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225801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4" imgW="383" imgH="383" progId="TCLayout.ActiveDocument.1">
                  <p:embed/>
                </p:oleObj>
              </mc:Choice>
              <mc:Fallback>
                <p:oleObj name="think-cell Slide" r:id="rId4" imgW="383" imgH="38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5CCD61E-4A62-4E0B-B136-07B8BE881C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2" y="548219"/>
            <a:ext cx="11123192" cy="673100"/>
          </a:xfrm>
        </p:spPr>
        <p:txBody>
          <a:bodyPr vert="horz" lIns="0" tIns="0" rIns="0" bIns="0" anchor="t">
            <a:noAutofit/>
          </a:bodyPr>
          <a:lstStyle>
            <a:lvl1pPr>
              <a:defRPr>
                <a:gradFill>
                  <a:gsLst>
                    <a:gs pos="86500">
                      <a:srgbClr val="0047D1"/>
                    </a:gs>
                    <a:gs pos="73000">
                      <a:srgbClr val="002CB4"/>
                    </a:gs>
                    <a:gs pos="56000">
                      <a:srgbClr val="00169D"/>
                    </a:gs>
                    <a:gs pos="0">
                      <a:srgbClr val="000086"/>
                    </a:gs>
                    <a:gs pos="100000">
                      <a:srgbClr val="0071FD"/>
                    </a:gs>
                  </a:gsLst>
                  <a:lin ang="19800000" scaled="0"/>
                </a:gra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9F51459-5168-F241-892E-2EA70D1465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052" y="1303033"/>
            <a:ext cx="11123192" cy="6379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70" indent="0">
              <a:buNone/>
              <a:defRPr>
                <a:solidFill>
                  <a:schemeClr val="tx2"/>
                </a:solidFill>
              </a:defRPr>
            </a:lvl2pPr>
            <a:lvl3pPr marL="1219140" indent="0">
              <a:buNone/>
              <a:defRPr>
                <a:solidFill>
                  <a:schemeClr val="tx2"/>
                </a:solidFill>
              </a:defRPr>
            </a:lvl3pPr>
            <a:lvl4pPr marL="1828709" indent="0">
              <a:buNone/>
              <a:defRPr>
                <a:solidFill>
                  <a:schemeClr val="tx2"/>
                </a:solidFill>
              </a:defRPr>
            </a:lvl4pPr>
            <a:lvl5pPr marL="2438278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40790B6-818E-4CE5-B265-0FB09161C8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1929" y="229437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C2D40-371C-466F-98CA-E70E963E3F7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527053" y="5505987"/>
            <a:ext cx="10591857" cy="14362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83072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, text &amp; half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1203E3-3D91-4BE3-97AC-3350667BED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98446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4" imgW="383" imgH="383" progId="TCLayout.ActiveDocument.1">
                  <p:embed/>
                </p:oleObj>
              </mc:Choice>
              <mc:Fallback>
                <p:oleObj name="think-cell Slide" r:id="rId4" imgW="383" imgH="38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1203E3-3D91-4BE3-97AC-3350667BED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AAA3165-01EF-D54A-A563-F5497EE9AC4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1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1" y="548217"/>
            <a:ext cx="5439652" cy="1284816"/>
          </a:xfrm>
        </p:spPr>
        <p:txBody>
          <a:bodyPr vert="horz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AD462C4-98AB-4597-8316-DD54AEC3F5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053" y="1833036"/>
            <a:ext cx="5439651" cy="56356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70" indent="0">
              <a:buNone/>
              <a:defRPr>
                <a:solidFill>
                  <a:schemeClr val="tx2"/>
                </a:solidFill>
              </a:defRPr>
            </a:lvl2pPr>
            <a:lvl3pPr marL="1219140" indent="0">
              <a:buNone/>
              <a:defRPr>
                <a:solidFill>
                  <a:schemeClr val="tx2"/>
                </a:solidFill>
              </a:defRPr>
            </a:lvl3pPr>
            <a:lvl4pPr marL="1828709" indent="0">
              <a:buNone/>
              <a:defRPr>
                <a:solidFill>
                  <a:schemeClr val="tx2"/>
                </a:solidFill>
              </a:defRPr>
            </a:lvl4pPr>
            <a:lvl5pPr marL="2438278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55D812-6FA0-4A44-BA16-84BEDF08086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527053" y="5505987"/>
            <a:ext cx="10591857" cy="14362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/>
            </a:lvl1pPr>
          </a:lstStyle>
          <a:p>
            <a:endParaRPr lang="en-US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0968069-9D03-4E81-BA77-A22D82AB9C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1929" y="229437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7EA9A85-6125-4DE1-AA2C-ACB4F37D808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27052" y="2709335"/>
            <a:ext cx="5471583" cy="3149999"/>
          </a:xfr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76896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E378278C-564B-DF4B-86D1-DCB841DB05D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" y="3429000"/>
            <a:ext cx="6096001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C59760E1-2DE1-DD47-9562-4EAA6398EBB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" y="0"/>
            <a:ext cx="6096001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210C259B-44E3-4C4A-B15A-13D2AE007FE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27051" y="548219"/>
            <a:ext cx="2688167" cy="15912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067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584" indent="0">
              <a:lnSpc>
                <a:spcPct val="120000"/>
              </a:lnSpc>
              <a:spcBef>
                <a:spcPts val="0"/>
              </a:spcBef>
              <a:buNone/>
              <a:tabLst/>
              <a:defRPr sz="933" b="0" i="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19140" indent="0">
              <a:buNone/>
              <a:defRPr sz="1400"/>
            </a:lvl3pPr>
            <a:lvl4pPr marL="1828709" indent="0">
              <a:buNone/>
              <a:defRPr sz="1333"/>
            </a:lvl4pPr>
            <a:lvl5pPr marL="2438278" indent="0">
              <a:buNone/>
              <a:defRPr sz="13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7248F32-B6ED-CD41-9A31-2AACF9661E8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1" y="3429000"/>
            <a:ext cx="6096001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AAA3165-01EF-D54A-A563-F5497EE9AC4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1" y="0"/>
            <a:ext cx="6096001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05D7CC3-7B9E-4CE1-9A45-2D660CDCF7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1929" y="229437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FE7E9B-95E3-492A-BD14-F8FD524AC48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527053" y="5505987"/>
            <a:ext cx="10591857" cy="14362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4601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DC196A-F404-C574-28E9-06A6D45E1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B36844-F40C-12F2-A3AF-12D1672F92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9C152F-C283-0E80-6F0D-A67EE9B3E2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26C0A-4BBB-4F12-BA76-351D31733057}" type="datetimeFigureOut">
              <a:rPr lang="en-US" smtClean="0"/>
              <a:t>5/3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E4909A-CFD2-2246-F381-B8F79D9E60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1BAC9F-5435-AD5E-EC80-6791197799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B97D2-C52B-45F9-9BC7-D39EAE3F0F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59949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C1ED7D0D-599C-C54F-A3A2-9CAE2FA9548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155096" y="3429000"/>
            <a:ext cx="4036907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E378278C-564B-DF4B-86D1-DCB841DB05D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" y="3429000"/>
            <a:ext cx="4088335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C59760E1-2DE1-DD47-9562-4EAA6398EBB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" y="0"/>
            <a:ext cx="4088335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FAEA768B-CDF8-9347-84F1-234A9B2E89D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77549" y="3429000"/>
            <a:ext cx="4088335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15B3AF6A-5D28-304E-8AF0-49665987185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77549" y="0"/>
            <a:ext cx="4088335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47D2CCC9-8F9A-4C43-BE3E-028BC18201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1929" y="229437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8C349D-516E-4884-A07E-D05A5412C854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527053" y="5505987"/>
            <a:ext cx="10591857" cy="14362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/>
            </a:lvl1pPr>
          </a:lstStyle>
          <a:p>
            <a:endParaRPr lang="en-US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9822E06F-9281-D94E-ACE4-57948FF68A2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155096" y="0"/>
            <a:ext cx="4036907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</p:spTree>
    <p:extLst>
      <p:ext uri="{BB962C8B-B14F-4D97-AF65-F5344CB8AC3E}">
        <p14:creationId xmlns:p14="http://schemas.microsoft.com/office/powerpoint/2010/main" val="11457520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 with One Line Heading and Sub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456966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2000" y="72000"/>
            <a:ext cx="11088000" cy="720000"/>
          </a:xfrm>
        </p:spPr>
        <p:txBody>
          <a:bodyPr vert="horz" anchor="b" anchorCtr="0"/>
          <a:lstStyle>
            <a:lvl1pPr>
              <a:defRPr baseline="0"/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2000" y="845287"/>
            <a:ext cx="11088000" cy="270000"/>
          </a:xfrm>
          <a:prstGeom prst="rect">
            <a:avLst/>
          </a:prstGeom>
        </p:spPr>
        <p:txBody>
          <a:bodyPr tIns="0" rIns="0" bIns="0">
            <a:normAutofit/>
          </a:bodyPr>
          <a:lstStyle>
            <a:lvl1pPr marL="0" indent="0">
              <a:buNone/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sub-heading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552000" y="1404000"/>
            <a:ext cx="11088000" cy="468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114897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ontent with One Line Heading and Sub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3504643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2000" y="72000"/>
            <a:ext cx="11088000" cy="720000"/>
          </a:xfrm>
        </p:spPr>
        <p:txBody>
          <a:bodyPr vert="horz" anchor="b" anchorCtr="0"/>
          <a:lstStyle>
            <a:lvl1pPr>
              <a:defRPr baseline="0"/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2000" y="845287"/>
            <a:ext cx="11088000" cy="270000"/>
          </a:xfrm>
          <a:prstGeom prst="rect">
            <a:avLst/>
          </a:prstGeom>
        </p:spPr>
        <p:txBody>
          <a:bodyPr tIns="0" rIns="0" bIns="0">
            <a:norm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insert sub-heading</a:t>
            </a:r>
          </a:p>
        </p:txBody>
      </p:sp>
    </p:spTree>
    <p:extLst>
      <p:ext uri="{BB962C8B-B14F-4D97-AF65-F5344CB8AC3E}">
        <p14:creationId xmlns:p14="http://schemas.microsoft.com/office/powerpoint/2010/main" val="5395244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Sub-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5276639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2000" y="73441"/>
            <a:ext cx="11045952" cy="720000"/>
          </a:xfrm>
        </p:spPr>
        <p:txBody>
          <a:bodyPr vert="horz" rIns="0" anchor="b" anchorCtr="0"/>
          <a:lstStyle>
            <a:lvl1pPr>
              <a:defRPr baseline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2000" y="873360"/>
            <a:ext cx="11045952" cy="270000"/>
          </a:xfrm>
          <a:prstGeom prst="rect">
            <a:avLst/>
          </a:prstGeom>
        </p:spPr>
        <p:txBody>
          <a:bodyPr tIns="0" rIns="0" bIns="0">
            <a:normAutofit/>
          </a:bodyPr>
          <a:lstStyle>
            <a:lvl1pPr marL="0" indent="0">
              <a:buNone/>
              <a:defRPr sz="13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insert sub-heading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552000" y="6263640"/>
            <a:ext cx="8540496" cy="429768"/>
          </a:xfrm>
        </p:spPr>
        <p:txBody>
          <a:bodyPr tIns="0" bIns="0" anchor="b" anchorCtr="0">
            <a:normAutofit/>
          </a:bodyPr>
          <a:lstStyle>
            <a:lvl1pPr marL="0" indent="0">
              <a:spcBef>
                <a:spcPts val="288"/>
              </a:spcBef>
              <a:buNone/>
              <a:defRPr sz="800">
                <a:solidFill>
                  <a:schemeClr val="tx1"/>
                </a:solidFill>
              </a:defRPr>
            </a:lvl1pPr>
          </a:lstStyle>
          <a:p>
            <a:pPr>
              <a:spcBef>
                <a:spcPts val="216"/>
              </a:spcBef>
            </a:pPr>
            <a:r>
              <a:rPr lang="en-US" sz="80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Footnot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492AEA-716E-44AA-8636-A9F0D52E806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52000" y="1180800"/>
            <a:ext cx="11045952" cy="4910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64817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Mai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9953989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2000" y="73441"/>
            <a:ext cx="11045952" cy="720000"/>
          </a:xfrm>
        </p:spPr>
        <p:txBody>
          <a:bodyPr vert="horz" rIns="0" anchor="b" anchorCtr="0"/>
          <a:lstStyle>
            <a:lvl1pPr>
              <a:defRPr baseline="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F57C9B5-9AF9-45A5-87E9-73D18A77BF2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52000" y="1180800"/>
            <a:ext cx="11045952" cy="4910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6C5AFF-C39B-40B7-9E85-69C44E850118}"/>
              </a:ext>
            </a:extLst>
          </p:cNvPr>
          <p:cNvSpPr txBox="1"/>
          <p:nvPr userDrawn="1"/>
        </p:nvSpPr>
        <p:spPr>
          <a:xfrm>
            <a:off x="5331727" y="6488668"/>
            <a:ext cx="152854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6627625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Mai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1968DD-9A15-473A-89B8-797909254C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65996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4" imgW="383" imgH="383" progId="TCLayout.ActiveDocument.1">
                  <p:embed/>
                </p:oleObj>
              </mc:Choice>
              <mc:Fallback>
                <p:oleObj name="think-cell Slide" r:id="rId4" imgW="383" imgH="38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1968DD-9A15-473A-89B8-797909254C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2000" y="73441"/>
            <a:ext cx="11044800" cy="720000"/>
          </a:xfrm>
        </p:spPr>
        <p:txBody>
          <a:bodyPr vert="horz" anchor="b" anchorCtr="0"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insert slide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552000" y="1181102"/>
            <a:ext cx="11044800" cy="4902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802114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006295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7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884727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6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D2B9B34-A2EE-4124-9307-270C02EFE429}"/>
              </a:ext>
            </a:extLst>
          </p:cNvPr>
          <p:cNvSpPr/>
          <p:nvPr userDrawn="1"/>
        </p:nvSpPr>
        <p:spPr>
          <a:xfrm>
            <a:off x="11333255" y="6453191"/>
            <a:ext cx="388711" cy="242887"/>
          </a:xfrm>
          <a:prstGeom prst="rect">
            <a:avLst/>
          </a:prstGeom>
          <a:noFill/>
          <a:ln w="12700">
            <a:solidFill>
              <a:schemeClr val="tx1">
                <a:alpha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noFill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24AA9B1-8A59-4653-A79C-C5D4B89F949D}"/>
              </a:ext>
            </a:extLst>
          </p:cNvPr>
          <p:cNvSpPr txBox="1">
            <a:spLocks/>
          </p:cNvSpPr>
          <p:nvPr userDrawn="1"/>
        </p:nvSpPr>
        <p:spPr>
          <a:xfrm>
            <a:off x="9473192" y="6453191"/>
            <a:ext cx="1860061" cy="242887"/>
          </a:xfrm>
          <a:prstGeom prst="rect">
            <a:avLst/>
          </a:prstGeom>
          <a:solidFill>
            <a:schemeClr val="accent1"/>
          </a:solidFill>
          <a:ln>
            <a:solidFill>
              <a:srgbClr val="000000"/>
            </a:solidFill>
          </a:ln>
        </p:spPr>
        <p:txBody>
          <a:bodyPr lIns="0" rIns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SzPct val="120000"/>
              <a:buFont typeface="Arial" pitchFamily="34" charset="0"/>
              <a:buNone/>
              <a:defRPr sz="100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355600" indent="-177800" algn="l" defTabSz="914400" rtl="0" eaLnBrk="1" latinLnBrk="0" hangingPunct="1">
              <a:spcBef>
                <a:spcPct val="20000"/>
              </a:spcBef>
              <a:buSzPct val="100000"/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534988" indent="-179388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800" kern="120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342900" indent="-1143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800" kern="120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800" kern="120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835426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ouble heading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22BF73A-40D0-463B-817E-7810BA9264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782615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4" imgW="383" imgH="383" progId="TCLayout.ActiveDocument.1">
                  <p:embed/>
                </p:oleObj>
              </mc:Choice>
              <mc:Fallback>
                <p:oleObj name="think-cell Slide" r:id="rId4" imgW="383" imgH="38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22BF73A-40D0-463B-817E-7810BA9264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2" y="548217"/>
            <a:ext cx="11132096" cy="1284816"/>
          </a:xfrm>
        </p:spPr>
        <p:txBody>
          <a:bodyPr vert="horz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98596B-A483-41A5-9785-F81D82B7731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E32A8DC5-1AA9-4332-9083-1C228977A0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1929" y="229437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F86F187F-AD63-4F1D-AB33-D65AB6A677D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7051" y="2709333"/>
            <a:ext cx="8496300" cy="3600451"/>
          </a:xfrm>
        </p:spPr>
        <p:txBody>
          <a:bodyPr>
            <a:noAutofit/>
          </a:bodyPr>
          <a:lstStyle>
            <a:lvl1pPr marL="228589" indent="-228589">
              <a:buFont typeface="Arial" panose="020B0604020202020204" pitchFamily="34" charset="0"/>
              <a:buChar char="•"/>
              <a:defRPr/>
            </a:lvl1pPr>
            <a:lvl2pPr marL="237055" indent="0">
              <a:defRPr/>
            </a:lvl2pPr>
            <a:lvl3pPr marL="359815" indent="-122761">
              <a:defRPr/>
            </a:lvl3pPr>
            <a:lvl4pPr marL="480460" indent="-120645">
              <a:defRPr/>
            </a:lvl4pPr>
            <a:lvl5pPr marL="596870" indent="-116412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5C679F-7B1F-4DFD-82D5-C372ED6699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A2B885C-167D-4FB4-856D-6263AD6409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1931" y="5974429"/>
            <a:ext cx="11135784" cy="33535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DE44055-048D-4AAB-8470-C6A886048E7A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527053" y="1833036"/>
            <a:ext cx="11135783" cy="6760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70" indent="0">
              <a:buNone/>
              <a:defRPr>
                <a:solidFill>
                  <a:schemeClr val="tx2"/>
                </a:solidFill>
              </a:defRPr>
            </a:lvl2pPr>
            <a:lvl3pPr marL="1219140" indent="0">
              <a:buNone/>
              <a:defRPr>
                <a:solidFill>
                  <a:schemeClr val="tx2"/>
                </a:solidFill>
              </a:defRPr>
            </a:lvl3pPr>
            <a:lvl4pPr marL="1828709" indent="0">
              <a:buNone/>
              <a:defRPr>
                <a:solidFill>
                  <a:schemeClr val="tx2"/>
                </a:solidFill>
              </a:defRPr>
            </a:lvl4pPr>
            <a:lvl5pPr marL="2438278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28663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ouble heading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F3873FA-2AEC-46A6-AFD3-D590F8C9B1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840298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4" imgW="383" imgH="383" progId="TCLayout.ActiveDocument.1">
                  <p:embed/>
                </p:oleObj>
              </mc:Choice>
              <mc:Fallback>
                <p:oleObj name="think-cell Slide" r:id="rId4" imgW="383" imgH="38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F3873FA-2AEC-46A6-AFD3-D590F8C9B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2" y="548217"/>
            <a:ext cx="11132096" cy="1284816"/>
          </a:xfrm>
        </p:spPr>
        <p:txBody>
          <a:bodyPr vert="horz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98596B-A483-41A5-9785-F81D82B7731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E32A8DC5-1AA9-4332-9083-1C228977A0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1929" y="229437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F86F187F-AD63-4F1D-AB33-D65AB6A677D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7051" y="2709333"/>
            <a:ext cx="8496300" cy="3600451"/>
          </a:xfrm>
        </p:spPr>
        <p:txBody>
          <a:bodyPr>
            <a:noAutofit/>
          </a:bodyPr>
          <a:lstStyle>
            <a:lvl1pPr marL="228578" indent="-228578">
              <a:buFont typeface="Arial" panose="020B0604020202020204" pitchFamily="34" charset="0"/>
              <a:buChar char="•"/>
              <a:defRPr/>
            </a:lvl1pPr>
            <a:lvl2pPr marL="237043" indent="0">
              <a:defRPr/>
            </a:lvl2pPr>
            <a:lvl3pPr marL="359798" indent="-122756">
              <a:defRPr/>
            </a:lvl3pPr>
            <a:lvl4pPr marL="480436" indent="-120640">
              <a:defRPr/>
            </a:lvl4pPr>
            <a:lvl5pPr marL="596841" indent="-116406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5C679F-7B1F-4DFD-82D5-C372ED6699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A2B885C-167D-4FB4-856D-6263AD6409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7051" y="5677313"/>
            <a:ext cx="11135784" cy="33535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DE44055-048D-4AAB-8470-C6A886048E7A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527055" y="1833037"/>
            <a:ext cx="11135783" cy="6760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39" indent="0">
              <a:buNone/>
              <a:defRPr>
                <a:solidFill>
                  <a:schemeClr val="tx2"/>
                </a:solidFill>
              </a:defRPr>
            </a:lvl2pPr>
            <a:lvl3pPr marL="1219080" indent="0">
              <a:buNone/>
              <a:defRPr>
                <a:solidFill>
                  <a:schemeClr val="tx2"/>
                </a:solidFill>
              </a:defRPr>
            </a:lvl3pPr>
            <a:lvl4pPr marL="1828618" indent="0">
              <a:buNone/>
              <a:defRPr>
                <a:solidFill>
                  <a:schemeClr val="tx2"/>
                </a:solidFill>
              </a:defRPr>
            </a:lvl4pPr>
            <a:lvl5pPr marL="2438158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52568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87122E6-0AC6-4210-98C1-36A53F8C0FF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271" y="548219"/>
            <a:ext cx="2448000" cy="5374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63" y="2709335"/>
            <a:ext cx="5561037" cy="1439333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5271" y="4148667"/>
            <a:ext cx="5573685" cy="7196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67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3234D72-E2B8-4553-ACE8-EB61E8CA8D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7051" y="5902030"/>
            <a:ext cx="2210093" cy="390673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vert="horz" wrap="none" lIns="216000" tIns="36000" rIns="216000" bIns="36000" rtlCol="0" anchor="ctr" anchorCtr="1">
            <a:spAutoFit/>
          </a:bodyPr>
          <a:lstStyle>
            <a:lvl1pPr>
              <a:defRPr lang="en-GB" sz="1333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Security Classific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92280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0F7358-A8C6-6B60-145F-8B8CB61B5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863BC2-D950-575D-C6AC-5D4447F718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209DAC-A1D3-C0BA-A4B6-A7349789C3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563B2E-4D81-18F4-6813-635D28B397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26C0A-4BBB-4F12-BA76-351D31733057}" type="datetimeFigureOut">
              <a:rPr lang="en-US" smtClean="0"/>
              <a:t>5/31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443E99-5A77-FE23-70DF-DF92A9772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70FAA1-9B96-223D-B0D7-41B0F390C4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B97D2-C52B-45F9-9BC7-D39EAE3F0F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45534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ustom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7C1D2EB-1C0D-43FC-91D9-A95C6CB0161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" y="0"/>
            <a:ext cx="12192001" cy="6858000"/>
          </a:xfrm>
          <a:solidFill>
            <a:schemeClr val="bg1">
              <a:lumMod val="85000"/>
            </a:schemeClr>
          </a:solidFill>
        </p:spPr>
        <p:txBody>
          <a:bodyPr rIns="468000" anchor="ctr" anchorCtr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6757" y="2709335"/>
            <a:ext cx="5569243" cy="1439333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>
                <a:gradFill>
                  <a:gsLst>
                    <a:gs pos="0">
                      <a:schemeClr val="bg2"/>
                    </a:gs>
                    <a:gs pos="30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32C071A-6A2D-4184-A484-D1696B508C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5271" y="4148667"/>
            <a:ext cx="5573685" cy="7196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67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F240C88-79AB-4ECC-A804-75AB01F82E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7051" y="5902030"/>
            <a:ext cx="2210093" cy="390673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vert="horz" wrap="none" lIns="216000" tIns="36000" rIns="216000" bIns="36000" rtlCol="0" anchor="ctr" anchorCtr="1">
            <a:spAutoFit/>
          </a:bodyPr>
          <a:lstStyle>
            <a:lvl1pPr>
              <a:defRPr lang="en-GB" sz="1333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Security Classification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FA7539-070D-4190-BFCD-7B02BB5508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271" y="548219"/>
            <a:ext cx="2448000" cy="537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2610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C8EF43D-3095-874F-80FE-644D4133E8B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7051" y="2709334"/>
            <a:ext cx="8449733" cy="143933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733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</a:t>
            </a:r>
            <a:br>
              <a:rPr lang="en-GB"/>
            </a:br>
            <a:r>
              <a:rPr lang="en-GB"/>
              <a:t>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C343D5-0939-42DF-BECD-BCDEB5CCA6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4A0FDDF8-BD4C-4A81-8DA4-3CC36491756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527052" y="6510032"/>
            <a:ext cx="10591857" cy="143629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Anglo American  /  © 2021 </a:t>
            </a:r>
          </a:p>
        </p:txBody>
      </p:sp>
    </p:spTree>
    <p:extLst>
      <p:ext uri="{BB962C8B-B14F-4D97-AF65-F5344CB8AC3E}">
        <p14:creationId xmlns:p14="http://schemas.microsoft.com/office/powerpoint/2010/main" val="40735353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7BFC63D6-6981-48D5-9254-FA87F1A4FD8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22660" y="0"/>
            <a:ext cx="6069341" cy="6858000"/>
          </a:xfrm>
          <a:custGeom>
            <a:avLst/>
            <a:gdLst>
              <a:gd name="connsiteX0" fmla="*/ 0 w 4552006"/>
              <a:gd name="connsiteY0" fmla="*/ 0 h 5143500"/>
              <a:gd name="connsiteX1" fmla="*/ 4552006 w 4552006"/>
              <a:gd name="connsiteY1" fmla="*/ 0 h 5143500"/>
              <a:gd name="connsiteX2" fmla="*/ 4552006 w 4552006"/>
              <a:gd name="connsiteY2" fmla="*/ 5143500 h 5143500"/>
              <a:gd name="connsiteX3" fmla="*/ 0 w 4552006"/>
              <a:gd name="connsiteY3" fmla="*/ 5143500 h 5143500"/>
              <a:gd name="connsiteX4" fmla="*/ 1307 w 4552006"/>
              <a:gd name="connsiteY4" fmla="*/ 5140187 h 5143500"/>
              <a:gd name="connsiteX5" fmla="*/ 454584 w 4552006"/>
              <a:gd name="connsiteY5" fmla="*/ 2571750 h 5143500"/>
              <a:gd name="connsiteX6" fmla="*/ 1307 w 4552006"/>
              <a:gd name="connsiteY6" fmla="*/ 3314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52006" h="5143500">
                <a:moveTo>
                  <a:pt x="0" y="0"/>
                </a:moveTo>
                <a:lnTo>
                  <a:pt x="4552006" y="0"/>
                </a:lnTo>
                <a:lnTo>
                  <a:pt x="4552006" y="5143500"/>
                </a:lnTo>
                <a:lnTo>
                  <a:pt x="0" y="5143500"/>
                </a:lnTo>
                <a:lnTo>
                  <a:pt x="1307" y="5140187"/>
                </a:lnTo>
                <a:cubicBezTo>
                  <a:pt x="294548" y="4339307"/>
                  <a:pt x="454584" y="3474218"/>
                  <a:pt x="454584" y="2571750"/>
                </a:cubicBezTo>
                <a:cubicBezTo>
                  <a:pt x="454584" y="1669282"/>
                  <a:pt x="294548" y="804193"/>
                  <a:pt x="1307" y="331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 algn="ctr">
              <a:defRPr lang="en-US" sz="12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C8EF43D-3095-874F-80FE-644D4133E8B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7051" y="2709334"/>
            <a:ext cx="5568949" cy="143933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3733" b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</a:t>
            </a:r>
            <a:br>
              <a:rPr lang="en-GB"/>
            </a:br>
            <a:r>
              <a:rPr lang="en-GB"/>
              <a:t>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AEAC30-3E20-47F8-84CD-ED91A814E8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01A835-B48D-464C-8BD0-1D232EEA686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</p:spTree>
    <p:extLst>
      <p:ext uri="{BB962C8B-B14F-4D97-AF65-F5344CB8AC3E}">
        <p14:creationId xmlns:p14="http://schemas.microsoft.com/office/powerpoint/2010/main" val="12734389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Blue">
    <p:bg>
      <p:bgPr>
        <a:gradFill>
          <a:gsLst>
            <a:gs pos="86500">
              <a:srgbClr val="0047D1"/>
            </a:gs>
            <a:gs pos="73000">
              <a:srgbClr val="002CB4"/>
            </a:gs>
            <a:gs pos="56000">
              <a:srgbClr val="00169D"/>
            </a:gs>
            <a:gs pos="0">
              <a:srgbClr val="000086"/>
            </a:gs>
            <a:gs pos="100000">
              <a:srgbClr val="0071FD"/>
            </a:gs>
          </a:gsLst>
          <a:lin ang="19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052" y="1221317"/>
            <a:ext cx="8449733" cy="2207683"/>
          </a:xfrm>
          <a:prstGeom prst="rect">
            <a:avLst/>
          </a:prstGeom>
        </p:spPr>
        <p:txBody>
          <a:bodyPr>
            <a:noAutofit/>
          </a:bodyPr>
          <a:lstStyle>
            <a:lvl1pPr marL="158396" indent="-158396">
              <a:buNone/>
              <a:defRPr sz="32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 sz="3200">
                <a:solidFill>
                  <a:schemeClr val="bg1"/>
                </a:solidFill>
              </a:defRPr>
            </a:lvl2pPr>
            <a:lvl3pPr marL="1219170" indent="0">
              <a:buNone/>
              <a:defRPr sz="3200">
                <a:solidFill>
                  <a:schemeClr val="bg1"/>
                </a:solidFill>
              </a:defRPr>
            </a:lvl3pPr>
            <a:lvl4pPr marL="1828754" indent="0">
              <a:buNone/>
              <a:defRPr sz="3200">
                <a:solidFill>
                  <a:schemeClr val="bg1"/>
                </a:solidFill>
              </a:defRPr>
            </a:lvl4pPr>
            <a:lvl5pPr marL="2438339" indent="0">
              <a:buNone/>
              <a:defRPr sz="3200">
                <a:solidFill>
                  <a:schemeClr val="bg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A0504AF-EACC-994F-8D40-535CEE9663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7051" y="3429000"/>
            <a:ext cx="8449735" cy="7196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609585" indent="0">
              <a:buNone/>
              <a:defRPr>
                <a:solidFill>
                  <a:schemeClr val="bg1"/>
                </a:solidFill>
              </a:defRPr>
            </a:lvl2pPr>
            <a:lvl3pPr marL="1219170" indent="0">
              <a:buNone/>
              <a:defRPr>
                <a:solidFill>
                  <a:schemeClr val="bg1"/>
                </a:solidFill>
              </a:defRPr>
            </a:lvl3pPr>
            <a:lvl4pPr marL="1828754" indent="0">
              <a:buNone/>
              <a:defRPr>
                <a:solidFill>
                  <a:schemeClr val="bg1"/>
                </a:solidFill>
              </a:defRPr>
            </a:lvl4pPr>
            <a:lvl5pPr marL="2438339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51AEA7-522A-440C-8145-8F221BBC1C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4DE8FF10-90AA-4FDC-9D19-C933C72A38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27052" y="6510032"/>
            <a:ext cx="10591857" cy="143629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Anglo American  /  © 2021 </a:t>
            </a:r>
          </a:p>
        </p:txBody>
      </p:sp>
    </p:spTree>
    <p:extLst>
      <p:ext uri="{BB962C8B-B14F-4D97-AF65-F5344CB8AC3E}">
        <p14:creationId xmlns:p14="http://schemas.microsoft.com/office/powerpoint/2010/main" val="27240878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051" y="1221317"/>
            <a:ext cx="11135783" cy="2207683"/>
          </a:xfrm>
          <a:prstGeom prst="rect">
            <a:avLst/>
          </a:prstGeom>
        </p:spPr>
        <p:txBody>
          <a:bodyPr>
            <a:noAutofit/>
          </a:bodyPr>
          <a:lstStyle>
            <a:lvl1pPr marL="158396" indent="-158396">
              <a:buNone/>
              <a:defRPr sz="3200" b="0">
                <a:gradFill>
                  <a:gsLst>
                    <a:gs pos="1000">
                      <a:schemeClr val="bg2"/>
                    </a:gs>
                    <a:gs pos="30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  <a:latin typeface="Arial" panose="020B0604020202020204" pitchFamily="34" charset="0"/>
              </a:defRPr>
            </a:lvl1pPr>
            <a:lvl2pPr marL="609585" indent="0">
              <a:buNone/>
              <a:defRPr sz="3200">
                <a:solidFill>
                  <a:schemeClr val="bg1"/>
                </a:solidFill>
              </a:defRPr>
            </a:lvl2pPr>
            <a:lvl3pPr marL="1219170" indent="0">
              <a:buNone/>
              <a:defRPr sz="3200">
                <a:solidFill>
                  <a:schemeClr val="bg1"/>
                </a:solidFill>
              </a:defRPr>
            </a:lvl3pPr>
            <a:lvl4pPr marL="1828754" indent="0">
              <a:buNone/>
              <a:defRPr sz="3200">
                <a:solidFill>
                  <a:schemeClr val="bg1"/>
                </a:solidFill>
              </a:defRPr>
            </a:lvl4pPr>
            <a:lvl5pPr marL="2438339" indent="0">
              <a:buNone/>
              <a:defRPr sz="3200">
                <a:solidFill>
                  <a:schemeClr val="bg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A0504AF-EACC-994F-8D40-535CEE9663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7050" y="3440084"/>
            <a:ext cx="11135785" cy="72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  <a:lvl2pPr marL="609585" indent="0">
              <a:buNone/>
              <a:defRPr>
                <a:solidFill>
                  <a:schemeClr val="bg1"/>
                </a:solidFill>
              </a:defRPr>
            </a:lvl2pPr>
            <a:lvl3pPr marL="1219170" indent="0">
              <a:buNone/>
              <a:defRPr>
                <a:solidFill>
                  <a:schemeClr val="bg1"/>
                </a:solidFill>
              </a:defRPr>
            </a:lvl3pPr>
            <a:lvl4pPr marL="1828754" indent="0">
              <a:buNone/>
              <a:defRPr>
                <a:solidFill>
                  <a:schemeClr val="bg1"/>
                </a:solidFill>
              </a:defRPr>
            </a:lvl4pPr>
            <a:lvl5pPr marL="2438339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A710E4-50FF-4DCB-B028-617D2C53FC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DA603B-742F-44C7-AF33-C7C3230DB05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</p:spTree>
    <p:extLst>
      <p:ext uri="{BB962C8B-B14F-4D97-AF65-F5344CB8AC3E}">
        <p14:creationId xmlns:p14="http://schemas.microsoft.com/office/powerpoint/2010/main" val="37829188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full page custom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8EEE5B2-A390-4F38-8510-0F55179C54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anchor="ctr" anchorCtr="1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27050" y="1221317"/>
            <a:ext cx="8304735" cy="14880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58396" indent="-158396">
              <a:buNone/>
              <a:defRPr sz="3200" b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 sz="3200">
                <a:solidFill>
                  <a:schemeClr val="bg1"/>
                </a:solidFill>
              </a:defRPr>
            </a:lvl2pPr>
            <a:lvl3pPr marL="1219170" indent="0">
              <a:buNone/>
              <a:defRPr sz="3200">
                <a:solidFill>
                  <a:schemeClr val="bg1"/>
                </a:solidFill>
              </a:defRPr>
            </a:lvl3pPr>
            <a:lvl4pPr marL="1828754" indent="0">
              <a:buNone/>
              <a:defRPr sz="3200">
                <a:solidFill>
                  <a:schemeClr val="bg1"/>
                </a:solidFill>
              </a:defRPr>
            </a:lvl4pPr>
            <a:lvl5pPr marL="2438339" indent="0">
              <a:buNone/>
              <a:defRPr sz="3200">
                <a:solidFill>
                  <a:schemeClr val="bg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Quote tex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A0504AF-EACC-994F-8D40-535CEE9663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7050" y="3045884"/>
            <a:ext cx="8448031" cy="6357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  <a:lvl2pPr marL="609585" indent="0">
              <a:buNone/>
              <a:defRPr>
                <a:solidFill>
                  <a:schemeClr val="bg1"/>
                </a:solidFill>
              </a:defRPr>
            </a:lvl2pPr>
            <a:lvl3pPr marL="1219170" indent="0">
              <a:buNone/>
              <a:defRPr>
                <a:solidFill>
                  <a:schemeClr val="bg1"/>
                </a:solidFill>
              </a:defRPr>
            </a:lvl3pPr>
            <a:lvl4pPr marL="1828754" indent="0">
              <a:buNone/>
              <a:defRPr>
                <a:solidFill>
                  <a:schemeClr val="bg1"/>
                </a:solidFill>
              </a:defRPr>
            </a:lvl4pPr>
            <a:lvl5pPr marL="2438339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Quote sourc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742646-A33D-4135-B171-4E45DF084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55090F-808B-44B9-9008-979F5A3DF2C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</p:spTree>
    <p:extLst>
      <p:ext uri="{BB962C8B-B14F-4D97-AF65-F5344CB8AC3E}">
        <p14:creationId xmlns:p14="http://schemas.microsoft.com/office/powerpoint/2010/main" val="389214236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ing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548217"/>
            <a:ext cx="11135784" cy="675219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589119-7BC0-402A-A78A-0B8CA534C3F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62A6FDD-C04C-4A23-9277-C0FAC55CAF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A8FE34A-D2E7-4E9C-B6B1-70CBFF85DDE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7050" y="2709333"/>
            <a:ext cx="8496301" cy="3316907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21D94378-15C5-49BF-BDB5-458633B6CA7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DBF7F42-A33F-4F7D-8465-148936F2B5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1931" y="5974428"/>
            <a:ext cx="11143504" cy="33535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79214B7-EFC5-4FFC-B5F8-F7CF254B676F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27052" y="1223435"/>
            <a:ext cx="11135784" cy="609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88216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2" y="548217"/>
            <a:ext cx="11132096" cy="1284816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98596B-A483-41A5-9785-F81D82B7731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E32A8DC5-1AA9-4332-9083-1C228977A0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F86F187F-AD63-4F1D-AB33-D65AB6A677D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7050" y="2709333"/>
            <a:ext cx="8496300" cy="3600451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/>
            </a:lvl1pPr>
            <a:lvl2pPr marL="237061" indent="0">
              <a:defRPr/>
            </a:lvl2pPr>
            <a:lvl3pPr marL="359824" indent="-122764">
              <a:defRPr/>
            </a:lvl3pPr>
            <a:lvl4pPr marL="480472" indent="-120648">
              <a:defRPr/>
            </a:lvl4pPr>
            <a:lvl5pPr marL="596885" indent="-116414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5C679F-7B1F-4DFD-82D5-C372ED6699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A2B885C-167D-4FB4-856D-6263AD6409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1931" y="5974428"/>
            <a:ext cx="11135784" cy="33535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DE44055-048D-4AAB-8470-C6A886048E7A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527051" y="1833035"/>
            <a:ext cx="11135783" cy="6760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90180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 &amp; bullets - blue">
    <p:bg>
      <p:bgPr>
        <a:gradFill>
          <a:gsLst>
            <a:gs pos="86500">
              <a:srgbClr val="0047D1"/>
            </a:gs>
            <a:gs pos="73000">
              <a:srgbClr val="002CB4"/>
            </a:gs>
            <a:gs pos="56000">
              <a:srgbClr val="00169D"/>
            </a:gs>
            <a:gs pos="0">
              <a:srgbClr val="000086"/>
            </a:gs>
            <a:gs pos="100000">
              <a:srgbClr val="0071FD"/>
            </a:gs>
          </a:gsLst>
          <a:lin ang="19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1" y="548219"/>
            <a:ext cx="11135783" cy="1284816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56EE284-F52B-436B-B6B5-10FE2F5D1F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052" y="1833035"/>
            <a:ext cx="11135781" cy="6368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220F0D-8470-4F85-8D73-CD0225B9D1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51D1252F-AA75-450C-8B1A-90B0849762A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DEAC3D-AF3E-4004-8C78-5509BE1CE73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7050" y="2709334"/>
            <a:ext cx="7466068" cy="326509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>
                <a:solidFill>
                  <a:schemeClr val="bg1"/>
                </a:solidFill>
              </a:defRPr>
            </a:lvl1pPr>
            <a:lvl2pPr marL="237061" indent="0">
              <a:defRPr sz="1200">
                <a:solidFill>
                  <a:schemeClr val="bg1"/>
                </a:solidFill>
              </a:defRPr>
            </a:lvl2pPr>
            <a:lvl3pPr marL="359824" indent="-122764">
              <a:defRPr sz="1200">
                <a:solidFill>
                  <a:schemeClr val="bg1"/>
                </a:solidFill>
              </a:defRPr>
            </a:lvl3pPr>
            <a:lvl4pPr marL="480472" indent="-120648">
              <a:defRPr sz="1200">
                <a:solidFill>
                  <a:schemeClr val="bg1"/>
                </a:solidFill>
              </a:defRPr>
            </a:lvl4pPr>
            <a:lvl5pPr marL="596885" indent="-116414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FF0529-8D44-40F5-BD8A-C776CAED8B7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92ED2956-515C-4067-AB2F-5E5D7BDE477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1931" y="5974428"/>
            <a:ext cx="11143501" cy="335355"/>
          </a:xfrm>
        </p:spPr>
        <p:txBody>
          <a:bodyPr anchor="b" anchorCtr="0"/>
          <a:lstStyle>
            <a:lvl1pPr>
              <a:defRPr sz="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079578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ing &amp;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548218"/>
            <a:ext cx="11135783" cy="675217"/>
          </a:xfrm>
        </p:spPr>
        <p:txBody>
          <a:bodyPr lIns="0" tIns="0" rIns="0" bIns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6D1200-C59C-41B3-8A0B-E806F74557C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04F520FC-C37D-4AC5-8E9D-6E08BB9934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EDE36B54-211C-42C2-95B8-594A78DCFB2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7051" y="2704241"/>
            <a:ext cx="4903552" cy="3265096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/>
            </a:lvl1pPr>
            <a:lvl2pPr marL="237061" indent="0">
              <a:defRPr/>
            </a:lvl2pPr>
            <a:lvl3pPr marL="359824" indent="-122764">
              <a:defRPr/>
            </a:lvl3pPr>
            <a:lvl4pPr marL="480472" indent="-120648">
              <a:defRPr/>
            </a:lvl4pPr>
            <a:lvl5pPr marL="596885" indent="-116414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7C87F995-4A1D-415D-A81C-9BF6CCDA7FA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5356" y="2709333"/>
            <a:ext cx="4903552" cy="3265096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/>
            </a:lvl1pPr>
            <a:lvl2pPr marL="237061" indent="0">
              <a:defRPr/>
            </a:lvl2pPr>
            <a:lvl3pPr marL="359824" indent="-122764">
              <a:defRPr/>
            </a:lvl3pPr>
            <a:lvl4pPr marL="480472" indent="-120648">
              <a:defRPr/>
            </a:lvl4pPr>
            <a:lvl5pPr marL="596885" indent="-116414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F57649-C692-41BD-83D1-4A6997A17A4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ECD4C305-E672-4BE6-9CC1-D53962C65C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1930" y="5974428"/>
            <a:ext cx="11135783" cy="33535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589C551-58EC-4AE1-B383-9C02DCF59A5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27051" y="1223435"/>
            <a:ext cx="11135783" cy="609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68924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66CCE1-803D-59A1-A034-E85E813FF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24F045-2BB4-8FD3-95FE-632E14BC7C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CA811B9-28B1-731B-0F4B-0C6E37511F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59E781-4624-ACEB-4024-2BC8E0ECE6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CD94C7-C79D-DF48-EFDE-B831C6F6B8E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E6B542E-31B2-4CE5-5223-10CE01F49F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26C0A-4BBB-4F12-BA76-351D31733057}" type="datetimeFigureOut">
              <a:rPr lang="en-US" smtClean="0"/>
              <a:t>5/31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BCAFDBD-7CAF-3784-6523-554FCBDF36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1E09ADC-5B0E-8B8C-B046-4BF0648B5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B97D2-C52B-45F9-9BC7-D39EAE3F0F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85128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ing, intro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548218"/>
            <a:ext cx="11135783" cy="673100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7051" y="2709333"/>
            <a:ext cx="3181885" cy="36004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8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</a:t>
            </a:r>
            <a:br>
              <a:rPr lang="en-GB"/>
            </a:br>
            <a:r>
              <a:rPr lang="en-GB"/>
              <a:t>Master text styles</a:t>
            </a:r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39EDECD-E2EE-4F43-A6BB-FF4A27B8048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27051" y="1223435"/>
            <a:ext cx="11135783" cy="609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0293BD-BA02-4A3A-8AB4-EDE458A4AD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77668EF5-ADE1-435E-AA1C-2DE4A80DF1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590789FC-B105-4985-BF14-5E107301DC7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72740" y="2709333"/>
            <a:ext cx="7690093" cy="3600451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5FD0882-1340-4785-8D8D-9661DB0F46B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6CE3567-9745-4C96-BB2D-AA5625FD09C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1930" y="5974428"/>
            <a:ext cx="11135783" cy="35440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652512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, intros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1" y="548216"/>
            <a:ext cx="11135783" cy="1284819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215218" y="2709333"/>
            <a:ext cx="2661141" cy="36004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800"/>
              </a:spcBef>
              <a:buNone/>
              <a:defRPr sz="18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</a:t>
            </a:r>
            <a:br>
              <a:rPr lang="en-GB"/>
            </a:br>
            <a:r>
              <a:rPr lang="en-GB"/>
              <a:t>Master text styles</a:t>
            </a:r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C5A62CD-BFE2-4D4F-8935-C2A70FF7029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7049" y="2709334"/>
            <a:ext cx="2532504" cy="36004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8800">
                <a:gradFill>
                  <a:gsLst>
                    <a:gs pos="0">
                      <a:schemeClr val="bg2"/>
                    </a:gs>
                    <a:gs pos="30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60%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F260AD-0663-426B-A57D-F492B1C7007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32DDB218-0800-4E14-B318-A5DEBCD3C6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0993AD9-4B39-4387-830F-2BEC07A6CA1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1" y="2709333"/>
            <a:ext cx="5563147" cy="3600451"/>
          </a:xfrm>
        </p:spPr>
        <p:txBody>
          <a:bodyPr>
            <a:noAutofit/>
          </a:bodyPr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BB650A0-1DD8-44BF-91B4-3797F08D116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8C82892-DC49-4DAD-A4ED-4CE724DE0F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1931" y="5974428"/>
            <a:ext cx="11135781" cy="33535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4DC680F-D469-45F1-8457-5F3B9EAE1F3A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527052" y="1833035"/>
            <a:ext cx="11135781" cy="6760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375834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2" y="548218"/>
            <a:ext cx="11132096" cy="1284817"/>
          </a:xfrm>
        </p:spPr>
        <p:txBody>
          <a:bodyPr lIns="0" tIns="0" rIns="0" bIns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9F51459-5168-F241-892E-2EA70D1465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052" y="1833035"/>
            <a:ext cx="11132096" cy="6474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24C3BE-EF9E-4A1D-897A-C48737BE7B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40790B6-818E-4CE5-B265-0FB09161C8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C2D40-371C-466F-98CA-E70E963E3F7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476383D0-58F5-43CB-B9E0-7C0903CAAC7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1931" y="5974428"/>
            <a:ext cx="11130904" cy="33535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381657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ing only#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2" y="548218"/>
            <a:ext cx="11123192" cy="673100"/>
          </a:xfrm>
        </p:spPr>
        <p:txBody>
          <a:bodyPr lIns="0" tIns="0" rIns="0" bIns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9F51459-5168-F241-892E-2EA70D1465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052" y="1303033"/>
            <a:ext cx="11123192" cy="6379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24C3BE-EF9E-4A1D-897A-C48737BE7B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40790B6-818E-4CE5-B265-0FB09161C8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C2D40-371C-466F-98CA-E70E963E3F7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C195262-4BE5-4258-9E0A-41259E6E6D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1931" y="5974428"/>
            <a:ext cx="11130904" cy="33535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396393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, text &amp; half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AAA3165-01EF-D54A-A563-F5497EE9AC4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0" y="548217"/>
            <a:ext cx="5439652" cy="1284816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AD462C4-98AB-4597-8316-DD54AEC3F5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052" y="1833034"/>
            <a:ext cx="5439651" cy="56356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67D2EE-9A2B-4A19-B1B5-70D12FE64AC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55D812-6FA0-4A44-BA16-84BEDF08086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0968069-9D03-4E81-BA77-A22D82AB9C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E36A2BF-2CB7-4F19-AD61-A2D37DE2CF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1931" y="5974428"/>
            <a:ext cx="11130904" cy="33535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7EA9A85-6125-4DE1-AA2C-ACB4F37D808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27051" y="2709334"/>
            <a:ext cx="5471583" cy="3149999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29967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E378278C-564B-DF4B-86D1-DCB841DB05D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" y="3429000"/>
            <a:ext cx="6096001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C59760E1-2DE1-DD47-9562-4EAA6398EBB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" y="0"/>
            <a:ext cx="6096001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210C259B-44E3-4C4A-B15A-13D2AE007FE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27050" y="548218"/>
            <a:ext cx="2688167" cy="15912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067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584" indent="0">
              <a:lnSpc>
                <a:spcPct val="120000"/>
              </a:lnSpc>
              <a:spcBef>
                <a:spcPts val="0"/>
              </a:spcBef>
              <a:buNone/>
              <a:tabLst/>
              <a:defRPr sz="933" b="0" i="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19170" indent="0">
              <a:buNone/>
              <a:defRPr sz="14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7248F32-B6ED-CD41-9A31-2AACF9661E8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3429000"/>
            <a:ext cx="6096001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AAA3165-01EF-D54A-A563-F5497EE9AC4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D5377B-3090-42BC-9DF5-997AF18E39E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05D7CC3-7B9E-4CE1-9A45-2D660CDCF7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FE7E9B-95E3-492A-BD14-F8FD524AC48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47CA823-CA12-4626-81FF-FC713BF0E9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31931" y="5974428"/>
            <a:ext cx="11130904" cy="33535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95607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C1ED7D0D-599C-C54F-A3A2-9CAE2FA9548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155095" y="3429000"/>
            <a:ext cx="4036907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E378278C-564B-DF4B-86D1-DCB841DB05D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-1" y="3429000"/>
            <a:ext cx="4088335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C59760E1-2DE1-DD47-9562-4EAA6398EBB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-1" y="0"/>
            <a:ext cx="4088335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FAEA768B-CDF8-9347-84F1-234A9B2E89D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77547" y="3429000"/>
            <a:ext cx="4088335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15B3AF6A-5D28-304E-8AF0-49665987185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77547" y="0"/>
            <a:ext cx="4088335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D23BCA-52D1-4DD4-966B-CF1D4DC87A7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47D2CCC9-8F9A-4C43-BE3E-028BC18201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8C349D-516E-4884-A07E-D05A5412C854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4D27948-FF0C-4CB1-BBF6-7A6C7C90065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31931" y="5974428"/>
            <a:ext cx="11130904" cy="33535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9822E06F-9281-D94E-ACE4-57948FF68A2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155095" y="0"/>
            <a:ext cx="4036907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</p:spTree>
    <p:extLst>
      <p:ext uri="{BB962C8B-B14F-4D97-AF65-F5344CB8AC3E}">
        <p14:creationId xmlns:p14="http://schemas.microsoft.com/office/powerpoint/2010/main" val="458212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7">
    <p:bg>
      <p:bgPr>
        <a:gradFill>
          <a:gsLst>
            <a:gs pos="86500">
              <a:srgbClr val="0047D1"/>
            </a:gs>
            <a:gs pos="73000">
              <a:srgbClr val="002CB4"/>
            </a:gs>
            <a:gs pos="56000">
              <a:srgbClr val="00169D"/>
            </a:gs>
            <a:gs pos="0">
              <a:srgbClr val="000086"/>
            </a:gs>
            <a:gs pos="100000">
              <a:srgbClr val="0071FD"/>
            </a:gs>
          </a:gsLst>
          <a:lin ang="19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B04BAEB-99EA-3547-B747-718F7DD1B99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7051" y="2715923"/>
            <a:ext cx="8449733" cy="1432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3733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</a:t>
            </a:r>
            <a:br>
              <a:rPr lang="en-GB"/>
            </a:br>
            <a:r>
              <a:rPr lang="en-GB"/>
              <a:t>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68DE3E-40B8-4C36-B1BA-D77C763DCA47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FC50FA-5807-4117-AD81-D74BDC952A94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67E52515-4C27-40E9-AC9F-C980A7A97C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520" y="0"/>
            <a:ext cx="3417928" cy="1355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64218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text, person, person&#10;&#10;Description automatically generated">
            <a:extLst>
              <a:ext uri="{FF2B5EF4-FFF2-40B4-BE49-F238E27FC236}">
                <a16:creationId xmlns:a16="http://schemas.microsoft.com/office/drawing/2014/main" id="{C65F119F-67F7-8540-9466-0D2F09BB53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213" y="0"/>
            <a:ext cx="12159575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C7C9B0-3A2D-6943-86B0-EC0A7965705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59147" y="5649420"/>
            <a:ext cx="162437" cy="143629"/>
          </a:xfrm>
          <a:prstGeom prst="rect">
            <a:avLst/>
          </a:prstGeom>
        </p:spPr>
        <p:txBody>
          <a:bodyPr/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4032D20-A8C4-7941-9824-C3DBBBBFFC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271" y="548219"/>
            <a:ext cx="2448000" cy="53747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9192C62-8ACA-2940-84AC-3964442FA1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4963" y="2709335"/>
            <a:ext cx="5561037" cy="1439333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4B53E78-3389-7649-AAA3-5253434574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5271" y="4148667"/>
            <a:ext cx="5573685" cy="7196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67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1C800B-D71C-0548-8E50-4C18174716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7051" y="5902030"/>
            <a:ext cx="2210093" cy="390673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vert="horz" wrap="none" lIns="216000" tIns="36000" rIns="216000" bIns="36000" rtlCol="0" anchor="ctr" anchorCtr="1">
            <a:spAutoFit/>
          </a:bodyPr>
          <a:lstStyle>
            <a:lvl1pPr>
              <a:defRPr lang="en-GB" sz="1333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Security Classification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582ABE8-F1AD-F347-A8C1-15AEE57B21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53463" y="802888"/>
            <a:ext cx="889196" cy="135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8504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87122E6-0AC6-4210-98C1-36A53F8C0FF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271" y="548219"/>
            <a:ext cx="2448000" cy="5374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63" y="2709335"/>
            <a:ext cx="5561037" cy="1439333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5271" y="4148667"/>
            <a:ext cx="5573685" cy="7196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67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3234D72-E2B8-4553-ACE8-EB61E8CA8D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7051" y="5902030"/>
            <a:ext cx="2210093" cy="390673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vert="horz" wrap="none" lIns="216000" tIns="36000" rIns="216000" bIns="36000" rtlCol="0" anchor="ctr" anchorCtr="1">
            <a:spAutoFit/>
          </a:bodyPr>
          <a:lstStyle>
            <a:lvl1pPr>
              <a:defRPr lang="en-GB" sz="1333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Security Classific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5671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F989D9-9774-1C19-269E-D903313BE5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966FDAB-3EB8-41A0-423E-A470003FA9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26C0A-4BBB-4F12-BA76-351D31733057}" type="datetimeFigureOut">
              <a:rPr lang="en-US" smtClean="0"/>
              <a:t>5/3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3C6DBD-1AD1-6BE5-DA89-36255709A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05EF8E-8C9C-E556-413D-64D5092673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B97D2-C52B-45F9-9BC7-D39EAE3F0F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80934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ustom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7C1D2EB-1C0D-43FC-91D9-A95C6CB0161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" y="0"/>
            <a:ext cx="12192001" cy="6858000"/>
          </a:xfrm>
          <a:solidFill>
            <a:schemeClr val="bg1">
              <a:lumMod val="85000"/>
            </a:schemeClr>
          </a:solidFill>
        </p:spPr>
        <p:txBody>
          <a:bodyPr rIns="468000" anchor="ctr" anchorCtr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6757" y="2709335"/>
            <a:ext cx="5569243" cy="1439333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>
                <a:gradFill>
                  <a:gsLst>
                    <a:gs pos="0">
                      <a:schemeClr val="bg2"/>
                    </a:gs>
                    <a:gs pos="30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32C071A-6A2D-4184-A484-D1696B508C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5271" y="4148667"/>
            <a:ext cx="5573685" cy="7196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67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F240C88-79AB-4ECC-A804-75AB01F82E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7051" y="5902030"/>
            <a:ext cx="2210093" cy="390673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vert="horz" wrap="none" lIns="216000" tIns="36000" rIns="216000" bIns="36000" rtlCol="0" anchor="ctr" anchorCtr="1">
            <a:spAutoFit/>
          </a:bodyPr>
          <a:lstStyle>
            <a:lvl1pPr>
              <a:defRPr lang="en-GB" sz="1333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Security Classification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FA7539-070D-4190-BFCD-7B02BB5508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271" y="548219"/>
            <a:ext cx="2448000" cy="537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91572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C8EF43D-3095-874F-80FE-644D4133E8B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7051" y="2709334"/>
            <a:ext cx="8449733" cy="143933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733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</a:t>
            </a:r>
            <a:br>
              <a:rPr lang="en-GB"/>
            </a:br>
            <a:r>
              <a:rPr lang="en-GB"/>
              <a:t>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C343D5-0939-42DF-BECD-BCDEB5CCA6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4A0FDDF8-BD4C-4A81-8DA4-3CC36491756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527052" y="6510032"/>
            <a:ext cx="10591857" cy="143629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Anglo American  /  © 2021 </a:t>
            </a:r>
          </a:p>
        </p:txBody>
      </p:sp>
    </p:spTree>
    <p:extLst>
      <p:ext uri="{BB962C8B-B14F-4D97-AF65-F5344CB8AC3E}">
        <p14:creationId xmlns:p14="http://schemas.microsoft.com/office/powerpoint/2010/main" val="280607921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7BFC63D6-6981-48D5-9254-FA87F1A4FD8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22660" y="0"/>
            <a:ext cx="6069341" cy="6858000"/>
          </a:xfrm>
          <a:custGeom>
            <a:avLst/>
            <a:gdLst>
              <a:gd name="connsiteX0" fmla="*/ 0 w 4552006"/>
              <a:gd name="connsiteY0" fmla="*/ 0 h 5143500"/>
              <a:gd name="connsiteX1" fmla="*/ 4552006 w 4552006"/>
              <a:gd name="connsiteY1" fmla="*/ 0 h 5143500"/>
              <a:gd name="connsiteX2" fmla="*/ 4552006 w 4552006"/>
              <a:gd name="connsiteY2" fmla="*/ 5143500 h 5143500"/>
              <a:gd name="connsiteX3" fmla="*/ 0 w 4552006"/>
              <a:gd name="connsiteY3" fmla="*/ 5143500 h 5143500"/>
              <a:gd name="connsiteX4" fmla="*/ 1307 w 4552006"/>
              <a:gd name="connsiteY4" fmla="*/ 5140187 h 5143500"/>
              <a:gd name="connsiteX5" fmla="*/ 454584 w 4552006"/>
              <a:gd name="connsiteY5" fmla="*/ 2571750 h 5143500"/>
              <a:gd name="connsiteX6" fmla="*/ 1307 w 4552006"/>
              <a:gd name="connsiteY6" fmla="*/ 3314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52006" h="5143500">
                <a:moveTo>
                  <a:pt x="0" y="0"/>
                </a:moveTo>
                <a:lnTo>
                  <a:pt x="4552006" y="0"/>
                </a:lnTo>
                <a:lnTo>
                  <a:pt x="4552006" y="5143500"/>
                </a:lnTo>
                <a:lnTo>
                  <a:pt x="0" y="5143500"/>
                </a:lnTo>
                <a:lnTo>
                  <a:pt x="1307" y="5140187"/>
                </a:lnTo>
                <a:cubicBezTo>
                  <a:pt x="294548" y="4339307"/>
                  <a:pt x="454584" y="3474218"/>
                  <a:pt x="454584" y="2571750"/>
                </a:cubicBezTo>
                <a:cubicBezTo>
                  <a:pt x="454584" y="1669282"/>
                  <a:pt x="294548" y="804193"/>
                  <a:pt x="1307" y="331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 algn="ctr">
              <a:defRPr lang="en-US" sz="12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C8EF43D-3095-874F-80FE-644D4133E8B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7051" y="2709334"/>
            <a:ext cx="5568949" cy="143933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3733" b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</a:t>
            </a:r>
            <a:br>
              <a:rPr lang="en-GB"/>
            </a:br>
            <a:r>
              <a:rPr lang="en-GB"/>
              <a:t>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AEAC30-3E20-47F8-84CD-ED91A814E8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01A835-B48D-464C-8BD0-1D232EEA686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</p:spTree>
    <p:extLst>
      <p:ext uri="{BB962C8B-B14F-4D97-AF65-F5344CB8AC3E}">
        <p14:creationId xmlns:p14="http://schemas.microsoft.com/office/powerpoint/2010/main" val="16386357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Blue">
    <p:bg>
      <p:bgPr>
        <a:gradFill>
          <a:gsLst>
            <a:gs pos="86500">
              <a:srgbClr val="0047D1"/>
            </a:gs>
            <a:gs pos="73000">
              <a:srgbClr val="002CB4"/>
            </a:gs>
            <a:gs pos="56000">
              <a:srgbClr val="00169D"/>
            </a:gs>
            <a:gs pos="0">
              <a:srgbClr val="000086"/>
            </a:gs>
            <a:gs pos="100000">
              <a:srgbClr val="0071FD"/>
            </a:gs>
          </a:gsLst>
          <a:lin ang="19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052" y="1221317"/>
            <a:ext cx="8449733" cy="2207683"/>
          </a:xfrm>
          <a:prstGeom prst="rect">
            <a:avLst/>
          </a:prstGeom>
        </p:spPr>
        <p:txBody>
          <a:bodyPr>
            <a:noAutofit/>
          </a:bodyPr>
          <a:lstStyle>
            <a:lvl1pPr marL="158396" indent="-158396">
              <a:buNone/>
              <a:defRPr sz="32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 sz="3200">
                <a:solidFill>
                  <a:schemeClr val="bg1"/>
                </a:solidFill>
              </a:defRPr>
            </a:lvl2pPr>
            <a:lvl3pPr marL="1219170" indent="0">
              <a:buNone/>
              <a:defRPr sz="3200">
                <a:solidFill>
                  <a:schemeClr val="bg1"/>
                </a:solidFill>
              </a:defRPr>
            </a:lvl3pPr>
            <a:lvl4pPr marL="1828754" indent="0">
              <a:buNone/>
              <a:defRPr sz="3200">
                <a:solidFill>
                  <a:schemeClr val="bg1"/>
                </a:solidFill>
              </a:defRPr>
            </a:lvl4pPr>
            <a:lvl5pPr marL="2438339" indent="0">
              <a:buNone/>
              <a:defRPr sz="3200">
                <a:solidFill>
                  <a:schemeClr val="bg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A0504AF-EACC-994F-8D40-535CEE9663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7051" y="3429000"/>
            <a:ext cx="8449735" cy="7196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  <a:lvl2pPr marL="609585" indent="0">
              <a:buNone/>
              <a:defRPr>
                <a:solidFill>
                  <a:schemeClr val="bg1"/>
                </a:solidFill>
              </a:defRPr>
            </a:lvl2pPr>
            <a:lvl3pPr marL="1219170" indent="0">
              <a:buNone/>
              <a:defRPr>
                <a:solidFill>
                  <a:schemeClr val="bg1"/>
                </a:solidFill>
              </a:defRPr>
            </a:lvl3pPr>
            <a:lvl4pPr marL="1828754" indent="0">
              <a:buNone/>
              <a:defRPr>
                <a:solidFill>
                  <a:schemeClr val="bg1"/>
                </a:solidFill>
              </a:defRPr>
            </a:lvl4pPr>
            <a:lvl5pPr marL="2438339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51AEA7-522A-440C-8145-8F221BBC1C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4DE8FF10-90AA-4FDC-9D19-C933C72A38D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27052" y="6510032"/>
            <a:ext cx="10591857" cy="143629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Anglo American  /  © 2021 </a:t>
            </a:r>
          </a:p>
        </p:txBody>
      </p:sp>
    </p:spTree>
    <p:extLst>
      <p:ext uri="{BB962C8B-B14F-4D97-AF65-F5344CB8AC3E}">
        <p14:creationId xmlns:p14="http://schemas.microsoft.com/office/powerpoint/2010/main" val="173147797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051" y="1221317"/>
            <a:ext cx="11135783" cy="2207683"/>
          </a:xfrm>
          <a:prstGeom prst="rect">
            <a:avLst/>
          </a:prstGeom>
        </p:spPr>
        <p:txBody>
          <a:bodyPr>
            <a:noAutofit/>
          </a:bodyPr>
          <a:lstStyle>
            <a:lvl1pPr marL="158396" indent="-158396">
              <a:buNone/>
              <a:defRPr sz="3200" b="0">
                <a:gradFill>
                  <a:gsLst>
                    <a:gs pos="1000">
                      <a:schemeClr val="bg2"/>
                    </a:gs>
                    <a:gs pos="30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  <a:latin typeface="Arial" panose="020B0604020202020204" pitchFamily="34" charset="0"/>
              </a:defRPr>
            </a:lvl1pPr>
            <a:lvl2pPr marL="609585" indent="0">
              <a:buNone/>
              <a:defRPr sz="3200">
                <a:solidFill>
                  <a:schemeClr val="bg1"/>
                </a:solidFill>
              </a:defRPr>
            </a:lvl2pPr>
            <a:lvl3pPr marL="1219170" indent="0">
              <a:buNone/>
              <a:defRPr sz="3200">
                <a:solidFill>
                  <a:schemeClr val="bg1"/>
                </a:solidFill>
              </a:defRPr>
            </a:lvl3pPr>
            <a:lvl4pPr marL="1828754" indent="0">
              <a:buNone/>
              <a:defRPr sz="3200">
                <a:solidFill>
                  <a:schemeClr val="bg1"/>
                </a:solidFill>
              </a:defRPr>
            </a:lvl4pPr>
            <a:lvl5pPr marL="2438339" indent="0">
              <a:buNone/>
              <a:defRPr sz="3200">
                <a:solidFill>
                  <a:schemeClr val="bg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A0504AF-EACC-994F-8D40-535CEE9663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7050" y="3440084"/>
            <a:ext cx="11135785" cy="72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  <a:lvl2pPr marL="609585" indent="0">
              <a:buNone/>
              <a:defRPr>
                <a:solidFill>
                  <a:schemeClr val="bg1"/>
                </a:solidFill>
              </a:defRPr>
            </a:lvl2pPr>
            <a:lvl3pPr marL="1219170" indent="0">
              <a:buNone/>
              <a:defRPr>
                <a:solidFill>
                  <a:schemeClr val="bg1"/>
                </a:solidFill>
              </a:defRPr>
            </a:lvl3pPr>
            <a:lvl4pPr marL="1828754" indent="0">
              <a:buNone/>
              <a:defRPr>
                <a:solidFill>
                  <a:schemeClr val="bg1"/>
                </a:solidFill>
              </a:defRPr>
            </a:lvl4pPr>
            <a:lvl5pPr marL="2438339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A710E4-50FF-4DCB-B028-617D2C53FC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DA603B-742F-44C7-AF33-C7C3230DB05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</p:spTree>
    <p:extLst>
      <p:ext uri="{BB962C8B-B14F-4D97-AF65-F5344CB8AC3E}">
        <p14:creationId xmlns:p14="http://schemas.microsoft.com/office/powerpoint/2010/main" val="180522702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full page custom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8EEE5B2-A390-4F38-8510-0F55179C54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anchor="ctr" anchorCtr="1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27050" y="1221317"/>
            <a:ext cx="8304735" cy="14880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58396" indent="-158396">
              <a:buNone/>
              <a:defRPr sz="3200" b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 sz="3200">
                <a:solidFill>
                  <a:schemeClr val="bg1"/>
                </a:solidFill>
              </a:defRPr>
            </a:lvl2pPr>
            <a:lvl3pPr marL="1219170" indent="0">
              <a:buNone/>
              <a:defRPr sz="3200">
                <a:solidFill>
                  <a:schemeClr val="bg1"/>
                </a:solidFill>
              </a:defRPr>
            </a:lvl3pPr>
            <a:lvl4pPr marL="1828754" indent="0">
              <a:buNone/>
              <a:defRPr sz="3200">
                <a:solidFill>
                  <a:schemeClr val="bg1"/>
                </a:solidFill>
              </a:defRPr>
            </a:lvl4pPr>
            <a:lvl5pPr marL="2438339" indent="0">
              <a:buNone/>
              <a:defRPr sz="3200">
                <a:solidFill>
                  <a:schemeClr val="bg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Quote tex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A0504AF-EACC-994F-8D40-535CEE9663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7050" y="3045884"/>
            <a:ext cx="8448031" cy="6357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  <a:lvl2pPr marL="609585" indent="0">
              <a:buNone/>
              <a:defRPr>
                <a:solidFill>
                  <a:schemeClr val="bg1"/>
                </a:solidFill>
              </a:defRPr>
            </a:lvl2pPr>
            <a:lvl3pPr marL="1219170" indent="0">
              <a:buNone/>
              <a:defRPr>
                <a:solidFill>
                  <a:schemeClr val="bg1"/>
                </a:solidFill>
              </a:defRPr>
            </a:lvl3pPr>
            <a:lvl4pPr marL="1828754" indent="0">
              <a:buNone/>
              <a:defRPr>
                <a:solidFill>
                  <a:schemeClr val="bg1"/>
                </a:solidFill>
              </a:defRPr>
            </a:lvl4pPr>
            <a:lvl5pPr marL="2438339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Quote sourc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742646-A33D-4135-B171-4E45DF084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55090F-808B-44B9-9008-979F5A3DF2C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</p:spTree>
    <p:extLst>
      <p:ext uri="{BB962C8B-B14F-4D97-AF65-F5344CB8AC3E}">
        <p14:creationId xmlns:p14="http://schemas.microsoft.com/office/powerpoint/2010/main" val="131236462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ing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548217"/>
            <a:ext cx="11135784" cy="675219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589119-7BC0-402A-A78A-0B8CA534C3F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62A6FDD-C04C-4A23-9277-C0FAC55CAF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A8FE34A-D2E7-4E9C-B6B1-70CBFF85DDE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7050" y="2709333"/>
            <a:ext cx="8496301" cy="3316907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21D94378-15C5-49BF-BDB5-458633B6CA7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DBF7F42-A33F-4F7D-8465-148936F2B5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1931" y="5974428"/>
            <a:ext cx="11143504" cy="33535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79214B7-EFC5-4FFC-B5F8-F7CF254B676F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27052" y="1223435"/>
            <a:ext cx="11135784" cy="609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84009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2" y="548217"/>
            <a:ext cx="11132096" cy="1284816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98596B-A483-41A5-9785-F81D82B7731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E32A8DC5-1AA9-4332-9083-1C228977A0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F86F187F-AD63-4F1D-AB33-D65AB6A677D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7050" y="2709333"/>
            <a:ext cx="8496300" cy="3600451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/>
            </a:lvl1pPr>
            <a:lvl2pPr marL="237061" indent="0">
              <a:defRPr/>
            </a:lvl2pPr>
            <a:lvl3pPr marL="359824" indent="-122764">
              <a:defRPr/>
            </a:lvl3pPr>
            <a:lvl4pPr marL="480472" indent="-120648">
              <a:defRPr/>
            </a:lvl4pPr>
            <a:lvl5pPr marL="596885" indent="-116414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5C679F-7B1F-4DFD-82D5-C372ED6699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A2B885C-167D-4FB4-856D-6263AD6409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1931" y="5974428"/>
            <a:ext cx="11135784" cy="33535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DE44055-048D-4AAB-8470-C6A886048E7A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527051" y="1833035"/>
            <a:ext cx="11135783" cy="6760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761436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 &amp; bullets - blue">
    <p:bg>
      <p:bgPr>
        <a:gradFill>
          <a:gsLst>
            <a:gs pos="86500">
              <a:srgbClr val="0047D1"/>
            </a:gs>
            <a:gs pos="73000">
              <a:srgbClr val="002CB4"/>
            </a:gs>
            <a:gs pos="56000">
              <a:srgbClr val="00169D"/>
            </a:gs>
            <a:gs pos="0">
              <a:srgbClr val="000086"/>
            </a:gs>
            <a:gs pos="100000">
              <a:srgbClr val="0071FD"/>
            </a:gs>
          </a:gsLst>
          <a:lin ang="19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1" y="548219"/>
            <a:ext cx="11135783" cy="1284816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56EE284-F52B-436B-B6B5-10FE2F5D1F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052" y="1833035"/>
            <a:ext cx="11135781" cy="6368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220F0D-8470-4F85-8D73-CD0225B9D1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51D1252F-AA75-450C-8B1A-90B0849762A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DEAC3D-AF3E-4004-8C78-5509BE1CE73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7050" y="2709334"/>
            <a:ext cx="7466068" cy="326509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>
                <a:solidFill>
                  <a:schemeClr val="bg1"/>
                </a:solidFill>
              </a:defRPr>
            </a:lvl1pPr>
            <a:lvl2pPr marL="237061" indent="0">
              <a:defRPr sz="1200">
                <a:solidFill>
                  <a:schemeClr val="bg1"/>
                </a:solidFill>
              </a:defRPr>
            </a:lvl2pPr>
            <a:lvl3pPr marL="359824" indent="-122764">
              <a:defRPr sz="1200">
                <a:solidFill>
                  <a:schemeClr val="bg1"/>
                </a:solidFill>
              </a:defRPr>
            </a:lvl3pPr>
            <a:lvl4pPr marL="480472" indent="-120648">
              <a:defRPr sz="1200">
                <a:solidFill>
                  <a:schemeClr val="bg1"/>
                </a:solidFill>
              </a:defRPr>
            </a:lvl4pPr>
            <a:lvl5pPr marL="596885" indent="-116414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FF0529-8D44-40F5-BD8A-C776CAED8B7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92ED2956-515C-4067-AB2F-5E5D7BDE477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1931" y="5974428"/>
            <a:ext cx="11143501" cy="335355"/>
          </a:xfrm>
        </p:spPr>
        <p:txBody>
          <a:bodyPr anchor="b" anchorCtr="0"/>
          <a:lstStyle>
            <a:lvl1pPr>
              <a:defRPr sz="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090991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ing &amp;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548218"/>
            <a:ext cx="11135783" cy="675217"/>
          </a:xfrm>
        </p:spPr>
        <p:txBody>
          <a:bodyPr lIns="0" tIns="0" rIns="0" bIns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6D1200-C59C-41B3-8A0B-E806F74557C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04F520FC-C37D-4AC5-8E9D-6E08BB9934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EDE36B54-211C-42C2-95B8-594A78DCFB2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7051" y="2704241"/>
            <a:ext cx="4903552" cy="3265096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/>
            </a:lvl1pPr>
            <a:lvl2pPr marL="237061" indent="0">
              <a:defRPr/>
            </a:lvl2pPr>
            <a:lvl3pPr marL="359824" indent="-122764">
              <a:defRPr/>
            </a:lvl3pPr>
            <a:lvl4pPr marL="480472" indent="-120648">
              <a:defRPr/>
            </a:lvl4pPr>
            <a:lvl5pPr marL="596885" indent="-116414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7C87F995-4A1D-415D-A81C-9BF6CCDA7FA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5356" y="2709333"/>
            <a:ext cx="4903552" cy="3265096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/>
            </a:lvl1pPr>
            <a:lvl2pPr marL="237061" indent="0">
              <a:defRPr/>
            </a:lvl2pPr>
            <a:lvl3pPr marL="359824" indent="-122764">
              <a:defRPr/>
            </a:lvl3pPr>
            <a:lvl4pPr marL="480472" indent="-120648">
              <a:defRPr/>
            </a:lvl4pPr>
            <a:lvl5pPr marL="596885" indent="-116414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F57649-C692-41BD-83D1-4A6997A17A4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ECD4C305-E672-4BE6-9CC1-D53962C65C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1930" y="5974428"/>
            <a:ext cx="11135783" cy="33535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589C551-58EC-4AE1-B383-9C02DCF59A5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27051" y="1223435"/>
            <a:ext cx="11135783" cy="609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48019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8174343-72F5-B840-86EF-87E1069BBF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26C0A-4BBB-4F12-BA76-351D31733057}" type="datetimeFigureOut">
              <a:rPr lang="en-US" smtClean="0"/>
              <a:t>5/31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910CA5-4938-9DFE-2875-7CEBA69FFA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75565A-36DE-9CE1-6EB8-55A3BDA02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B97D2-C52B-45F9-9BC7-D39EAE3F0F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71627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ing, intro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548218"/>
            <a:ext cx="11135783" cy="673100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7051" y="2709333"/>
            <a:ext cx="3181885" cy="36004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8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</a:t>
            </a:r>
            <a:br>
              <a:rPr lang="en-GB"/>
            </a:br>
            <a:r>
              <a:rPr lang="en-GB"/>
              <a:t>Master text styles</a:t>
            </a:r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39EDECD-E2EE-4F43-A6BB-FF4A27B8048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27051" y="1223435"/>
            <a:ext cx="11135783" cy="609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0293BD-BA02-4A3A-8AB4-EDE458A4AD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77668EF5-ADE1-435E-AA1C-2DE4A80DF1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590789FC-B105-4985-BF14-5E107301DC7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72740" y="2709333"/>
            <a:ext cx="7690093" cy="3600451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5FD0882-1340-4785-8D8D-9661DB0F46B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6CE3567-9745-4C96-BB2D-AA5625FD09C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1930" y="5974428"/>
            <a:ext cx="11135783" cy="35440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291537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, intros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1" y="548216"/>
            <a:ext cx="11135783" cy="1284819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215218" y="2709333"/>
            <a:ext cx="2661141" cy="36004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Bef>
                <a:spcPts val="800"/>
              </a:spcBef>
              <a:buNone/>
              <a:defRPr sz="18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</a:t>
            </a:r>
            <a:br>
              <a:rPr lang="en-GB"/>
            </a:br>
            <a:r>
              <a:rPr lang="en-GB"/>
              <a:t>Master text styles</a:t>
            </a:r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C5A62CD-BFE2-4D4F-8935-C2A70FF7029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7049" y="2709334"/>
            <a:ext cx="2532504" cy="36004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8800">
                <a:gradFill>
                  <a:gsLst>
                    <a:gs pos="0">
                      <a:schemeClr val="bg2"/>
                    </a:gs>
                    <a:gs pos="30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/>
              <a:t>60%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F260AD-0663-426B-A57D-F492B1C7007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32DDB218-0800-4E14-B318-A5DEBCD3C6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0993AD9-4B39-4387-830F-2BEC07A6CA1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1" y="2709333"/>
            <a:ext cx="5563147" cy="3600451"/>
          </a:xfrm>
        </p:spPr>
        <p:txBody>
          <a:bodyPr>
            <a:noAutofit/>
          </a:bodyPr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BB650A0-1DD8-44BF-91B4-3797F08D116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8C82892-DC49-4DAD-A4ED-4CE724DE0F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1931" y="5974428"/>
            <a:ext cx="11135781" cy="33535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4DC680F-D469-45F1-8457-5F3B9EAE1F3A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527052" y="1833035"/>
            <a:ext cx="11135781" cy="6760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016090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2" y="548218"/>
            <a:ext cx="11132096" cy="1284817"/>
          </a:xfrm>
        </p:spPr>
        <p:txBody>
          <a:bodyPr lIns="0" tIns="0" rIns="0" bIns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9F51459-5168-F241-892E-2EA70D1465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052" y="1833035"/>
            <a:ext cx="11132096" cy="6474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24C3BE-EF9E-4A1D-897A-C48737BE7B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40790B6-818E-4CE5-B265-0FB09161C8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C2D40-371C-466F-98CA-E70E963E3F7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476383D0-58F5-43CB-B9E0-7C0903CAAC7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1931" y="5974428"/>
            <a:ext cx="11130904" cy="33535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544357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ing only#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2" y="548218"/>
            <a:ext cx="11123192" cy="673100"/>
          </a:xfrm>
        </p:spPr>
        <p:txBody>
          <a:bodyPr lIns="0" tIns="0" rIns="0" bIns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9F51459-5168-F241-892E-2EA70D1465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052" y="1303033"/>
            <a:ext cx="11123192" cy="6379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24C3BE-EF9E-4A1D-897A-C48737BE7B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40790B6-818E-4CE5-B265-0FB09161C8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C2D40-371C-466F-98CA-E70E963E3F7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C195262-4BE5-4258-9E0A-41259E6E6D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1931" y="5974428"/>
            <a:ext cx="11130904" cy="33535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75697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ing, text &amp; half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AAA3165-01EF-D54A-A563-F5497EE9AC4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0" y="548217"/>
            <a:ext cx="5439652" cy="1284816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AD462C4-98AB-4597-8316-DD54AEC3F5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052" y="1833034"/>
            <a:ext cx="5439651" cy="56356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>
                <a:solidFill>
                  <a:schemeClr val="tx2"/>
                </a:solidFill>
              </a:defRPr>
            </a:lvl2pPr>
            <a:lvl3pPr marL="1219170" indent="0">
              <a:buNone/>
              <a:defRPr>
                <a:solidFill>
                  <a:schemeClr val="tx2"/>
                </a:solidFill>
              </a:defRPr>
            </a:lvl3pPr>
            <a:lvl4pPr marL="1828754" indent="0">
              <a:buNone/>
              <a:defRPr>
                <a:solidFill>
                  <a:schemeClr val="tx2"/>
                </a:solidFill>
              </a:defRPr>
            </a:lvl4pPr>
            <a:lvl5pPr marL="2438339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67D2EE-9A2B-4A19-B1B5-70D12FE64AC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55D812-6FA0-4A44-BA16-84BEDF08086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0968069-9D03-4E81-BA77-A22D82AB9C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E36A2BF-2CB7-4F19-AD61-A2D37DE2CF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1931" y="5974428"/>
            <a:ext cx="11130904" cy="33535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7EA9A85-6125-4DE1-AA2C-ACB4F37D808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27051" y="2709334"/>
            <a:ext cx="5471583" cy="3149999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259813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E378278C-564B-DF4B-86D1-DCB841DB05D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" y="3429000"/>
            <a:ext cx="6096001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C59760E1-2DE1-DD47-9562-4EAA6398EBB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" y="0"/>
            <a:ext cx="6096001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210C259B-44E3-4C4A-B15A-13D2AE007FE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27050" y="548218"/>
            <a:ext cx="2688167" cy="15912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067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584" indent="0">
              <a:lnSpc>
                <a:spcPct val="120000"/>
              </a:lnSpc>
              <a:spcBef>
                <a:spcPts val="0"/>
              </a:spcBef>
              <a:buNone/>
              <a:tabLst/>
              <a:defRPr sz="933" b="0" i="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19170" indent="0">
              <a:buNone/>
              <a:defRPr sz="14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7248F32-B6ED-CD41-9A31-2AACF9661E8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3429000"/>
            <a:ext cx="6096001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AAA3165-01EF-D54A-A563-F5497EE9AC4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1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D5377B-3090-42BC-9DF5-997AF18E39E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05D7CC3-7B9E-4CE1-9A45-2D660CDCF7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FE7E9B-95E3-492A-BD14-F8FD524AC48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47CA823-CA12-4626-81FF-FC713BF0E9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31931" y="5974428"/>
            <a:ext cx="11130904" cy="33535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024567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C1ED7D0D-599C-C54F-A3A2-9CAE2FA9548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155095" y="3429000"/>
            <a:ext cx="4036907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E378278C-564B-DF4B-86D1-DCB841DB05D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-1" y="3429000"/>
            <a:ext cx="4088335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C59760E1-2DE1-DD47-9562-4EAA6398EBB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-1" y="0"/>
            <a:ext cx="4088335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FAEA768B-CDF8-9347-84F1-234A9B2E89D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77547" y="3429000"/>
            <a:ext cx="4088335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15B3AF6A-5D28-304E-8AF0-49665987185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77547" y="0"/>
            <a:ext cx="4088335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D23BCA-52D1-4DD4-966B-CF1D4DC87A7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>
            <a:noAutofit/>
          </a:bodyPr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47D2CCC9-8F9A-4C43-BE3E-028BC18201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1929" y="229436"/>
            <a:ext cx="7398608" cy="237067"/>
          </a:xfrm>
        </p:spPr>
        <p:txBody>
          <a:bodyPr anchor="ctr" anchorCtr="0">
            <a:noAutofit/>
          </a:bodyPr>
          <a:lstStyle>
            <a:lvl1pPr>
              <a:defRPr sz="1067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8C349D-516E-4884-A07E-D05A5412C854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4D27948-FF0C-4CB1-BBF6-7A6C7C90065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31931" y="5974428"/>
            <a:ext cx="11130904" cy="335355"/>
          </a:xfrm>
        </p:spPr>
        <p:txBody>
          <a:bodyPr anchor="b" anchorCtr="0"/>
          <a:lstStyle>
            <a:lvl1pPr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 or note text: </a:t>
            </a:r>
            <a:endParaRPr lang="en-GB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9822E06F-9281-D94E-ACE4-57948FF68A2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155095" y="0"/>
            <a:ext cx="4036907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33" dirty="0">
                <a:solidFill>
                  <a:schemeClr val="tx1"/>
                </a:solidFill>
              </a:defRPr>
            </a:lvl1pPr>
          </a:lstStyle>
          <a:p>
            <a:r>
              <a:rPr lang="en-US"/>
              <a:t>Drag And Drop Or Copy And Paste</a:t>
            </a:r>
            <a:br>
              <a:rPr lang="en-US"/>
            </a:br>
            <a:r>
              <a:rPr lang="en-US"/>
              <a:t>Your Custom Image Here</a:t>
            </a:r>
          </a:p>
        </p:txBody>
      </p:sp>
    </p:spTree>
    <p:extLst>
      <p:ext uri="{BB962C8B-B14F-4D97-AF65-F5344CB8AC3E}">
        <p14:creationId xmlns:p14="http://schemas.microsoft.com/office/powerpoint/2010/main" val="251040845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7">
    <p:bg>
      <p:bgPr>
        <a:gradFill>
          <a:gsLst>
            <a:gs pos="86500">
              <a:srgbClr val="0047D1"/>
            </a:gs>
            <a:gs pos="73000">
              <a:srgbClr val="002CB4"/>
            </a:gs>
            <a:gs pos="56000">
              <a:srgbClr val="00169D"/>
            </a:gs>
            <a:gs pos="0">
              <a:srgbClr val="000086"/>
            </a:gs>
            <a:gs pos="100000">
              <a:srgbClr val="0071FD"/>
            </a:gs>
          </a:gsLst>
          <a:lin ang="19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B04BAEB-99EA-3547-B747-718F7DD1B99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7051" y="2715923"/>
            <a:ext cx="8449733" cy="1432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3733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</a:t>
            </a:r>
            <a:br>
              <a:rPr lang="en-GB"/>
            </a:br>
            <a:r>
              <a:rPr lang="en-GB"/>
              <a:t>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68DE3E-40B8-4C36-B1BA-D77C763DCA47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FC50FA-5807-4117-AD81-D74BDC952A94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67E52515-4C27-40E9-AC9F-C980A7A97C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520" y="0"/>
            <a:ext cx="3417928" cy="1355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94000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text, person, person&#10;&#10;Description automatically generated">
            <a:extLst>
              <a:ext uri="{FF2B5EF4-FFF2-40B4-BE49-F238E27FC236}">
                <a16:creationId xmlns:a16="http://schemas.microsoft.com/office/drawing/2014/main" id="{C65F119F-67F7-8540-9466-0D2F09BB53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213" y="0"/>
            <a:ext cx="12159575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C7C9B0-3A2D-6943-86B0-EC0A7965705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59147" y="5649420"/>
            <a:ext cx="162437" cy="143629"/>
          </a:xfrm>
          <a:prstGeom prst="rect">
            <a:avLst/>
          </a:prstGeom>
        </p:spPr>
        <p:txBody>
          <a:bodyPr/>
          <a:lstStyle/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4032D20-A8C4-7941-9824-C3DBBBBFFC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271" y="548219"/>
            <a:ext cx="2448000" cy="53747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9192C62-8ACA-2940-84AC-3964442FA1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4963" y="2709335"/>
            <a:ext cx="5561037" cy="1439333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55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4B53E78-3389-7649-AAA3-5253434574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5271" y="4148667"/>
            <a:ext cx="5573685" cy="7196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67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1C800B-D71C-0548-8E50-4C18174716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7051" y="5902030"/>
            <a:ext cx="2210093" cy="390673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vert="horz" wrap="none" lIns="216000" tIns="36000" rIns="216000" bIns="36000" rtlCol="0" anchor="ctr" anchorCtr="1">
            <a:spAutoFit/>
          </a:bodyPr>
          <a:lstStyle>
            <a:lvl1pPr>
              <a:defRPr lang="en-GB" sz="1333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Security Classification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582ABE8-F1AD-F347-A8C1-15AEE57B21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53463" y="802888"/>
            <a:ext cx="889196" cy="135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0740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3EA762-7FA9-0924-1B95-60B09547F3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097696-D5A3-7AC8-C884-E5CA97C200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B8CA08-E852-A08E-B3BD-389ED05633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3D9BF1-42AC-8180-A71B-799316180A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26C0A-4BBB-4F12-BA76-351D31733057}" type="datetimeFigureOut">
              <a:rPr lang="en-US" smtClean="0"/>
              <a:t>5/31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F213CFB-4488-7953-5474-18FDC3D23E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39D14C-9754-F8CB-3C35-C281F0B40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B97D2-C52B-45F9-9BC7-D39EAE3F0F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6220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6ADF51-4AF9-CB7A-9260-074472A8B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346A6E9-052B-C51B-7A8F-3DD944B4CA2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E52E37-AFC6-35C7-6D30-3C9B37C449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B723DEC-0057-D93C-DAE7-A245F8298D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26C0A-4BBB-4F12-BA76-351D31733057}" type="datetimeFigureOut">
              <a:rPr lang="en-US" smtClean="0"/>
              <a:t>5/31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6D031A-3613-99C3-D120-138C92137D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5740E1-84EB-E43D-E69B-9F99B023BE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B97D2-C52B-45F9-9BC7-D39EAE3F0F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9521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vmlDrawing" Target="../drawings/vmlDrawing2.v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oleObject" Target="../embeddings/oleObject2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41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image" Target="../media/image12.emf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oleObject" Target="../embeddings/oleObject23.bin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tags" Target="../tags/tag33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vmlDrawing" Target="../drawings/vmlDrawing2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61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image" Target="../media/image12.emf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oleObject" Target="../embeddings/oleObject24.bin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tags" Target="../tags/tag34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vmlDrawing" Target="../drawings/vmlDrawing2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CB17509-A96D-D5B2-F204-6C352410C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16825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5" imgW="336" imgH="336" progId="TCLayout.ActiveDocument.1">
                  <p:embed/>
                </p:oleObj>
              </mc:Choice>
              <mc:Fallback>
                <p:oleObj name="think-cell Slide" r:id="rId15" imgW="336" imgH="33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CB17509-A96D-D5B2-F204-6C352410C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4F2F1B7-259E-F07B-6B35-34BDDDA116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40F2F0-AECF-C62F-1261-22BD7B5938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3163A7-76CA-22C3-1F3C-6AE35DED8D6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226C0A-4BBB-4F12-BA76-351D31733057}" type="datetimeFigureOut">
              <a:rPr lang="en-US" smtClean="0"/>
              <a:t>5/3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47BF34-8422-BF3A-8DBC-E9D037D4EB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198344-AA7D-6A4A-A102-55BB609676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AB97D2-C52B-45F9-9BC7-D39EAE3F0FCE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493BFA-9071-582E-1213-5F08A4D3B34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76063" y="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774071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FB7B608-2C5C-4602-A1DD-96B8C00DA3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718367967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31" imgW="383" imgH="383" progId="TCLayout.ActiveDocument.1">
                  <p:embed/>
                </p:oleObj>
              </mc:Choice>
              <mc:Fallback>
                <p:oleObj name="think-cell Slide" r:id="rId31" imgW="383" imgH="38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FB7B608-2C5C-4602-A1DD-96B8C00DA3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3474" y="548218"/>
            <a:ext cx="11142063" cy="6609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31C75E7-DE3C-450C-AA84-2F872F5678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0775" y="1833035"/>
            <a:ext cx="11142061" cy="44767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31C3F7-F24C-A442-858C-7651D85E4B27}"/>
              </a:ext>
            </a:extLst>
          </p:cNvPr>
          <p:cNvSpPr txBox="1"/>
          <p:nvPr userDrawn="1"/>
        </p:nvSpPr>
        <p:spPr>
          <a:xfrm>
            <a:off x="520775" y="6434097"/>
            <a:ext cx="6128477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/>
              <a:t>Anglo American  /  © 2021</a:t>
            </a:r>
          </a:p>
          <a:p>
            <a:pPr algn="l"/>
            <a:endParaRPr lang="en-GB" sz="933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D3B8C2-7832-BA41-A594-5BB70C59FABE}"/>
              </a:ext>
            </a:extLst>
          </p:cNvPr>
          <p:cNvSpPr txBox="1"/>
          <p:nvPr userDrawn="1"/>
        </p:nvSpPr>
        <p:spPr>
          <a:xfrm>
            <a:off x="11370809" y="6434099"/>
            <a:ext cx="292027" cy="1642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C586D5E-2722-0D44-AA02-B15E62DD2934}" type="slidenum">
              <a:rPr lang="en-US" sz="1067" smtClean="0"/>
              <a:pPr algn="r"/>
              <a:t>‹#›</a:t>
            </a:fld>
            <a:endParaRPr lang="en-US" sz="1067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B778BF-1BCD-32E8-C74E-B43DD0310D5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76063" y="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3592210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p:hf sldNum="0" hdr="0" ftr="0" dt="0"/>
  <p:txStyles>
    <p:titleStyle>
      <a:lvl1pPr algn="l" defTabSz="609570" rtl="0" eaLnBrk="1" latinLnBrk="0" hangingPunct="1">
        <a:spcBef>
          <a:spcPct val="0"/>
        </a:spcBef>
        <a:buNone/>
        <a:defRPr sz="3733" b="0" i="0" kern="1200">
          <a:gradFill>
            <a:gsLst>
              <a:gs pos="0">
                <a:schemeClr val="bg2"/>
              </a:gs>
              <a:gs pos="25000">
                <a:schemeClr val="tx1"/>
              </a:gs>
              <a:gs pos="60000">
                <a:schemeClr val="tx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0" indent="0" algn="l" defTabSz="609570" rtl="0" eaLnBrk="1" latinLnBrk="0" hangingPunct="1">
        <a:spcBef>
          <a:spcPts val="1600"/>
        </a:spcBef>
        <a:buFont typeface="Arial" panose="020B0604020202020204" pitchFamily="34" charset="0"/>
        <a:buNone/>
        <a:defRPr sz="1467" b="1" i="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09570" rtl="0" eaLnBrk="1" latinLnBrk="0" hangingPunct="1">
        <a:spcBef>
          <a:spcPts val="400"/>
        </a:spcBef>
        <a:buFont typeface="Arial" panose="020B0604020202020204" pitchFamily="34" charset="0"/>
        <a:buNone/>
        <a:defRPr sz="1333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22761" indent="-122761" algn="l" defTabSz="609570" rtl="0" eaLnBrk="1" latinLnBrk="0" hangingPunct="1">
        <a:spcBef>
          <a:spcPts val="400"/>
        </a:spcBef>
        <a:buFont typeface="Arial" panose="020B0604020202020204" pitchFamily="34" charset="0"/>
        <a:buChar char="•"/>
        <a:defRPr sz="1333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237055" indent="-120645" algn="l" defTabSz="609570" rtl="0" eaLnBrk="1" latinLnBrk="0" hangingPunct="1">
        <a:spcBef>
          <a:spcPts val="400"/>
        </a:spcBef>
        <a:buFont typeface="Arial" panose="020B0604020202020204" pitchFamily="34" charset="0"/>
        <a:buChar char="•"/>
        <a:defRPr sz="1333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359815" indent="-116412" algn="l" defTabSz="609570" rtl="0" eaLnBrk="1" latinLnBrk="0" hangingPunct="1">
        <a:spcBef>
          <a:spcPts val="400"/>
        </a:spcBef>
        <a:buFont typeface="AA Smart Sans" panose="00000500000000000000" pitchFamily="50" charset="0"/>
        <a:buChar char="-"/>
        <a:defRPr sz="1333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181818"/>
          </p15:clr>
        </p15:guide>
        <p15:guide id="2" pos="5760">
          <p15:clr>
            <a:srgbClr val="181818"/>
          </p15:clr>
        </p15:guide>
        <p15:guide id="3" pos="249">
          <p15:clr>
            <a:srgbClr val="181818"/>
          </p15:clr>
        </p15:guide>
        <p15:guide id="4" pos="1496">
          <p15:clr>
            <a:srgbClr val="181818"/>
          </p15:clr>
        </p15:guide>
        <p15:guide id="5" pos="1587">
          <p15:clr>
            <a:srgbClr val="181818"/>
          </p15:clr>
        </p15:guide>
        <p15:guide id="6" pos="2834">
          <p15:clr>
            <a:srgbClr val="181818"/>
          </p15:clr>
        </p15:guide>
        <p15:guide id="7" pos="2925">
          <p15:clr>
            <a:srgbClr val="181818"/>
          </p15:clr>
        </p15:guide>
        <p15:guide id="8" pos="4172">
          <p15:clr>
            <a:srgbClr val="181818"/>
          </p15:clr>
        </p15:guide>
        <p15:guide id="9" pos="4263">
          <p15:clr>
            <a:srgbClr val="181818"/>
          </p15:clr>
        </p15:guide>
        <p15:guide id="10" pos="5510">
          <p15:clr>
            <a:srgbClr val="181818"/>
          </p15:clr>
        </p15:guide>
        <p15:guide id="11" orient="horz">
          <p15:clr>
            <a:srgbClr val="181818"/>
          </p15:clr>
        </p15:guide>
        <p15:guide id="12" orient="horz" pos="3240">
          <p15:clr>
            <a:srgbClr val="181818"/>
          </p15:clr>
        </p15:guide>
        <p15:guide id="13" orient="horz" pos="249">
          <p15:clr>
            <a:srgbClr val="181818"/>
          </p15:clr>
        </p15:guide>
        <p15:guide id="14" orient="horz" pos="866">
          <p15:clr>
            <a:srgbClr val="181818"/>
          </p15:clr>
        </p15:guide>
        <p15:guide id="15" orient="horz" pos="957">
          <p15:clr>
            <a:srgbClr val="181818"/>
          </p15:clr>
        </p15:guide>
        <p15:guide id="16" orient="horz" pos="1574">
          <p15:clr>
            <a:srgbClr val="181818"/>
          </p15:clr>
        </p15:guide>
        <p15:guide id="17" orient="horz" pos="1665">
          <p15:clr>
            <a:srgbClr val="181818"/>
          </p15:clr>
        </p15:guide>
        <p15:guide id="18" orient="horz" pos="2282">
          <p15:clr>
            <a:srgbClr val="181818"/>
          </p15:clr>
        </p15:guide>
        <p15:guide id="19" orient="horz" pos="2373">
          <p15:clr>
            <a:srgbClr val="181818"/>
          </p15:clr>
        </p15:guide>
        <p15:guide id="20" orient="horz" pos="2990">
          <p15:clr>
            <a:srgbClr val="181818"/>
          </p15:clr>
        </p15:guide>
        <p15:guide id="21" orient="horz" pos="128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0BC8316-00EB-BD2A-7C69-05F7CBA7B8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85793700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24" imgW="410" imgH="409" progId="TCLayout.ActiveDocument.1">
                  <p:embed/>
                </p:oleObj>
              </mc:Choice>
              <mc:Fallback>
                <p:oleObj name="think-cell Slide" r:id="rId24" imgW="410" imgH="409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0BC8316-00EB-BD2A-7C69-05F7CBA7B8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3473" y="548217"/>
            <a:ext cx="11142063" cy="6609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59147" y="6510032"/>
            <a:ext cx="162437" cy="143629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r">
              <a:defRPr sz="933">
                <a:solidFill>
                  <a:schemeClr val="tx1"/>
                </a:solidFill>
                <a:latin typeface="+mj-lt"/>
              </a:defRPr>
            </a:lvl1pPr>
          </a:lstStyle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094EF2-AC69-4F7F-AC5B-61F5FDB62A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27052" y="6510032"/>
            <a:ext cx="10591857" cy="14362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GB" sz="933" b="0" dirty="0">
                <a:latin typeface="+mj-lt"/>
              </a:defRPr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31C75E7-DE3C-450C-AA84-2F872F5678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0774" y="1833034"/>
            <a:ext cx="11142061" cy="44767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99B392E-71B9-481B-A108-AC3C8D8A4CA0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76063" y="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838007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</p:sldLayoutIdLst>
  <p:hf hdr="0" dt="0"/>
  <p:txStyles>
    <p:titleStyle>
      <a:lvl1pPr algn="l" defTabSz="609585" rtl="0" eaLnBrk="1" latinLnBrk="0" hangingPunct="1">
        <a:spcBef>
          <a:spcPct val="0"/>
        </a:spcBef>
        <a:buNone/>
        <a:defRPr sz="3733" b="0" i="0" kern="1200">
          <a:gradFill>
            <a:gsLst>
              <a:gs pos="0">
                <a:schemeClr val="bg2"/>
              </a:gs>
              <a:gs pos="25000">
                <a:schemeClr val="tx1"/>
              </a:gs>
              <a:gs pos="60000">
                <a:schemeClr val="tx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spcBef>
          <a:spcPts val="1600"/>
        </a:spcBef>
        <a:buFont typeface="Arial" panose="020B0604020202020204" pitchFamily="34" charset="0"/>
        <a:buNone/>
        <a:defRPr sz="1467" b="1" i="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09585" rtl="0" eaLnBrk="1" latinLnBrk="0" hangingPunct="1">
        <a:spcBef>
          <a:spcPts val="400"/>
        </a:spcBef>
        <a:buFont typeface="Arial" panose="020B0604020202020204" pitchFamily="34" charset="0"/>
        <a:buNone/>
        <a:defRPr sz="1333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22764" indent="-122764" algn="l" defTabSz="609585" rtl="0" eaLnBrk="1" latinLnBrk="0" hangingPunct="1">
        <a:spcBef>
          <a:spcPts val="400"/>
        </a:spcBef>
        <a:buFont typeface="Arial" panose="020B0604020202020204" pitchFamily="34" charset="0"/>
        <a:buChar char="•"/>
        <a:defRPr sz="1333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237061" indent="-120648" algn="l" defTabSz="609585" rtl="0" eaLnBrk="1" latinLnBrk="0" hangingPunct="1">
        <a:spcBef>
          <a:spcPts val="400"/>
        </a:spcBef>
        <a:buFont typeface="Arial" panose="020B0604020202020204" pitchFamily="34" charset="0"/>
        <a:buChar char="•"/>
        <a:defRPr sz="1333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359824" indent="-116414" algn="l" defTabSz="609585" rtl="0" eaLnBrk="1" latinLnBrk="0" hangingPunct="1">
        <a:spcBef>
          <a:spcPts val="400"/>
        </a:spcBef>
        <a:buFont typeface="AA Smart Sans" panose="00000500000000000000" pitchFamily="50" charset="0"/>
        <a:buChar char="-"/>
        <a:defRPr sz="1333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181818"/>
          </p15:clr>
        </p15:guide>
        <p15:guide id="2" pos="5760">
          <p15:clr>
            <a:srgbClr val="181818"/>
          </p15:clr>
        </p15:guide>
        <p15:guide id="3" pos="249">
          <p15:clr>
            <a:srgbClr val="181818"/>
          </p15:clr>
        </p15:guide>
        <p15:guide id="4" pos="1496">
          <p15:clr>
            <a:srgbClr val="181818"/>
          </p15:clr>
        </p15:guide>
        <p15:guide id="5" pos="1587">
          <p15:clr>
            <a:srgbClr val="181818"/>
          </p15:clr>
        </p15:guide>
        <p15:guide id="6" pos="2834">
          <p15:clr>
            <a:srgbClr val="181818"/>
          </p15:clr>
        </p15:guide>
        <p15:guide id="7" pos="2925">
          <p15:clr>
            <a:srgbClr val="181818"/>
          </p15:clr>
        </p15:guide>
        <p15:guide id="8" pos="4172">
          <p15:clr>
            <a:srgbClr val="181818"/>
          </p15:clr>
        </p15:guide>
        <p15:guide id="9" pos="4263">
          <p15:clr>
            <a:srgbClr val="181818"/>
          </p15:clr>
        </p15:guide>
        <p15:guide id="10" pos="5510">
          <p15:clr>
            <a:srgbClr val="181818"/>
          </p15:clr>
        </p15:guide>
        <p15:guide id="11" orient="horz">
          <p15:clr>
            <a:srgbClr val="181818"/>
          </p15:clr>
        </p15:guide>
        <p15:guide id="12" orient="horz" pos="3240">
          <p15:clr>
            <a:srgbClr val="181818"/>
          </p15:clr>
        </p15:guide>
        <p15:guide id="13" orient="horz" pos="249">
          <p15:clr>
            <a:srgbClr val="181818"/>
          </p15:clr>
        </p15:guide>
        <p15:guide id="14" orient="horz" pos="866">
          <p15:clr>
            <a:srgbClr val="181818"/>
          </p15:clr>
        </p15:guide>
        <p15:guide id="15" orient="horz" pos="957">
          <p15:clr>
            <a:srgbClr val="181818"/>
          </p15:clr>
        </p15:guide>
        <p15:guide id="16" orient="horz" pos="1574">
          <p15:clr>
            <a:srgbClr val="181818"/>
          </p15:clr>
        </p15:guide>
        <p15:guide id="17" orient="horz" pos="1665">
          <p15:clr>
            <a:srgbClr val="181818"/>
          </p15:clr>
        </p15:guide>
        <p15:guide id="18" orient="horz" pos="2282">
          <p15:clr>
            <a:srgbClr val="181818"/>
          </p15:clr>
        </p15:guide>
        <p15:guide id="19" orient="horz" pos="2373">
          <p15:clr>
            <a:srgbClr val="181818"/>
          </p15:clr>
        </p15:guide>
        <p15:guide id="20" orient="horz" pos="2990">
          <p15:clr>
            <a:srgbClr val="181818"/>
          </p15:clr>
        </p15:guide>
        <p15:guide id="21" orient="horz" pos="128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0BC8316-00EB-BD2A-7C69-05F7CBA7B8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59721995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24" imgW="410" imgH="409" progId="TCLayout.ActiveDocument.1">
                  <p:embed/>
                </p:oleObj>
              </mc:Choice>
              <mc:Fallback>
                <p:oleObj name="think-cell Slide" r:id="rId24" imgW="410" imgH="409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0BC8316-00EB-BD2A-7C69-05F7CBA7B8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3473" y="548217"/>
            <a:ext cx="11142063" cy="6609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59147" y="6510032"/>
            <a:ext cx="162437" cy="143629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r">
              <a:defRPr sz="933">
                <a:solidFill>
                  <a:schemeClr val="tx1"/>
                </a:solidFill>
                <a:latin typeface="+mj-lt"/>
              </a:defRPr>
            </a:lvl1pPr>
          </a:lstStyle>
          <a:p>
            <a:fld id="{AC586D5E-2722-0D44-AA02-B15E62DD29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094EF2-AC69-4F7F-AC5B-61F5FDB62A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27052" y="6510032"/>
            <a:ext cx="10591857" cy="14362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GB" sz="933" b="0" dirty="0">
                <a:latin typeface="+mj-lt"/>
              </a:defRPr>
            </a:lvl1pPr>
          </a:lstStyle>
          <a:p>
            <a:r>
              <a:rPr lang="en-US"/>
              <a:t>Anglo American  /  © 2021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31C75E7-DE3C-450C-AA84-2F872F5678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0774" y="1833034"/>
            <a:ext cx="11142061" cy="44767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MSIPCMContentMarking" descr="{&quot;HashCode&quot;:-1040214455,&quot;Placement&quot;:&quot;Header&quot;,&quot;Top&quot;:0.0,&quot;Left&quot;:660.4693,&quot;SlideWidth&quot;:720,&quot;SlideHeight&quot;:405}">
            <a:extLst>
              <a:ext uri="{FF2B5EF4-FFF2-40B4-BE49-F238E27FC236}">
                <a16:creationId xmlns:a16="http://schemas.microsoft.com/office/drawing/2014/main" id="{199B392E-71B9-481B-A108-AC3C8D8A4CA0}"/>
              </a:ext>
            </a:extLst>
          </p:cNvPr>
          <p:cNvSpPr txBox="1"/>
          <p:nvPr userDrawn="1"/>
        </p:nvSpPr>
        <p:spPr>
          <a:xfrm>
            <a:off x="11183947" y="62991"/>
            <a:ext cx="1008053" cy="16421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GB" sz="1067">
                <a:solidFill>
                  <a:srgbClr val="000000"/>
                </a:solidFill>
                <a:latin typeface="Arial" panose="020B0604020202020204" pitchFamily="34" charset="0"/>
              </a:rPr>
              <a:t>[OFFICIAL]</a:t>
            </a:r>
            <a:endParaRPr lang="en-GB" sz="1067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7446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</p:sldLayoutIdLst>
  <p:hf hdr="0" dt="0"/>
  <p:txStyles>
    <p:titleStyle>
      <a:lvl1pPr algn="l" defTabSz="609585" rtl="0" eaLnBrk="1" latinLnBrk="0" hangingPunct="1">
        <a:spcBef>
          <a:spcPct val="0"/>
        </a:spcBef>
        <a:buNone/>
        <a:defRPr sz="3733" b="0" i="0" kern="1200">
          <a:gradFill>
            <a:gsLst>
              <a:gs pos="0">
                <a:schemeClr val="bg2"/>
              </a:gs>
              <a:gs pos="25000">
                <a:schemeClr val="tx1"/>
              </a:gs>
              <a:gs pos="60000">
                <a:schemeClr val="tx2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spcBef>
          <a:spcPts val="1600"/>
        </a:spcBef>
        <a:buFont typeface="Arial" panose="020B0604020202020204" pitchFamily="34" charset="0"/>
        <a:buNone/>
        <a:defRPr sz="1467" b="1" i="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09585" rtl="0" eaLnBrk="1" latinLnBrk="0" hangingPunct="1">
        <a:spcBef>
          <a:spcPts val="400"/>
        </a:spcBef>
        <a:buFont typeface="Arial" panose="020B0604020202020204" pitchFamily="34" charset="0"/>
        <a:buNone/>
        <a:defRPr sz="1333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22764" indent="-122764" algn="l" defTabSz="609585" rtl="0" eaLnBrk="1" latinLnBrk="0" hangingPunct="1">
        <a:spcBef>
          <a:spcPts val="400"/>
        </a:spcBef>
        <a:buFont typeface="Arial" panose="020B0604020202020204" pitchFamily="34" charset="0"/>
        <a:buChar char="•"/>
        <a:defRPr sz="1333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237061" indent="-120648" algn="l" defTabSz="609585" rtl="0" eaLnBrk="1" latinLnBrk="0" hangingPunct="1">
        <a:spcBef>
          <a:spcPts val="400"/>
        </a:spcBef>
        <a:buFont typeface="Arial" panose="020B0604020202020204" pitchFamily="34" charset="0"/>
        <a:buChar char="•"/>
        <a:defRPr sz="1333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359824" indent="-116414" algn="l" defTabSz="609585" rtl="0" eaLnBrk="1" latinLnBrk="0" hangingPunct="1">
        <a:spcBef>
          <a:spcPts val="400"/>
        </a:spcBef>
        <a:buFont typeface="AA Smart Sans" panose="00000500000000000000" pitchFamily="50" charset="0"/>
        <a:buChar char="-"/>
        <a:defRPr sz="1333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181818"/>
          </p15:clr>
        </p15:guide>
        <p15:guide id="2" pos="5760">
          <p15:clr>
            <a:srgbClr val="181818"/>
          </p15:clr>
        </p15:guide>
        <p15:guide id="3" pos="249">
          <p15:clr>
            <a:srgbClr val="181818"/>
          </p15:clr>
        </p15:guide>
        <p15:guide id="4" pos="1496">
          <p15:clr>
            <a:srgbClr val="181818"/>
          </p15:clr>
        </p15:guide>
        <p15:guide id="5" pos="1587">
          <p15:clr>
            <a:srgbClr val="181818"/>
          </p15:clr>
        </p15:guide>
        <p15:guide id="6" pos="2834">
          <p15:clr>
            <a:srgbClr val="181818"/>
          </p15:clr>
        </p15:guide>
        <p15:guide id="7" pos="2925">
          <p15:clr>
            <a:srgbClr val="181818"/>
          </p15:clr>
        </p15:guide>
        <p15:guide id="8" pos="4172">
          <p15:clr>
            <a:srgbClr val="181818"/>
          </p15:clr>
        </p15:guide>
        <p15:guide id="9" pos="4263">
          <p15:clr>
            <a:srgbClr val="181818"/>
          </p15:clr>
        </p15:guide>
        <p15:guide id="10" pos="5510">
          <p15:clr>
            <a:srgbClr val="181818"/>
          </p15:clr>
        </p15:guide>
        <p15:guide id="11" orient="horz">
          <p15:clr>
            <a:srgbClr val="181818"/>
          </p15:clr>
        </p15:guide>
        <p15:guide id="12" orient="horz" pos="3240">
          <p15:clr>
            <a:srgbClr val="181818"/>
          </p15:clr>
        </p15:guide>
        <p15:guide id="13" orient="horz" pos="249">
          <p15:clr>
            <a:srgbClr val="181818"/>
          </p15:clr>
        </p15:guide>
        <p15:guide id="14" orient="horz" pos="866">
          <p15:clr>
            <a:srgbClr val="181818"/>
          </p15:clr>
        </p15:guide>
        <p15:guide id="15" orient="horz" pos="957">
          <p15:clr>
            <a:srgbClr val="181818"/>
          </p15:clr>
        </p15:guide>
        <p15:guide id="16" orient="horz" pos="1574">
          <p15:clr>
            <a:srgbClr val="181818"/>
          </p15:clr>
        </p15:guide>
        <p15:guide id="17" orient="horz" pos="1665">
          <p15:clr>
            <a:srgbClr val="181818"/>
          </p15:clr>
        </p15:guide>
        <p15:guide id="18" orient="horz" pos="2282">
          <p15:clr>
            <a:srgbClr val="181818"/>
          </p15:clr>
        </p15:guide>
        <p15:guide id="19" orient="horz" pos="2373">
          <p15:clr>
            <a:srgbClr val="181818"/>
          </p15:clr>
        </p15:guide>
        <p15:guide id="20" orient="horz" pos="2990">
          <p15:clr>
            <a:srgbClr val="181818"/>
          </p15:clr>
        </p15:guide>
        <p15:guide id="21" orient="horz" pos="12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26" Type="http://schemas.openxmlformats.org/officeDocument/2006/relationships/tags" Target="../tags/tag60.xml"/><Relationship Id="rId39" Type="http://schemas.openxmlformats.org/officeDocument/2006/relationships/tags" Target="../tags/tag73.xml"/><Relationship Id="rId21" Type="http://schemas.openxmlformats.org/officeDocument/2006/relationships/tags" Target="../tags/tag55.xml"/><Relationship Id="rId34" Type="http://schemas.openxmlformats.org/officeDocument/2006/relationships/tags" Target="../tags/tag68.xml"/><Relationship Id="rId42" Type="http://schemas.openxmlformats.org/officeDocument/2006/relationships/image" Target="../media/image2.emf"/><Relationship Id="rId47" Type="http://schemas.openxmlformats.org/officeDocument/2006/relationships/chart" Target="../charts/chart5.xml"/><Relationship Id="rId50" Type="http://schemas.openxmlformats.org/officeDocument/2006/relationships/chart" Target="../charts/chart8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9" Type="http://schemas.openxmlformats.org/officeDocument/2006/relationships/tags" Target="../tags/tag63.xml"/><Relationship Id="rId11" Type="http://schemas.openxmlformats.org/officeDocument/2006/relationships/tags" Target="../tags/tag45.xml"/><Relationship Id="rId24" Type="http://schemas.openxmlformats.org/officeDocument/2006/relationships/tags" Target="../tags/tag58.xml"/><Relationship Id="rId32" Type="http://schemas.openxmlformats.org/officeDocument/2006/relationships/tags" Target="../tags/tag66.xml"/><Relationship Id="rId37" Type="http://schemas.openxmlformats.org/officeDocument/2006/relationships/tags" Target="../tags/tag71.xml"/><Relationship Id="rId40" Type="http://schemas.openxmlformats.org/officeDocument/2006/relationships/slideLayout" Target="../slideLayouts/slideLayout37.xml"/><Relationship Id="rId45" Type="http://schemas.openxmlformats.org/officeDocument/2006/relationships/chart" Target="../charts/chart3.xml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23" Type="http://schemas.openxmlformats.org/officeDocument/2006/relationships/tags" Target="../tags/tag57.xml"/><Relationship Id="rId28" Type="http://schemas.openxmlformats.org/officeDocument/2006/relationships/tags" Target="../tags/tag62.xml"/><Relationship Id="rId36" Type="http://schemas.openxmlformats.org/officeDocument/2006/relationships/tags" Target="../tags/tag70.xml"/><Relationship Id="rId49" Type="http://schemas.openxmlformats.org/officeDocument/2006/relationships/chart" Target="../charts/chart7.xml"/><Relationship Id="rId10" Type="http://schemas.openxmlformats.org/officeDocument/2006/relationships/tags" Target="../tags/tag44.xml"/><Relationship Id="rId19" Type="http://schemas.openxmlformats.org/officeDocument/2006/relationships/tags" Target="../tags/tag53.xml"/><Relationship Id="rId31" Type="http://schemas.openxmlformats.org/officeDocument/2006/relationships/tags" Target="../tags/tag65.xml"/><Relationship Id="rId44" Type="http://schemas.openxmlformats.org/officeDocument/2006/relationships/chart" Target="../charts/chart2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tags" Target="../tags/tag56.xml"/><Relationship Id="rId27" Type="http://schemas.openxmlformats.org/officeDocument/2006/relationships/tags" Target="../tags/tag61.xml"/><Relationship Id="rId30" Type="http://schemas.openxmlformats.org/officeDocument/2006/relationships/tags" Target="../tags/tag64.xml"/><Relationship Id="rId35" Type="http://schemas.openxmlformats.org/officeDocument/2006/relationships/tags" Target="../tags/tag69.xml"/><Relationship Id="rId43" Type="http://schemas.openxmlformats.org/officeDocument/2006/relationships/chart" Target="../charts/chart1.xml"/><Relationship Id="rId48" Type="http://schemas.openxmlformats.org/officeDocument/2006/relationships/chart" Target="../charts/chart6.xml"/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5" Type="http://schemas.openxmlformats.org/officeDocument/2006/relationships/tags" Target="../tags/tag59.xml"/><Relationship Id="rId33" Type="http://schemas.openxmlformats.org/officeDocument/2006/relationships/tags" Target="../tags/tag67.xml"/><Relationship Id="rId38" Type="http://schemas.openxmlformats.org/officeDocument/2006/relationships/tags" Target="../tags/tag72.xml"/><Relationship Id="rId46" Type="http://schemas.openxmlformats.org/officeDocument/2006/relationships/chart" Target="../charts/chart4.xml"/><Relationship Id="rId20" Type="http://schemas.openxmlformats.org/officeDocument/2006/relationships/tags" Target="../tags/tag54.xml"/><Relationship Id="rId41" Type="http://schemas.openxmlformats.org/officeDocument/2006/relationships/oleObject" Target="../embeddings/oleObject26.bin"/><Relationship Id="rId1" Type="http://schemas.openxmlformats.org/officeDocument/2006/relationships/vmlDrawing" Target="../drawings/vmlDrawing26.vml"/><Relationship Id="rId6" Type="http://schemas.openxmlformats.org/officeDocument/2006/relationships/tags" Target="../tags/tag4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oleObject" Target="../embeddings/oleObject27.bin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slideLayout" Target="../slideLayouts/slideLayout47.xml"/><Relationship Id="rId2" Type="http://schemas.openxmlformats.org/officeDocument/2006/relationships/tags" Target="../tags/tag74.xml"/><Relationship Id="rId1" Type="http://schemas.openxmlformats.org/officeDocument/2006/relationships/vmlDrawing" Target="../drawings/vmlDrawing27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chart" Target="../charts/chart9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67.xml"/><Relationship Id="rId7" Type="http://schemas.openxmlformats.org/officeDocument/2006/relationships/chart" Target="../charts/chart11.xml"/><Relationship Id="rId2" Type="http://schemas.openxmlformats.org/officeDocument/2006/relationships/tags" Target="../tags/tag84.xml"/><Relationship Id="rId1" Type="http://schemas.openxmlformats.org/officeDocument/2006/relationships/vmlDrawing" Target="../drawings/vmlDrawing28.vml"/><Relationship Id="rId6" Type="http://schemas.openxmlformats.org/officeDocument/2006/relationships/chart" Target="../charts/chart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Relationship Id="rId9" Type="http://schemas.openxmlformats.org/officeDocument/2006/relationships/image" Target="../media/image1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04F6D9-6E26-8918-733D-739DDD448B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380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04F6D9-6E26-8918-733D-739DDD448B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5058E4-2A18-C259-8407-B2A42B3FC0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Addressing Challenges Undermining the Potential Growth of Mineral Subsector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A1B04A-053D-98D5-48A7-3DC1510794A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r>
              <a:rPr lang="en-US" dirty="0"/>
              <a:t>PGMs</a:t>
            </a:r>
          </a:p>
        </p:txBody>
      </p:sp>
    </p:spTree>
    <p:extLst>
      <p:ext uri="{BB962C8B-B14F-4D97-AF65-F5344CB8AC3E}">
        <p14:creationId xmlns:p14="http://schemas.microsoft.com/office/powerpoint/2010/main" val="24039743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135CAAE-B1F1-4CCE-954A-D59EDF495D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908939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think-cell Slide" r:id="rId41" imgW="383" imgH="383" progId="TCLayout.ActiveDocument.1">
                  <p:embed/>
                </p:oleObj>
              </mc:Choice>
              <mc:Fallback>
                <p:oleObj name="think-cell Slide" r:id="rId41" imgW="383" imgH="38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135CAAE-B1F1-4CCE-954A-D59EDF495D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E44FB5-E183-4532-997A-19BAAF9F1E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425767" y="6369051"/>
            <a:ext cx="162984" cy="143933"/>
          </a:xfrm>
        </p:spPr>
        <p:txBody>
          <a:bodyPr/>
          <a:lstStyle/>
          <a:p>
            <a:pPr algn="r" defTabSz="914377">
              <a:defRPr/>
            </a:pPr>
            <a:fld id="{AC586D5E-2722-0D44-AA02-B15E62DD2934}" type="slidenum">
              <a:rPr lang="en-US" sz="933">
                <a:solidFill>
                  <a:srgbClr val="FFFFFF"/>
                </a:solidFill>
                <a:latin typeface="Arial" panose="020B0604020202020204"/>
              </a:rPr>
              <a:pPr algn="r" defTabSz="914377">
                <a:defRPr/>
              </a:pPr>
              <a:t>2</a:t>
            </a:fld>
            <a:endParaRPr lang="en-US" sz="93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object 10">
            <a:extLst>
              <a:ext uri="{FF2B5EF4-FFF2-40B4-BE49-F238E27FC236}">
                <a16:creationId xmlns:a16="http://schemas.microsoft.com/office/drawing/2014/main" id="{2372B2D1-4E04-4D7E-B89B-381404D146D6}"/>
              </a:ext>
            </a:extLst>
          </p:cNvPr>
          <p:cNvSpPr txBox="1">
            <a:spLocks/>
          </p:cNvSpPr>
          <p:nvPr/>
        </p:nvSpPr>
        <p:spPr>
          <a:xfrm>
            <a:off x="455083" y="6437795"/>
            <a:ext cx="2070100" cy="15388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rgbClr val="7F7F7F"/>
                </a:solidFill>
                <a:latin typeface="AA Smart Sans SemiBold"/>
                <a:ea typeface="+mn-ea"/>
                <a:cs typeface="AA Smart Sans SemiBold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defTabSz="914377">
              <a:spcBef>
                <a:spcPts val="85"/>
              </a:spcBef>
              <a:defRPr/>
            </a:pPr>
            <a:r>
              <a:rPr lang="en-US" b="0" dirty="0">
                <a:solidFill>
                  <a:srgbClr val="031795"/>
                </a:solidFill>
                <a:latin typeface="Arial" panose="020B0604020202020204"/>
              </a:rPr>
              <a:t> </a:t>
            </a:r>
            <a:endParaRPr lang="en-US" b="0" kern="0" spc="-20" dirty="0">
              <a:solidFill>
                <a:srgbClr val="031795"/>
              </a:solidFill>
              <a:latin typeface="Arial" panose="020B0604020202020204"/>
            </a:endParaRPr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E4626F9E-1D4F-70E1-1AD9-BDFB2EF22F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767" y="255060"/>
            <a:ext cx="11132096" cy="1284816"/>
          </a:xfrm>
        </p:spPr>
        <p:txBody>
          <a:bodyPr vert="horz"/>
          <a:lstStyle/>
          <a:p>
            <a:r>
              <a:rPr lang="en-ZA" dirty="0">
                <a:solidFill>
                  <a:schemeClr val="tx1"/>
                </a:solidFill>
              </a:rPr>
              <a:t>There is potential for Zimbabwe to increase its  share of global production, in line with its resources</a:t>
            </a:r>
            <a:endParaRPr lang="en-US" dirty="0"/>
          </a:p>
        </p:txBody>
      </p:sp>
      <p:sp>
        <p:nvSpPr>
          <p:cNvPr id="29" name="Freeform 3">
            <a:extLst>
              <a:ext uri="{FF2B5EF4-FFF2-40B4-BE49-F238E27FC236}">
                <a16:creationId xmlns:a16="http://schemas.microsoft.com/office/drawing/2014/main" id="{B505F1EA-20D3-BA60-508C-ED544ABA620E}"/>
              </a:ext>
            </a:extLst>
          </p:cNvPr>
          <p:cNvSpPr>
            <a:spLocks/>
          </p:cNvSpPr>
          <p:nvPr/>
        </p:nvSpPr>
        <p:spPr bwMode="gray">
          <a:xfrm>
            <a:off x="2738968" y="2660651"/>
            <a:ext cx="700617" cy="755651"/>
          </a:xfrm>
          <a:custGeom>
            <a:avLst/>
            <a:gdLst>
              <a:gd name="T0" fmla="*/ 2147483647 w 360"/>
              <a:gd name="T1" fmla="*/ 2147483647 h 389"/>
              <a:gd name="T2" fmla="*/ 2147483647 w 360"/>
              <a:gd name="T3" fmla="*/ 2147483647 h 389"/>
              <a:gd name="T4" fmla="*/ 2147483647 w 360"/>
              <a:gd name="T5" fmla="*/ 2147483647 h 389"/>
              <a:gd name="T6" fmla="*/ 0 w 360"/>
              <a:gd name="T7" fmla="*/ 2147483647 h 389"/>
              <a:gd name="T8" fmla="*/ 2147483647 w 360"/>
              <a:gd name="T9" fmla="*/ 2147483647 h 389"/>
              <a:gd name="T10" fmla="*/ 2147483647 w 360"/>
              <a:gd name="T11" fmla="*/ 2147483647 h 389"/>
              <a:gd name="T12" fmla="*/ 2147483647 w 360"/>
              <a:gd name="T13" fmla="*/ 2147483647 h 389"/>
              <a:gd name="T14" fmla="*/ 2147483647 w 360"/>
              <a:gd name="T15" fmla="*/ 2147483647 h 389"/>
              <a:gd name="T16" fmla="*/ 2147483647 w 360"/>
              <a:gd name="T17" fmla="*/ 2147483647 h 389"/>
              <a:gd name="T18" fmla="*/ 2147483647 w 360"/>
              <a:gd name="T19" fmla="*/ 2147483647 h 389"/>
              <a:gd name="T20" fmla="*/ 2147483647 w 360"/>
              <a:gd name="T21" fmla="*/ 2147483647 h 389"/>
              <a:gd name="T22" fmla="*/ 2147483647 w 360"/>
              <a:gd name="T23" fmla="*/ 2147483647 h 389"/>
              <a:gd name="T24" fmla="*/ 2147483647 w 360"/>
              <a:gd name="T25" fmla="*/ 0 h 389"/>
              <a:gd name="T26" fmla="*/ 2147483647 w 360"/>
              <a:gd name="T27" fmla="*/ 2147483647 h 389"/>
              <a:gd name="T28" fmla="*/ 2147483647 w 360"/>
              <a:gd name="T29" fmla="*/ 2147483647 h 389"/>
              <a:gd name="T30" fmla="*/ 2147483647 w 360"/>
              <a:gd name="T31" fmla="*/ 2147483647 h 389"/>
              <a:gd name="T32" fmla="*/ 2147483647 w 360"/>
              <a:gd name="T33" fmla="*/ 2147483647 h 389"/>
              <a:gd name="T34" fmla="*/ 2147483647 w 360"/>
              <a:gd name="T35" fmla="*/ 2147483647 h 389"/>
              <a:gd name="T36" fmla="*/ 2147483647 w 360"/>
              <a:gd name="T37" fmla="*/ 2147483647 h 389"/>
              <a:gd name="T38" fmla="*/ 2147483647 w 360"/>
              <a:gd name="T39" fmla="*/ 2147483647 h 389"/>
              <a:gd name="T40" fmla="*/ 2147483647 w 360"/>
              <a:gd name="T41" fmla="*/ 2147483647 h 389"/>
              <a:gd name="T42" fmla="*/ 2147483647 w 360"/>
              <a:gd name="T43" fmla="*/ 2147483647 h 389"/>
              <a:gd name="T44" fmla="*/ 2147483647 w 360"/>
              <a:gd name="T45" fmla="*/ 2147483647 h 389"/>
              <a:gd name="T46" fmla="*/ 2147483647 w 360"/>
              <a:gd name="T47" fmla="*/ 2147483647 h 389"/>
              <a:gd name="T48" fmla="*/ 2147483647 w 360"/>
              <a:gd name="T49" fmla="*/ 2147483647 h 389"/>
              <a:gd name="T50" fmla="*/ 2147483647 w 360"/>
              <a:gd name="T51" fmla="*/ 2147483647 h 389"/>
              <a:gd name="T52" fmla="*/ 2147483647 w 360"/>
              <a:gd name="T53" fmla="*/ 2147483647 h 389"/>
              <a:gd name="T54" fmla="*/ 2147483647 w 360"/>
              <a:gd name="T55" fmla="*/ 2147483647 h 389"/>
              <a:gd name="T56" fmla="*/ 2147483647 w 360"/>
              <a:gd name="T57" fmla="*/ 2147483647 h 389"/>
              <a:gd name="T58" fmla="*/ 2147483647 w 360"/>
              <a:gd name="T59" fmla="*/ 2147483647 h 389"/>
              <a:gd name="T60" fmla="*/ 2147483647 w 360"/>
              <a:gd name="T61" fmla="*/ 2147483647 h 389"/>
              <a:gd name="T62" fmla="*/ 2147483647 w 360"/>
              <a:gd name="T63" fmla="*/ 2147483647 h 389"/>
              <a:gd name="T64" fmla="*/ 2147483647 w 360"/>
              <a:gd name="T65" fmla="*/ 2147483647 h 389"/>
              <a:gd name="T66" fmla="*/ 2147483647 w 360"/>
              <a:gd name="T67" fmla="*/ 2147483647 h 389"/>
              <a:gd name="T68" fmla="*/ 2147483647 w 360"/>
              <a:gd name="T69" fmla="*/ 2147483647 h 389"/>
              <a:gd name="T70" fmla="*/ 2147483647 w 360"/>
              <a:gd name="T71" fmla="*/ 2147483647 h 389"/>
              <a:gd name="T72" fmla="*/ 2147483647 w 360"/>
              <a:gd name="T73" fmla="*/ 2147483647 h 389"/>
              <a:gd name="T74" fmla="*/ 2147483647 w 360"/>
              <a:gd name="T75" fmla="*/ 2147483647 h 389"/>
              <a:gd name="T76" fmla="*/ 2147483647 w 360"/>
              <a:gd name="T77" fmla="*/ 2147483647 h 389"/>
              <a:gd name="T78" fmla="*/ 2147483647 w 360"/>
              <a:gd name="T79" fmla="*/ 2147483647 h 389"/>
              <a:gd name="T80" fmla="*/ 2147483647 w 360"/>
              <a:gd name="T81" fmla="*/ 2147483647 h 389"/>
              <a:gd name="T82" fmla="*/ 2147483647 w 360"/>
              <a:gd name="T83" fmla="*/ 2147483647 h 389"/>
              <a:gd name="T84" fmla="*/ 2147483647 w 360"/>
              <a:gd name="T85" fmla="*/ 2147483647 h 389"/>
              <a:gd name="T86" fmla="*/ 2147483647 w 360"/>
              <a:gd name="T87" fmla="*/ 2147483647 h 389"/>
              <a:gd name="T88" fmla="*/ 2147483647 w 360"/>
              <a:gd name="T89" fmla="*/ 2147483647 h 389"/>
              <a:gd name="T90" fmla="*/ 2147483647 w 360"/>
              <a:gd name="T91" fmla="*/ 2147483647 h 389"/>
              <a:gd name="T92" fmla="*/ 2147483647 w 360"/>
              <a:gd name="T93" fmla="*/ 2147483647 h 389"/>
              <a:gd name="T94" fmla="*/ 2147483647 w 360"/>
              <a:gd name="T95" fmla="*/ 2147483647 h 389"/>
              <a:gd name="T96" fmla="*/ 2147483647 w 360"/>
              <a:gd name="T97" fmla="*/ 2147483647 h 389"/>
              <a:gd name="T98" fmla="*/ 2147483647 w 360"/>
              <a:gd name="T99" fmla="*/ 2147483647 h 389"/>
              <a:gd name="T100" fmla="*/ 2147483647 w 360"/>
              <a:gd name="T101" fmla="*/ 2147483647 h 389"/>
              <a:gd name="T102" fmla="*/ 2147483647 w 360"/>
              <a:gd name="T103" fmla="*/ 2147483647 h 389"/>
              <a:gd name="T104" fmla="*/ 2147483647 w 360"/>
              <a:gd name="T105" fmla="*/ 2147483647 h 389"/>
              <a:gd name="T106" fmla="*/ 2147483647 w 360"/>
              <a:gd name="T107" fmla="*/ 2147483647 h 389"/>
              <a:gd name="T108" fmla="*/ 2147483647 w 360"/>
              <a:gd name="T109" fmla="*/ 2147483647 h 389"/>
              <a:gd name="T110" fmla="*/ 2147483647 w 360"/>
              <a:gd name="T111" fmla="*/ 2147483647 h 389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360"/>
              <a:gd name="T169" fmla="*/ 0 h 389"/>
              <a:gd name="T170" fmla="*/ 360 w 360"/>
              <a:gd name="T171" fmla="*/ 389 h 389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360" h="389">
                <a:moveTo>
                  <a:pt x="13" y="251"/>
                </a:moveTo>
                <a:lnTo>
                  <a:pt x="16" y="233"/>
                </a:lnTo>
                <a:lnTo>
                  <a:pt x="6" y="206"/>
                </a:lnTo>
                <a:lnTo>
                  <a:pt x="0" y="182"/>
                </a:lnTo>
                <a:lnTo>
                  <a:pt x="25" y="171"/>
                </a:lnTo>
                <a:lnTo>
                  <a:pt x="49" y="146"/>
                </a:lnTo>
                <a:lnTo>
                  <a:pt x="39" y="108"/>
                </a:lnTo>
                <a:lnTo>
                  <a:pt x="18" y="89"/>
                </a:lnTo>
                <a:lnTo>
                  <a:pt x="34" y="66"/>
                </a:lnTo>
                <a:lnTo>
                  <a:pt x="28" y="50"/>
                </a:lnTo>
                <a:lnTo>
                  <a:pt x="31" y="26"/>
                </a:lnTo>
                <a:lnTo>
                  <a:pt x="22" y="12"/>
                </a:lnTo>
                <a:lnTo>
                  <a:pt x="28" y="0"/>
                </a:lnTo>
                <a:lnTo>
                  <a:pt x="64" y="6"/>
                </a:lnTo>
                <a:lnTo>
                  <a:pt x="87" y="5"/>
                </a:lnTo>
                <a:lnTo>
                  <a:pt x="114" y="11"/>
                </a:lnTo>
                <a:lnTo>
                  <a:pt x="130" y="29"/>
                </a:lnTo>
                <a:lnTo>
                  <a:pt x="141" y="38"/>
                </a:lnTo>
                <a:lnTo>
                  <a:pt x="162" y="47"/>
                </a:lnTo>
                <a:lnTo>
                  <a:pt x="156" y="71"/>
                </a:lnTo>
                <a:lnTo>
                  <a:pt x="165" y="87"/>
                </a:lnTo>
                <a:lnTo>
                  <a:pt x="187" y="98"/>
                </a:lnTo>
                <a:lnTo>
                  <a:pt x="198" y="102"/>
                </a:lnTo>
                <a:lnTo>
                  <a:pt x="220" y="84"/>
                </a:lnTo>
                <a:lnTo>
                  <a:pt x="229" y="69"/>
                </a:lnTo>
                <a:lnTo>
                  <a:pt x="238" y="51"/>
                </a:lnTo>
                <a:lnTo>
                  <a:pt x="237" y="84"/>
                </a:lnTo>
                <a:lnTo>
                  <a:pt x="246" y="102"/>
                </a:lnTo>
                <a:lnTo>
                  <a:pt x="255" y="134"/>
                </a:lnTo>
                <a:lnTo>
                  <a:pt x="252" y="162"/>
                </a:lnTo>
                <a:lnTo>
                  <a:pt x="226" y="176"/>
                </a:lnTo>
                <a:lnTo>
                  <a:pt x="213" y="177"/>
                </a:lnTo>
                <a:lnTo>
                  <a:pt x="205" y="191"/>
                </a:lnTo>
                <a:lnTo>
                  <a:pt x="211" y="219"/>
                </a:lnTo>
                <a:lnTo>
                  <a:pt x="228" y="222"/>
                </a:lnTo>
                <a:lnTo>
                  <a:pt x="268" y="222"/>
                </a:lnTo>
                <a:lnTo>
                  <a:pt x="286" y="231"/>
                </a:lnTo>
                <a:lnTo>
                  <a:pt x="304" y="233"/>
                </a:lnTo>
                <a:lnTo>
                  <a:pt x="360" y="221"/>
                </a:lnTo>
                <a:lnTo>
                  <a:pt x="354" y="257"/>
                </a:lnTo>
                <a:lnTo>
                  <a:pt x="330" y="267"/>
                </a:lnTo>
                <a:lnTo>
                  <a:pt x="306" y="284"/>
                </a:lnTo>
                <a:lnTo>
                  <a:pt x="270" y="282"/>
                </a:lnTo>
                <a:lnTo>
                  <a:pt x="237" y="281"/>
                </a:lnTo>
                <a:lnTo>
                  <a:pt x="207" y="287"/>
                </a:lnTo>
                <a:lnTo>
                  <a:pt x="187" y="299"/>
                </a:lnTo>
                <a:lnTo>
                  <a:pt x="169" y="309"/>
                </a:lnTo>
                <a:lnTo>
                  <a:pt x="150" y="329"/>
                </a:lnTo>
                <a:lnTo>
                  <a:pt x="142" y="345"/>
                </a:lnTo>
                <a:lnTo>
                  <a:pt x="147" y="372"/>
                </a:lnTo>
                <a:lnTo>
                  <a:pt x="126" y="389"/>
                </a:lnTo>
                <a:lnTo>
                  <a:pt x="73" y="389"/>
                </a:lnTo>
                <a:lnTo>
                  <a:pt x="58" y="369"/>
                </a:lnTo>
                <a:lnTo>
                  <a:pt x="37" y="326"/>
                </a:lnTo>
                <a:lnTo>
                  <a:pt x="25" y="278"/>
                </a:lnTo>
                <a:lnTo>
                  <a:pt x="13" y="251"/>
                </a:lnTo>
                <a:close/>
              </a:path>
            </a:pathLst>
          </a:custGeom>
          <a:solidFill>
            <a:srgbClr val="003366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60960" tIns="0" rIns="60960" bIns="0" anchor="ctr"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0" name="Freeform 4">
            <a:extLst>
              <a:ext uri="{FF2B5EF4-FFF2-40B4-BE49-F238E27FC236}">
                <a16:creationId xmlns:a16="http://schemas.microsoft.com/office/drawing/2014/main" id="{2EF2DC6A-B8F4-9E74-DB79-509CACC52C36}"/>
              </a:ext>
            </a:extLst>
          </p:cNvPr>
          <p:cNvSpPr>
            <a:spLocks/>
          </p:cNvSpPr>
          <p:nvPr/>
        </p:nvSpPr>
        <p:spPr bwMode="auto">
          <a:xfrm>
            <a:off x="2110318" y="2772833"/>
            <a:ext cx="309033" cy="493184"/>
          </a:xfrm>
          <a:custGeom>
            <a:avLst/>
            <a:gdLst>
              <a:gd name="T0" fmla="*/ 2147483647 w 159"/>
              <a:gd name="T1" fmla="*/ 0 h 254"/>
              <a:gd name="T2" fmla="*/ 2147483647 w 159"/>
              <a:gd name="T3" fmla="*/ 0 h 254"/>
              <a:gd name="T4" fmla="*/ 2147483647 w 159"/>
              <a:gd name="T5" fmla="*/ 2147483647 h 254"/>
              <a:gd name="T6" fmla="*/ 2147483647 w 159"/>
              <a:gd name="T7" fmla="*/ 2147483647 h 254"/>
              <a:gd name="T8" fmla="*/ 2147483647 w 159"/>
              <a:gd name="T9" fmla="*/ 2147483647 h 254"/>
              <a:gd name="T10" fmla="*/ 2147483647 w 159"/>
              <a:gd name="T11" fmla="*/ 2147483647 h 254"/>
              <a:gd name="T12" fmla="*/ 2147483647 w 159"/>
              <a:gd name="T13" fmla="*/ 2147483647 h 254"/>
              <a:gd name="T14" fmla="*/ 2147483647 w 159"/>
              <a:gd name="T15" fmla="*/ 2147483647 h 254"/>
              <a:gd name="T16" fmla="*/ 2147483647 w 159"/>
              <a:gd name="T17" fmla="*/ 2147483647 h 254"/>
              <a:gd name="T18" fmla="*/ 0 w 159"/>
              <a:gd name="T19" fmla="*/ 2147483647 h 254"/>
              <a:gd name="T20" fmla="*/ 2147483647 w 159"/>
              <a:gd name="T21" fmla="*/ 2147483647 h 254"/>
              <a:gd name="T22" fmla="*/ 2147483647 w 159"/>
              <a:gd name="T23" fmla="*/ 2147483647 h 254"/>
              <a:gd name="T24" fmla="*/ 2147483647 w 159"/>
              <a:gd name="T25" fmla="*/ 2147483647 h 254"/>
              <a:gd name="T26" fmla="*/ 2147483647 w 159"/>
              <a:gd name="T27" fmla="*/ 2147483647 h 254"/>
              <a:gd name="T28" fmla="*/ 2147483647 w 159"/>
              <a:gd name="T29" fmla="*/ 2147483647 h 254"/>
              <a:gd name="T30" fmla="*/ 2147483647 w 159"/>
              <a:gd name="T31" fmla="*/ 2147483647 h 254"/>
              <a:gd name="T32" fmla="*/ 2147483647 w 159"/>
              <a:gd name="T33" fmla="*/ 2147483647 h 254"/>
              <a:gd name="T34" fmla="*/ 2147483647 w 159"/>
              <a:gd name="T35" fmla="*/ 2147483647 h 254"/>
              <a:gd name="T36" fmla="*/ 2147483647 w 159"/>
              <a:gd name="T37" fmla="*/ 2147483647 h 254"/>
              <a:gd name="T38" fmla="*/ 2147483647 w 159"/>
              <a:gd name="T39" fmla="*/ 2147483647 h 254"/>
              <a:gd name="T40" fmla="*/ 2147483647 w 159"/>
              <a:gd name="T41" fmla="*/ 2147483647 h 254"/>
              <a:gd name="T42" fmla="*/ 2147483647 w 159"/>
              <a:gd name="T43" fmla="*/ 2147483647 h 254"/>
              <a:gd name="T44" fmla="*/ 2147483647 w 159"/>
              <a:gd name="T45" fmla="*/ 2147483647 h 254"/>
              <a:gd name="T46" fmla="*/ 2147483647 w 159"/>
              <a:gd name="T47" fmla="*/ 2147483647 h 254"/>
              <a:gd name="T48" fmla="*/ 2147483647 w 159"/>
              <a:gd name="T49" fmla="*/ 2147483647 h 254"/>
              <a:gd name="T50" fmla="*/ 2147483647 w 159"/>
              <a:gd name="T51" fmla="*/ 2147483647 h 254"/>
              <a:gd name="T52" fmla="*/ 2147483647 w 159"/>
              <a:gd name="T53" fmla="*/ 2147483647 h 254"/>
              <a:gd name="T54" fmla="*/ 2147483647 w 159"/>
              <a:gd name="T55" fmla="*/ 2147483647 h 254"/>
              <a:gd name="T56" fmla="*/ 2147483647 w 159"/>
              <a:gd name="T57" fmla="*/ 2147483647 h 254"/>
              <a:gd name="T58" fmla="*/ 2147483647 w 159"/>
              <a:gd name="T59" fmla="*/ 2147483647 h 254"/>
              <a:gd name="T60" fmla="*/ 2147483647 w 159"/>
              <a:gd name="T61" fmla="*/ 2147483647 h 254"/>
              <a:gd name="T62" fmla="*/ 2147483647 w 159"/>
              <a:gd name="T63" fmla="*/ 2147483647 h 254"/>
              <a:gd name="T64" fmla="*/ 2147483647 w 159"/>
              <a:gd name="T65" fmla="*/ 2147483647 h 254"/>
              <a:gd name="T66" fmla="*/ 2147483647 w 159"/>
              <a:gd name="T67" fmla="*/ 2147483647 h 254"/>
              <a:gd name="T68" fmla="*/ 2147483647 w 159"/>
              <a:gd name="T69" fmla="*/ 2147483647 h 254"/>
              <a:gd name="T70" fmla="*/ 2147483647 w 159"/>
              <a:gd name="T71" fmla="*/ 2147483647 h 254"/>
              <a:gd name="T72" fmla="*/ 2147483647 w 159"/>
              <a:gd name="T73" fmla="*/ 2147483647 h 254"/>
              <a:gd name="T74" fmla="*/ 2147483647 w 159"/>
              <a:gd name="T75" fmla="*/ 2147483647 h 254"/>
              <a:gd name="T76" fmla="*/ 2147483647 w 159"/>
              <a:gd name="T77" fmla="*/ 2147483647 h 254"/>
              <a:gd name="T78" fmla="*/ 2147483647 w 159"/>
              <a:gd name="T79" fmla="*/ 2147483647 h 254"/>
              <a:gd name="T80" fmla="*/ 2147483647 w 159"/>
              <a:gd name="T81" fmla="*/ 2147483647 h 254"/>
              <a:gd name="T82" fmla="*/ 2147483647 w 159"/>
              <a:gd name="T83" fmla="*/ 2147483647 h 254"/>
              <a:gd name="T84" fmla="*/ 2147483647 w 159"/>
              <a:gd name="T85" fmla="*/ 2147483647 h 254"/>
              <a:gd name="T86" fmla="*/ 2147483647 w 159"/>
              <a:gd name="T87" fmla="*/ 2147483647 h 254"/>
              <a:gd name="T88" fmla="*/ 2147483647 w 159"/>
              <a:gd name="T89" fmla="*/ 2147483647 h 254"/>
              <a:gd name="T90" fmla="*/ 2147483647 w 159"/>
              <a:gd name="T91" fmla="*/ 2147483647 h 254"/>
              <a:gd name="T92" fmla="*/ 2147483647 w 159"/>
              <a:gd name="T93" fmla="*/ 2147483647 h 254"/>
              <a:gd name="T94" fmla="*/ 2147483647 w 159"/>
              <a:gd name="T95" fmla="*/ 2147483647 h 254"/>
              <a:gd name="T96" fmla="*/ 2147483647 w 159"/>
              <a:gd name="T97" fmla="*/ 2147483647 h 254"/>
              <a:gd name="T98" fmla="*/ 2147483647 w 159"/>
              <a:gd name="T99" fmla="*/ 2147483647 h 254"/>
              <a:gd name="T100" fmla="*/ 2147483647 w 159"/>
              <a:gd name="T101" fmla="*/ 2147483647 h 254"/>
              <a:gd name="T102" fmla="*/ 2147483647 w 159"/>
              <a:gd name="T103" fmla="*/ 2147483647 h 254"/>
              <a:gd name="T104" fmla="*/ 2147483647 w 159"/>
              <a:gd name="T105" fmla="*/ 2147483647 h 254"/>
              <a:gd name="T106" fmla="*/ 2147483647 w 159"/>
              <a:gd name="T107" fmla="*/ 2147483647 h 254"/>
              <a:gd name="T108" fmla="*/ 2147483647 w 159"/>
              <a:gd name="T109" fmla="*/ 2147483647 h 254"/>
              <a:gd name="T110" fmla="*/ 2147483647 w 159"/>
              <a:gd name="T111" fmla="*/ 2147483647 h 254"/>
              <a:gd name="T112" fmla="*/ 2147483647 w 159"/>
              <a:gd name="T113" fmla="*/ 2147483647 h 254"/>
              <a:gd name="T114" fmla="*/ 2147483647 w 159"/>
              <a:gd name="T115" fmla="*/ 2147483647 h 254"/>
              <a:gd name="T116" fmla="*/ 2147483647 w 159"/>
              <a:gd name="T117" fmla="*/ 2147483647 h 254"/>
              <a:gd name="T118" fmla="*/ 2147483647 w 159"/>
              <a:gd name="T119" fmla="*/ 0 h 25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59"/>
              <a:gd name="T181" fmla="*/ 0 h 254"/>
              <a:gd name="T182" fmla="*/ 159 w 159"/>
              <a:gd name="T183" fmla="*/ 254 h 25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59" h="254">
                <a:moveTo>
                  <a:pt x="83" y="0"/>
                </a:moveTo>
                <a:lnTo>
                  <a:pt x="83" y="0"/>
                </a:lnTo>
                <a:lnTo>
                  <a:pt x="83" y="1"/>
                </a:lnTo>
                <a:lnTo>
                  <a:pt x="82" y="1"/>
                </a:lnTo>
                <a:lnTo>
                  <a:pt x="69" y="2"/>
                </a:lnTo>
                <a:lnTo>
                  <a:pt x="55" y="3"/>
                </a:lnTo>
                <a:lnTo>
                  <a:pt x="29" y="3"/>
                </a:lnTo>
                <a:lnTo>
                  <a:pt x="9" y="3"/>
                </a:lnTo>
                <a:lnTo>
                  <a:pt x="2" y="3"/>
                </a:lnTo>
                <a:lnTo>
                  <a:pt x="0" y="117"/>
                </a:lnTo>
                <a:lnTo>
                  <a:pt x="4" y="251"/>
                </a:lnTo>
                <a:lnTo>
                  <a:pt x="19" y="251"/>
                </a:lnTo>
                <a:lnTo>
                  <a:pt x="37" y="253"/>
                </a:lnTo>
                <a:lnTo>
                  <a:pt x="60" y="251"/>
                </a:lnTo>
                <a:lnTo>
                  <a:pt x="87" y="254"/>
                </a:lnTo>
                <a:lnTo>
                  <a:pt x="94" y="242"/>
                </a:lnTo>
                <a:lnTo>
                  <a:pt x="91" y="165"/>
                </a:lnTo>
                <a:lnTo>
                  <a:pt x="98" y="156"/>
                </a:lnTo>
                <a:lnTo>
                  <a:pt x="105" y="147"/>
                </a:lnTo>
                <a:lnTo>
                  <a:pt x="114" y="135"/>
                </a:lnTo>
                <a:lnTo>
                  <a:pt x="125" y="120"/>
                </a:lnTo>
                <a:lnTo>
                  <a:pt x="137" y="102"/>
                </a:lnTo>
                <a:lnTo>
                  <a:pt x="149" y="84"/>
                </a:lnTo>
                <a:lnTo>
                  <a:pt x="159" y="73"/>
                </a:lnTo>
                <a:lnTo>
                  <a:pt x="151" y="70"/>
                </a:lnTo>
                <a:lnTo>
                  <a:pt x="154" y="63"/>
                </a:lnTo>
                <a:lnTo>
                  <a:pt x="145" y="67"/>
                </a:lnTo>
                <a:lnTo>
                  <a:pt x="139" y="64"/>
                </a:lnTo>
                <a:lnTo>
                  <a:pt x="144" y="61"/>
                </a:lnTo>
                <a:lnTo>
                  <a:pt x="142" y="60"/>
                </a:lnTo>
                <a:lnTo>
                  <a:pt x="130" y="62"/>
                </a:lnTo>
                <a:lnTo>
                  <a:pt x="138" y="58"/>
                </a:lnTo>
                <a:lnTo>
                  <a:pt x="136" y="58"/>
                </a:lnTo>
                <a:lnTo>
                  <a:pt x="134" y="58"/>
                </a:lnTo>
                <a:lnTo>
                  <a:pt x="131" y="58"/>
                </a:lnTo>
                <a:lnTo>
                  <a:pt x="127" y="60"/>
                </a:lnTo>
                <a:lnTo>
                  <a:pt x="119" y="65"/>
                </a:lnTo>
                <a:lnTo>
                  <a:pt x="116" y="65"/>
                </a:lnTo>
                <a:lnTo>
                  <a:pt x="116" y="59"/>
                </a:lnTo>
                <a:lnTo>
                  <a:pt x="115" y="54"/>
                </a:lnTo>
                <a:lnTo>
                  <a:pt x="113" y="50"/>
                </a:lnTo>
                <a:lnTo>
                  <a:pt x="111" y="46"/>
                </a:lnTo>
                <a:lnTo>
                  <a:pt x="107" y="38"/>
                </a:lnTo>
                <a:lnTo>
                  <a:pt x="105" y="33"/>
                </a:lnTo>
                <a:lnTo>
                  <a:pt x="104" y="29"/>
                </a:lnTo>
                <a:lnTo>
                  <a:pt x="103" y="28"/>
                </a:lnTo>
                <a:lnTo>
                  <a:pt x="101" y="28"/>
                </a:lnTo>
                <a:lnTo>
                  <a:pt x="98" y="28"/>
                </a:lnTo>
                <a:lnTo>
                  <a:pt x="95" y="28"/>
                </a:lnTo>
                <a:lnTo>
                  <a:pt x="91" y="29"/>
                </a:lnTo>
                <a:lnTo>
                  <a:pt x="89" y="28"/>
                </a:lnTo>
                <a:lnTo>
                  <a:pt x="87" y="26"/>
                </a:lnTo>
                <a:lnTo>
                  <a:pt x="84" y="24"/>
                </a:lnTo>
                <a:lnTo>
                  <a:pt x="84" y="17"/>
                </a:lnTo>
                <a:lnTo>
                  <a:pt x="84" y="14"/>
                </a:lnTo>
                <a:lnTo>
                  <a:pt x="83" y="11"/>
                </a:lnTo>
                <a:lnTo>
                  <a:pt x="83" y="9"/>
                </a:lnTo>
                <a:lnTo>
                  <a:pt x="82" y="6"/>
                </a:lnTo>
                <a:lnTo>
                  <a:pt x="82" y="1"/>
                </a:lnTo>
                <a:lnTo>
                  <a:pt x="83" y="0"/>
                </a:lnTo>
                <a:close/>
              </a:path>
            </a:pathLst>
          </a:custGeom>
          <a:solidFill>
            <a:srgbClr val="003366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1" name="Freeform 5">
            <a:extLst>
              <a:ext uri="{FF2B5EF4-FFF2-40B4-BE49-F238E27FC236}">
                <a16:creationId xmlns:a16="http://schemas.microsoft.com/office/drawing/2014/main" id="{4B3F07D5-0C6B-832C-59CD-E46F85261D80}"/>
              </a:ext>
            </a:extLst>
          </p:cNvPr>
          <p:cNvSpPr>
            <a:spLocks/>
          </p:cNvSpPr>
          <p:nvPr/>
        </p:nvSpPr>
        <p:spPr bwMode="gray">
          <a:xfrm>
            <a:off x="2285999" y="2921001"/>
            <a:ext cx="594784" cy="613833"/>
          </a:xfrm>
          <a:custGeom>
            <a:avLst/>
            <a:gdLst>
              <a:gd name="T0" fmla="*/ 2147483647 w 306"/>
              <a:gd name="T1" fmla="*/ 0 h 316"/>
              <a:gd name="T2" fmla="*/ 2147483647 w 306"/>
              <a:gd name="T3" fmla="*/ 0 h 316"/>
              <a:gd name="T4" fmla="*/ 2147483647 w 306"/>
              <a:gd name="T5" fmla="*/ 2147483647 h 316"/>
              <a:gd name="T6" fmla="*/ 2147483647 w 306"/>
              <a:gd name="T7" fmla="*/ 2147483647 h 316"/>
              <a:gd name="T8" fmla="*/ 2147483647 w 306"/>
              <a:gd name="T9" fmla="*/ 2147483647 h 316"/>
              <a:gd name="T10" fmla="*/ 2147483647 w 306"/>
              <a:gd name="T11" fmla="*/ 2147483647 h 316"/>
              <a:gd name="T12" fmla="*/ 2147483647 w 306"/>
              <a:gd name="T13" fmla="*/ 2147483647 h 316"/>
              <a:gd name="T14" fmla="*/ 2147483647 w 306"/>
              <a:gd name="T15" fmla="*/ 2147483647 h 316"/>
              <a:gd name="T16" fmla="*/ 2147483647 w 306"/>
              <a:gd name="T17" fmla="*/ 2147483647 h 316"/>
              <a:gd name="T18" fmla="*/ 2147483647 w 306"/>
              <a:gd name="T19" fmla="*/ 2147483647 h 316"/>
              <a:gd name="T20" fmla="*/ 2147483647 w 306"/>
              <a:gd name="T21" fmla="*/ 2147483647 h 316"/>
              <a:gd name="T22" fmla="*/ 2147483647 w 306"/>
              <a:gd name="T23" fmla="*/ 2147483647 h 316"/>
              <a:gd name="T24" fmla="*/ 2147483647 w 306"/>
              <a:gd name="T25" fmla="*/ 2147483647 h 316"/>
              <a:gd name="T26" fmla="*/ 2147483647 w 306"/>
              <a:gd name="T27" fmla="*/ 2147483647 h 316"/>
              <a:gd name="T28" fmla="*/ 2147483647 w 306"/>
              <a:gd name="T29" fmla="*/ 2147483647 h 316"/>
              <a:gd name="T30" fmla="*/ 2147483647 w 306"/>
              <a:gd name="T31" fmla="*/ 2147483647 h 316"/>
              <a:gd name="T32" fmla="*/ 2147483647 w 306"/>
              <a:gd name="T33" fmla="*/ 2147483647 h 316"/>
              <a:gd name="T34" fmla="*/ 2147483647 w 306"/>
              <a:gd name="T35" fmla="*/ 2147483647 h 316"/>
              <a:gd name="T36" fmla="*/ 2147483647 w 306"/>
              <a:gd name="T37" fmla="*/ 2147483647 h 316"/>
              <a:gd name="T38" fmla="*/ 2147483647 w 306"/>
              <a:gd name="T39" fmla="*/ 2147483647 h 316"/>
              <a:gd name="T40" fmla="*/ 2147483647 w 306"/>
              <a:gd name="T41" fmla="*/ 2147483647 h 316"/>
              <a:gd name="T42" fmla="*/ 2147483647 w 306"/>
              <a:gd name="T43" fmla="*/ 2147483647 h 316"/>
              <a:gd name="T44" fmla="*/ 2147483647 w 306"/>
              <a:gd name="T45" fmla="*/ 2147483647 h 316"/>
              <a:gd name="T46" fmla="*/ 2147483647 w 306"/>
              <a:gd name="T47" fmla="*/ 2147483647 h 316"/>
              <a:gd name="T48" fmla="*/ 2147483647 w 306"/>
              <a:gd name="T49" fmla="*/ 2147483647 h 316"/>
              <a:gd name="T50" fmla="*/ 2147483647 w 306"/>
              <a:gd name="T51" fmla="*/ 2147483647 h 316"/>
              <a:gd name="T52" fmla="*/ 2147483647 w 306"/>
              <a:gd name="T53" fmla="*/ 2147483647 h 316"/>
              <a:gd name="T54" fmla="*/ 2147483647 w 306"/>
              <a:gd name="T55" fmla="*/ 2147483647 h 316"/>
              <a:gd name="T56" fmla="*/ 2147483647 w 306"/>
              <a:gd name="T57" fmla="*/ 2147483647 h 316"/>
              <a:gd name="T58" fmla="*/ 2147483647 w 306"/>
              <a:gd name="T59" fmla="*/ 2147483647 h 316"/>
              <a:gd name="T60" fmla="*/ 2147483647 w 306"/>
              <a:gd name="T61" fmla="*/ 2147483647 h 316"/>
              <a:gd name="T62" fmla="*/ 2147483647 w 306"/>
              <a:gd name="T63" fmla="*/ 2147483647 h 316"/>
              <a:gd name="T64" fmla="*/ 2147483647 w 306"/>
              <a:gd name="T65" fmla="*/ 2147483647 h 316"/>
              <a:gd name="T66" fmla="*/ 2147483647 w 306"/>
              <a:gd name="T67" fmla="*/ 2147483647 h 316"/>
              <a:gd name="T68" fmla="*/ 2147483647 w 306"/>
              <a:gd name="T69" fmla="*/ 2147483647 h 316"/>
              <a:gd name="T70" fmla="*/ 2147483647 w 306"/>
              <a:gd name="T71" fmla="*/ 2147483647 h 316"/>
              <a:gd name="T72" fmla="*/ 2147483647 w 306"/>
              <a:gd name="T73" fmla="*/ 2147483647 h 316"/>
              <a:gd name="T74" fmla="*/ 2147483647 w 306"/>
              <a:gd name="T75" fmla="*/ 2147483647 h 316"/>
              <a:gd name="T76" fmla="*/ 2147483647 w 306"/>
              <a:gd name="T77" fmla="*/ 2147483647 h 316"/>
              <a:gd name="T78" fmla="*/ 0 w 306"/>
              <a:gd name="T79" fmla="*/ 2147483647 h 316"/>
              <a:gd name="T80" fmla="*/ 2147483647 w 306"/>
              <a:gd name="T81" fmla="*/ 2147483647 h 316"/>
              <a:gd name="T82" fmla="*/ 2147483647 w 306"/>
              <a:gd name="T83" fmla="*/ 2147483647 h 316"/>
              <a:gd name="T84" fmla="*/ 2147483647 w 306"/>
              <a:gd name="T85" fmla="*/ 2147483647 h 316"/>
              <a:gd name="T86" fmla="*/ 2147483647 w 306"/>
              <a:gd name="T87" fmla="*/ 2147483647 h 316"/>
              <a:gd name="T88" fmla="*/ 2147483647 w 306"/>
              <a:gd name="T89" fmla="*/ 2147483647 h 316"/>
              <a:gd name="T90" fmla="*/ 2147483647 w 306"/>
              <a:gd name="T91" fmla="*/ 0 h 31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06"/>
              <a:gd name="T139" fmla="*/ 0 h 316"/>
              <a:gd name="T140" fmla="*/ 306 w 306"/>
              <a:gd name="T141" fmla="*/ 316 h 31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06" h="316">
                <a:moveTo>
                  <a:pt x="66" y="0"/>
                </a:moveTo>
                <a:lnTo>
                  <a:pt x="87" y="0"/>
                </a:lnTo>
                <a:lnTo>
                  <a:pt x="99" y="16"/>
                </a:lnTo>
                <a:lnTo>
                  <a:pt x="134" y="34"/>
                </a:lnTo>
                <a:lnTo>
                  <a:pt x="161" y="37"/>
                </a:lnTo>
                <a:lnTo>
                  <a:pt x="188" y="39"/>
                </a:lnTo>
                <a:lnTo>
                  <a:pt x="192" y="60"/>
                </a:lnTo>
                <a:lnTo>
                  <a:pt x="191" y="91"/>
                </a:lnTo>
                <a:lnTo>
                  <a:pt x="209" y="114"/>
                </a:lnTo>
                <a:lnTo>
                  <a:pt x="228" y="129"/>
                </a:lnTo>
                <a:lnTo>
                  <a:pt x="246" y="120"/>
                </a:lnTo>
                <a:lnTo>
                  <a:pt x="267" y="184"/>
                </a:lnTo>
                <a:lnTo>
                  <a:pt x="278" y="211"/>
                </a:lnTo>
                <a:lnTo>
                  <a:pt x="306" y="255"/>
                </a:lnTo>
                <a:lnTo>
                  <a:pt x="287" y="264"/>
                </a:lnTo>
                <a:lnTo>
                  <a:pt x="275" y="277"/>
                </a:lnTo>
                <a:lnTo>
                  <a:pt x="251" y="277"/>
                </a:lnTo>
                <a:lnTo>
                  <a:pt x="233" y="283"/>
                </a:lnTo>
                <a:lnTo>
                  <a:pt x="237" y="294"/>
                </a:lnTo>
                <a:lnTo>
                  <a:pt x="216" y="298"/>
                </a:lnTo>
                <a:lnTo>
                  <a:pt x="197" y="307"/>
                </a:lnTo>
                <a:lnTo>
                  <a:pt x="180" y="316"/>
                </a:lnTo>
                <a:lnTo>
                  <a:pt x="179" y="295"/>
                </a:lnTo>
                <a:lnTo>
                  <a:pt x="194" y="289"/>
                </a:lnTo>
                <a:lnTo>
                  <a:pt x="200" y="274"/>
                </a:lnTo>
                <a:lnTo>
                  <a:pt x="206" y="262"/>
                </a:lnTo>
                <a:lnTo>
                  <a:pt x="224" y="265"/>
                </a:lnTo>
                <a:lnTo>
                  <a:pt x="228" y="256"/>
                </a:lnTo>
                <a:lnTo>
                  <a:pt x="219" y="240"/>
                </a:lnTo>
                <a:lnTo>
                  <a:pt x="203" y="235"/>
                </a:lnTo>
                <a:lnTo>
                  <a:pt x="168" y="229"/>
                </a:lnTo>
                <a:lnTo>
                  <a:pt x="150" y="217"/>
                </a:lnTo>
                <a:lnTo>
                  <a:pt x="144" y="201"/>
                </a:lnTo>
                <a:lnTo>
                  <a:pt x="129" y="193"/>
                </a:lnTo>
                <a:lnTo>
                  <a:pt x="120" y="180"/>
                </a:lnTo>
                <a:lnTo>
                  <a:pt x="95" y="175"/>
                </a:lnTo>
                <a:lnTo>
                  <a:pt x="83" y="183"/>
                </a:lnTo>
                <a:lnTo>
                  <a:pt x="69" y="195"/>
                </a:lnTo>
                <a:lnTo>
                  <a:pt x="36" y="187"/>
                </a:lnTo>
                <a:lnTo>
                  <a:pt x="0" y="181"/>
                </a:lnTo>
                <a:lnTo>
                  <a:pt x="3" y="168"/>
                </a:lnTo>
                <a:lnTo>
                  <a:pt x="3" y="129"/>
                </a:lnTo>
                <a:lnTo>
                  <a:pt x="2" y="88"/>
                </a:lnTo>
                <a:lnTo>
                  <a:pt x="29" y="54"/>
                </a:lnTo>
                <a:lnTo>
                  <a:pt x="51" y="16"/>
                </a:lnTo>
                <a:lnTo>
                  <a:pt x="66" y="0"/>
                </a:lnTo>
                <a:close/>
              </a:path>
            </a:pathLst>
          </a:custGeom>
          <a:solidFill>
            <a:srgbClr val="003366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60960" tIns="0" rIns="60960" bIns="0" anchor="ctr"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2" name="Freeform 6">
            <a:extLst>
              <a:ext uri="{FF2B5EF4-FFF2-40B4-BE49-F238E27FC236}">
                <a16:creationId xmlns:a16="http://schemas.microsoft.com/office/drawing/2014/main" id="{813F74E9-5A8C-584F-7887-10AD0B81AB95}"/>
              </a:ext>
            </a:extLst>
          </p:cNvPr>
          <p:cNvSpPr>
            <a:spLocks/>
          </p:cNvSpPr>
          <p:nvPr/>
        </p:nvSpPr>
        <p:spPr bwMode="auto">
          <a:xfrm>
            <a:off x="4466168" y="2459567"/>
            <a:ext cx="319617" cy="165100"/>
          </a:xfrm>
          <a:custGeom>
            <a:avLst/>
            <a:gdLst>
              <a:gd name="T0" fmla="*/ 2147483647 w 166"/>
              <a:gd name="T1" fmla="*/ 2147483647 h 82"/>
              <a:gd name="T2" fmla="*/ 0 w 166"/>
              <a:gd name="T3" fmla="*/ 2147483647 h 82"/>
              <a:gd name="T4" fmla="*/ 2147483647 w 166"/>
              <a:gd name="T5" fmla="*/ 2147483647 h 82"/>
              <a:gd name="T6" fmla="*/ 2147483647 w 166"/>
              <a:gd name="T7" fmla="*/ 2147483647 h 82"/>
              <a:gd name="T8" fmla="*/ 2147483647 w 166"/>
              <a:gd name="T9" fmla="*/ 2147483647 h 82"/>
              <a:gd name="T10" fmla="*/ 2147483647 w 166"/>
              <a:gd name="T11" fmla="*/ 2147483647 h 82"/>
              <a:gd name="T12" fmla="*/ 2147483647 w 166"/>
              <a:gd name="T13" fmla="*/ 2147483647 h 82"/>
              <a:gd name="T14" fmla="*/ 2147483647 w 166"/>
              <a:gd name="T15" fmla="*/ 2147483647 h 82"/>
              <a:gd name="T16" fmla="*/ 2147483647 w 166"/>
              <a:gd name="T17" fmla="*/ 2147483647 h 82"/>
              <a:gd name="T18" fmla="*/ 2147483647 w 166"/>
              <a:gd name="T19" fmla="*/ 2147483647 h 82"/>
              <a:gd name="T20" fmla="*/ 2147483647 w 166"/>
              <a:gd name="T21" fmla="*/ 2147483647 h 82"/>
              <a:gd name="T22" fmla="*/ 2147483647 w 166"/>
              <a:gd name="T23" fmla="*/ 2147483647 h 82"/>
              <a:gd name="T24" fmla="*/ 2147483647 w 166"/>
              <a:gd name="T25" fmla="*/ 2147483647 h 82"/>
              <a:gd name="T26" fmla="*/ 2147483647 w 166"/>
              <a:gd name="T27" fmla="*/ 2147483647 h 82"/>
              <a:gd name="T28" fmla="*/ 2147483647 w 166"/>
              <a:gd name="T29" fmla="*/ 2147483647 h 82"/>
              <a:gd name="T30" fmla="*/ 2147483647 w 166"/>
              <a:gd name="T31" fmla="*/ 2147483647 h 82"/>
              <a:gd name="T32" fmla="*/ 2147483647 w 166"/>
              <a:gd name="T33" fmla="*/ 2147483647 h 82"/>
              <a:gd name="T34" fmla="*/ 2147483647 w 166"/>
              <a:gd name="T35" fmla="*/ 2147483647 h 82"/>
              <a:gd name="T36" fmla="*/ 2147483647 w 166"/>
              <a:gd name="T37" fmla="*/ 2147483647 h 82"/>
              <a:gd name="T38" fmla="*/ 2147483647 w 166"/>
              <a:gd name="T39" fmla="*/ 0 h 82"/>
              <a:gd name="T40" fmla="*/ 2147483647 w 166"/>
              <a:gd name="T41" fmla="*/ 2147483647 h 82"/>
              <a:gd name="T42" fmla="*/ 2147483647 w 166"/>
              <a:gd name="T43" fmla="*/ 2147483647 h 82"/>
              <a:gd name="T44" fmla="*/ 2147483647 w 166"/>
              <a:gd name="T45" fmla="*/ 2147483647 h 82"/>
              <a:gd name="T46" fmla="*/ 2147483647 w 166"/>
              <a:gd name="T47" fmla="*/ 2147483647 h 82"/>
              <a:gd name="T48" fmla="*/ 2147483647 w 166"/>
              <a:gd name="T49" fmla="*/ 2147483647 h 82"/>
              <a:gd name="T50" fmla="*/ 2147483647 w 166"/>
              <a:gd name="T51" fmla="*/ 2147483647 h 82"/>
              <a:gd name="T52" fmla="*/ 2147483647 w 166"/>
              <a:gd name="T53" fmla="*/ 2147483647 h 82"/>
              <a:gd name="T54" fmla="*/ 2147483647 w 166"/>
              <a:gd name="T55" fmla="*/ 2147483647 h 82"/>
              <a:gd name="T56" fmla="*/ 2147483647 w 166"/>
              <a:gd name="T57" fmla="*/ 2147483647 h 82"/>
              <a:gd name="T58" fmla="*/ 2147483647 w 166"/>
              <a:gd name="T59" fmla="*/ 2147483647 h 82"/>
              <a:gd name="T60" fmla="*/ 2147483647 w 166"/>
              <a:gd name="T61" fmla="*/ 2147483647 h 82"/>
              <a:gd name="T62" fmla="*/ 2147483647 w 166"/>
              <a:gd name="T63" fmla="*/ 2147483647 h 82"/>
              <a:gd name="T64" fmla="*/ 2147483647 w 166"/>
              <a:gd name="T65" fmla="*/ 2147483647 h 82"/>
              <a:gd name="T66" fmla="*/ 2147483647 w 166"/>
              <a:gd name="T67" fmla="*/ 2147483647 h 82"/>
              <a:gd name="T68" fmla="*/ 2147483647 w 166"/>
              <a:gd name="T69" fmla="*/ 2147483647 h 82"/>
              <a:gd name="T70" fmla="*/ 2147483647 w 166"/>
              <a:gd name="T71" fmla="*/ 2147483647 h 82"/>
              <a:gd name="T72" fmla="*/ 2147483647 w 166"/>
              <a:gd name="T73" fmla="*/ 2147483647 h 82"/>
              <a:gd name="T74" fmla="*/ 2147483647 w 166"/>
              <a:gd name="T75" fmla="*/ 2147483647 h 82"/>
              <a:gd name="T76" fmla="*/ 2147483647 w 166"/>
              <a:gd name="T77" fmla="*/ 2147483647 h 82"/>
              <a:gd name="T78" fmla="*/ 2147483647 w 166"/>
              <a:gd name="T79" fmla="*/ 2147483647 h 82"/>
              <a:gd name="T80" fmla="*/ 2147483647 w 166"/>
              <a:gd name="T81" fmla="*/ 2147483647 h 82"/>
              <a:gd name="T82" fmla="*/ 2147483647 w 166"/>
              <a:gd name="T83" fmla="*/ 2147483647 h 82"/>
              <a:gd name="T84" fmla="*/ 2147483647 w 166"/>
              <a:gd name="T85" fmla="*/ 2147483647 h 8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66"/>
              <a:gd name="T130" fmla="*/ 0 h 82"/>
              <a:gd name="T131" fmla="*/ 166 w 166"/>
              <a:gd name="T132" fmla="*/ 82 h 82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66" h="82">
                <a:moveTo>
                  <a:pt x="14" y="28"/>
                </a:moveTo>
                <a:lnTo>
                  <a:pt x="0" y="28"/>
                </a:lnTo>
                <a:lnTo>
                  <a:pt x="6" y="18"/>
                </a:lnTo>
                <a:lnTo>
                  <a:pt x="10" y="10"/>
                </a:lnTo>
                <a:lnTo>
                  <a:pt x="20" y="2"/>
                </a:lnTo>
                <a:lnTo>
                  <a:pt x="30" y="6"/>
                </a:lnTo>
                <a:lnTo>
                  <a:pt x="42" y="14"/>
                </a:lnTo>
                <a:lnTo>
                  <a:pt x="44" y="24"/>
                </a:lnTo>
                <a:lnTo>
                  <a:pt x="48" y="28"/>
                </a:lnTo>
                <a:lnTo>
                  <a:pt x="54" y="24"/>
                </a:lnTo>
                <a:lnTo>
                  <a:pt x="58" y="18"/>
                </a:lnTo>
                <a:lnTo>
                  <a:pt x="64" y="12"/>
                </a:lnTo>
                <a:lnTo>
                  <a:pt x="68" y="16"/>
                </a:lnTo>
                <a:lnTo>
                  <a:pt x="72" y="22"/>
                </a:lnTo>
                <a:lnTo>
                  <a:pt x="80" y="14"/>
                </a:lnTo>
                <a:lnTo>
                  <a:pt x="86" y="8"/>
                </a:lnTo>
                <a:lnTo>
                  <a:pt x="92" y="12"/>
                </a:lnTo>
                <a:lnTo>
                  <a:pt x="104" y="14"/>
                </a:lnTo>
                <a:lnTo>
                  <a:pt x="118" y="8"/>
                </a:lnTo>
                <a:lnTo>
                  <a:pt x="128" y="0"/>
                </a:lnTo>
                <a:lnTo>
                  <a:pt x="140" y="12"/>
                </a:lnTo>
                <a:lnTo>
                  <a:pt x="150" y="16"/>
                </a:lnTo>
                <a:lnTo>
                  <a:pt x="158" y="24"/>
                </a:lnTo>
                <a:lnTo>
                  <a:pt x="166" y="34"/>
                </a:lnTo>
                <a:lnTo>
                  <a:pt x="166" y="42"/>
                </a:lnTo>
                <a:lnTo>
                  <a:pt x="156" y="50"/>
                </a:lnTo>
                <a:lnTo>
                  <a:pt x="140" y="60"/>
                </a:lnTo>
                <a:lnTo>
                  <a:pt x="120" y="68"/>
                </a:lnTo>
                <a:lnTo>
                  <a:pt x="102" y="74"/>
                </a:lnTo>
                <a:lnTo>
                  <a:pt x="88" y="82"/>
                </a:lnTo>
                <a:lnTo>
                  <a:pt x="74" y="82"/>
                </a:lnTo>
                <a:lnTo>
                  <a:pt x="58" y="76"/>
                </a:lnTo>
                <a:lnTo>
                  <a:pt x="48" y="70"/>
                </a:lnTo>
                <a:lnTo>
                  <a:pt x="18" y="70"/>
                </a:lnTo>
                <a:lnTo>
                  <a:pt x="32" y="62"/>
                </a:lnTo>
                <a:lnTo>
                  <a:pt x="34" y="52"/>
                </a:lnTo>
                <a:lnTo>
                  <a:pt x="26" y="48"/>
                </a:lnTo>
                <a:lnTo>
                  <a:pt x="14" y="46"/>
                </a:lnTo>
                <a:lnTo>
                  <a:pt x="2" y="44"/>
                </a:lnTo>
                <a:lnTo>
                  <a:pt x="18" y="38"/>
                </a:lnTo>
                <a:lnTo>
                  <a:pt x="30" y="32"/>
                </a:lnTo>
                <a:lnTo>
                  <a:pt x="24" y="28"/>
                </a:lnTo>
                <a:lnTo>
                  <a:pt x="14" y="2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3" name="Freeform 7">
            <a:extLst>
              <a:ext uri="{FF2B5EF4-FFF2-40B4-BE49-F238E27FC236}">
                <a16:creationId xmlns:a16="http://schemas.microsoft.com/office/drawing/2014/main" id="{8F7F156B-8540-1C1C-CD0A-54BC3B9484A4}"/>
              </a:ext>
            </a:extLst>
          </p:cNvPr>
          <p:cNvSpPr>
            <a:spLocks/>
          </p:cNvSpPr>
          <p:nvPr/>
        </p:nvSpPr>
        <p:spPr bwMode="auto">
          <a:xfrm>
            <a:off x="2948518" y="1377952"/>
            <a:ext cx="1885951" cy="1401233"/>
          </a:xfrm>
          <a:custGeom>
            <a:avLst/>
            <a:gdLst>
              <a:gd name="T0" fmla="*/ 2147483647 w 962"/>
              <a:gd name="T1" fmla="*/ 2147483647 h 716"/>
              <a:gd name="T2" fmla="*/ 2147483647 w 962"/>
              <a:gd name="T3" fmla="*/ 2147483647 h 716"/>
              <a:gd name="T4" fmla="*/ 2147483647 w 962"/>
              <a:gd name="T5" fmla="*/ 2147483647 h 716"/>
              <a:gd name="T6" fmla="*/ 2147483647 w 962"/>
              <a:gd name="T7" fmla="*/ 2147483647 h 716"/>
              <a:gd name="T8" fmla="*/ 2147483647 w 962"/>
              <a:gd name="T9" fmla="*/ 2147483647 h 716"/>
              <a:gd name="T10" fmla="*/ 2147483647 w 962"/>
              <a:gd name="T11" fmla="*/ 2147483647 h 716"/>
              <a:gd name="T12" fmla="*/ 2147483647 w 962"/>
              <a:gd name="T13" fmla="*/ 2147483647 h 716"/>
              <a:gd name="T14" fmla="*/ 2147483647 w 962"/>
              <a:gd name="T15" fmla="*/ 2147483647 h 716"/>
              <a:gd name="T16" fmla="*/ 2147483647 w 962"/>
              <a:gd name="T17" fmla="*/ 2147483647 h 716"/>
              <a:gd name="T18" fmla="*/ 2147483647 w 962"/>
              <a:gd name="T19" fmla="*/ 2147483647 h 716"/>
              <a:gd name="T20" fmla="*/ 2147483647 w 962"/>
              <a:gd name="T21" fmla="*/ 2147483647 h 716"/>
              <a:gd name="T22" fmla="*/ 2147483647 w 962"/>
              <a:gd name="T23" fmla="*/ 2147483647 h 716"/>
              <a:gd name="T24" fmla="*/ 2147483647 w 962"/>
              <a:gd name="T25" fmla="*/ 2147483647 h 716"/>
              <a:gd name="T26" fmla="*/ 2147483647 w 962"/>
              <a:gd name="T27" fmla="*/ 2147483647 h 716"/>
              <a:gd name="T28" fmla="*/ 2147483647 w 962"/>
              <a:gd name="T29" fmla="*/ 2147483647 h 716"/>
              <a:gd name="T30" fmla="*/ 2147483647 w 962"/>
              <a:gd name="T31" fmla="*/ 2147483647 h 716"/>
              <a:gd name="T32" fmla="*/ 2147483647 w 962"/>
              <a:gd name="T33" fmla="*/ 2147483647 h 716"/>
              <a:gd name="T34" fmla="*/ 2147483647 w 962"/>
              <a:gd name="T35" fmla="*/ 2147483647 h 716"/>
              <a:gd name="T36" fmla="*/ 2147483647 w 962"/>
              <a:gd name="T37" fmla="*/ 2147483647 h 716"/>
              <a:gd name="T38" fmla="*/ 2147483647 w 962"/>
              <a:gd name="T39" fmla="*/ 2147483647 h 716"/>
              <a:gd name="T40" fmla="*/ 2147483647 w 962"/>
              <a:gd name="T41" fmla="*/ 2147483647 h 716"/>
              <a:gd name="T42" fmla="*/ 2147483647 w 962"/>
              <a:gd name="T43" fmla="*/ 2147483647 h 716"/>
              <a:gd name="T44" fmla="*/ 2147483647 w 962"/>
              <a:gd name="T45" fmla="*/ 2147483647 h 716"/>
              <a:gd name="T46" fmla="*/ 2147483647 w 962"/>
              <a:gd name="T47" fmla="*/ 2147483647 h 716"/>
              <a:gd name="T48" fmla="*/ 2147483647 w 962"/>
              <a:gd name="T49" fmla="*/ 2147483647 h 716"/>
              <a:gd name="T50" fmla="*/ 2147483647 w 962"/>
              <a:gd name="T51" fmla="*/ 2147483647 h 716"/>
              <a:gd name="T52" fmla="*/ 2147483647 w 962"/>
              <a:gd name="T53" fmla="*/ 2147483647 h 716"/>
              <a:gd name="T54" fmla="*/ 2147483647 w 962"/>
              <a:gd name="T55" fmla="*/ 2147483647 h 716"/>
              <a:gd name="T56" fmla="*/ 2147483647 w 962"/>
              <a:gd name="T57" fmla="*/ 2147483647 h 716"/>
              <a:gd name="T58" fmla="*/ 2147483647 w 962"/>
              <a:gd name="T59" fmla="*/ 2147483647 h 716"/>
              <a:gd name="T60" fmla="*/ 2147483647 w 962"/>
              <a:gd name="T61" fmla="*/ 2147483647 h 716"/>
              <a:gd name="T62" fmla="*/ 2147483647 w 962"/>
              <a:gd name="T63" fmla="*/ 2147483647 h 716"/>
              <a:gd name="T64" fmla="*/ 2147483647 w 962"/>
              <a:gd name="T65" fmla="*/ 2147483647 h 716"/>
              <a:gd name="T66" fmla="*/ 2147483647 w 962"/>
              <a:gd name="T67" fmla="*/ 2147483647 h 716"/>
              <a:gd name="T68" fmla="*/ 2147483647 w 962"/>
              <a:gd name="T69" fmla="*/ 0 h 716"/>
              <a:gd name="T70" fmla="*/ 2147483647 w 962"/>
              <a:gd name="T71" fmla="*/ 2147483647 h 716"/>
              <a:gd name="T72" fmla="*/ 2147483647 w 962"/>
              <a:gd name="T73" fmla="*/ 2147483647 h 716"/>
              <a:gd name="T74" fmla="*/ 2147483647 w 962"/>
              <a:gd name="T75" fmla="*/ 2147483647 h 716"/>
              <a:gd name="T76" fmla="*/ 2147483647 w 962"/>
              <a:gd name="T77" fmla="*/ 2147483647 h 716"/>
              <a:gd name="T78" fmla="*/ 2147483647 w 962"/>
              <a:gd name="T79" fmla="*/ 2147483647 h 716"/>
              <a:gd name="T80" fmla="*/ 2147483647 w 962"/>
              <a:gd name="T81" fmla="*/ 2147483647 h 716"/>
              <a:gd name="T82" fmla="*/ 2147483647 w 962"/>
              <a:gd name="T83" fmla="*/ 2147483647 h 716"/>
              <a:gd name="T84" fmla="*/ 2147483647 w 962"/>
              <a:gd name="T85" fmla="*/ 2147483647 h 716"/>
              <a:gd name="T86" fmla="*/ 2147483647 w 962"/>
              <a:gd name="T87" fmla="*/ 2147483647 h 716"/>
              <a:gd name="T88" fmla="*/ 2147483647 w 962"/>
              <a:gd name="T89" fmla="*/ 2147483647 h 716"/>
              <a:gd name="T90" fmla="*/ 2147483647 w 962"/>
              <a:gd name="T91" fmla="*/ 2147483647 h 716"/>
              <a:gd name="T92" fmla="*/ 2147483647 w 962"/>
              <a:gd name="T93" fmla="*/ 2147483647 h 716"/>
              <a:gd name="T94" fmla="*/ 2147483647 w 962"/>
              <a:gd name="T95" fmla="*/ 2147483647 h 716"/>
              <a:gd name="T96" fmla="*/ 2147483647 w 962"/>
              <a:gd name="T97" fmla="*/ 2147483647 h 716"/>
              <a:gd name="T98" fmla="*/ 2147483647 w 962"/>
              <a:gd name="T99" fmla="*/ 2147483647 h 716"/>
              <a:gd name="T100" fmla="*/ 2147483647 w 962"/>
              <a:gd name="T101" fmla="*/ 2147483647 h 716"/>
              <a:gd name="T102" fmla="*/ 2147483647 w 962"/>
              <a:gd name="T103" fmla="*/ 2147483647 h 716"/>
              <a:gd name="T104" fmla="*/ 2147483647 w 962"/>
              <a:gd name="T105" fmla="*/ 2147483647 h 716"/>
              <a:gd name="T106" fmla="*/ 2147483647 w 962"/>
              <a:gd name="T107" fmla="*/ 2147483647 h 716"/>
              <a:gd name="T108" fmla="*/ 2147483647 w 962"/>
              <a:gd name="T109" fmla="*/ 2147483647 h 716"/>
              <a:gd name="T110" fmla="*/ 2147483647 w 962"/>
              <a:gd name="T111" fmla="*/ 2147483647 h 716"/>
              <a:gd name="T112" fmla="*/ 2147483647 w 962"/>
              <a:gd name="T113" fmla="*/ 2147483647 h 716"/>
              <a:gd name="T114" fmla="*/ 2147483647 w 962"/>
              <a:gd name="T115" fmla="*/ 2147483647 h 716"/>
              <a:gd name="T116" fmla="*/ 2147483647 w 962"/>
              <a:gd name="T117" fmla="*/ 2147483647 h 71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962"/>
              <a:gd name="T178" fmla="*/ 0 h 716"/>
              <a:gd name="T179" fmla="*/ 962 w 962"/>
              <a:gd name="T180" fmla="*/ 716 h 71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962" h="716">
                <a:moveTo>
                  <a:pt x="790" y="462"/>
                </a:moveTo>
                <a:lnTo>
                  <a:pt x="752" y="484"/>
                </a:lnTo>
                <a:lnTo>
                  <a:pt x="736" y="496"/>
                </a:lnTo>
                <a:lnTo>
                  <a:pt x="676" y="508"/>
                </a:lnTo>
                <a:lnTo>
                  <a:pt x="658" y="512"/>
                </a:lnTo>
                <a:lnTo>
                  <a:pt x="646" y="506"/>
                </a:lnTo>
                <a:lnTo>
                  <a:pt x="642" y="514"/>
                </a:lnTo>
                <a:lnTo>
                  <a:pt x="628" y="526"/>
                </a:lnTo>
                <a:lnTo>
                  <a:pt x="608" y="552"/>
                </a:lnTo>
                <a:lnTo>
                  <a:pt x="582" y="564"/>
                </a:lnTo>
                <a:lnTo>
                  <a:pt x="560" y="572"/>
                </a:lnTo>
                <a:lnTo>
                  <a:pt x="546" y="572"/>
                </a:lnTo>
                <a:lnTo>
                  <a:pt x="524" y="576"/>
                </a:lnTo>
                <a:lnTo>
                  <a:pt x="518" y="582"/>
                </a:lnTo>
                <a:lnTo>
                  <a:pt x="518" y="588"/>
                </a:lnTo>
                <a:lnTo>
                  <a:pt x="510" y="592"/>
                </a:lnTo>
                <a:lnTo>
                  <a:pt x="512" y="606"/>
                </a:lnTo>
                <a:lnTo>
                  <a:pt x="504" y="612"/>
                </a:lnTo>
                <a:lnTo>
                  <a:pt x="508" y="620"/>
                </a:lnTo>
                <a:lnTo>
                  <a:pt x="502" y="636"/>
                </a:lnTo>
                <a:lnTo>
                  <a:pt x="486" y="648"/>
                </a:lnTo>
                <a:lnTo>
                  <a:pt x="474" y="650"/>
                </a:lnTo>
                <a:lnTo>
                  <a:pt x="480" y="658"/>
                </a:lnTo>
                <a:lnTo>
                  <a:pt x="482" y="664"/>
                </a:lnTo>
                <a:lnTo>
                  <a:pt x="476" y="686"/>
                </a:lnTo>
                <a:lnTo>
                  <a:pt x="462" y="716"/>
                </a:lnTo>
                <a:lnTo>
                  <a:pt x="444" y="714"/>
                </a:lnTo>
                <a:lnTo>
                  <a:pt x="428" y="702"/>
                </a:lnTo>
                <a:lnTo>
                  <a:pt x="426" y="690"/>
                </a:lnTo>
                <a:lnTo>
                  <a:pt x="416" y="694"/>
                </a:lnTo>
                <a:lnTo>
                  <a:pt x="406" y="694"/>
                </a:lnTo>
                <a:lnTo>
                  <a:pt x="390" y="700"/>
                </a:lnTo>
                <a:lnTo>
                  <a:pt x="374" y="672"/>
                </a:lnTo>
                <a:lnTo>
                  <a:pt x="356" y="654"/>
                </a:lnTo>
                <a:lnTo>
                  <a:pt x="362" y="644"/>
                </a:lnTo>
                <a:lnTo>
                  <a:pt x="348" y="634"/>
                </a:lnTo>
                <a:lnTo>
                  <a:pt x="348" y="618"/>
                </a:lnTo>
                <a:lnTo>
                  <a:pt x="360" y="604"/>
                </a:lnTo>
                <a:lnTo>
                  <a:pt x="354" y="594"/>
                </a:lnTo>
                <a:lnTo>
                  <a:pt x="340" y="600"/>
                </a:lnTo>
                <a:lnTo>
                  <a:pt x="324" y="588"/>
                </a:lnTo>
                <a:lnTo>
                  <a:pt x="312" y="572"/>
                </a:lnTo>
                <a:lnTo>
                  <a:pt x="304" y="560"/>
                </a:lnTo>
                <a:lnTo>
                  <a:pt x="312" y="546"/>
                </a:lnTo>
                <a:lnTo>
                  <a:pt x="316" y="540"/>
                </a:lnTo>
                <a:lnTo>
                  <a:pt x="304" y="540"/>
                </a:lnTo>
                <a:lnTo>
                  <a:pt x="302" y="528"/>
                </a:lnTo>
                <a:lnTo>
                  <a:pt x="312" y="516"/>
                </a:lnTo>
                <a:lnTo>
                  <a:pt x="318" y="516"/>
                </a:lnTo>
                <a:lnTo>
                  <a:pt x="336" y="520"/>
                </a:lnTo>
                <a:lnTo>
                  <a:pt x="342" y="522"/>
                </a:lnTo>
                <a:lnTo>
                  <a:pt x="346" y="522"/>
                </a:lnTo>
                <a:lnTo>
                  <a:pt x="348" y="520"/>
                </a:lnTo>
                <a:lnTo>
                  <a:pt x="344" y="500"/>
                </a:lnTo>
                <a:lnTo>
                  <a:pt x="344" y="478"/>
                </a:lnTo>
                <a:lnTo>
                  <a:pt x="356" y="466"/>
                </a:lnTo>
                <a:lnTo>
                  <a:pt x="352" y="456"/>
                </a:lnTo>
                <a:lnTo>
                  <a:pt x="330" y="456"/>
                </a:lnTo>
                <a:lnTo>
                  <a:pt x="310" y="444"/>
                </a:lnTo>
                <a:lnTo>
                  <a:pt x="296" y="436"/>
                </a:lnTo>
                <a:lnTo>
                  <a:pt x="318" y="434"/>
                </a:lnTo>
                <a:lnTo>
                  <a:pt x="342" y="442"/>
                </a:lnTo>
                <a:lnTo>
                  <a:pt x="344" y="430"/>
                </a:lnTo>
                <a:lnTo>
                  <a:pt x="330" y="414"/>
                </a:lnTo>
                <a:lnTo>
                  <a:pt x="320" y="410"/>
                </a:lnTo>
                <a:lnTo>
                  <a:pt x="304" y="400"/>
                </a:lnTo>
                <a:lnTo>
                  <a:pt x="296" y="412"/>
                </a:lnTo>
                <a:lnTo>
                  <a:pt x="274" y="414"/>
                </a:lnTo>
                <a:lnTo>
                  <a:pt x="274" y="398"/>
                </a:lnTo>
                <a:lnTo>
                  <a:pt x="288" y="378"/>
                </a:lnTo>
                <a:lnTo>
                  <a:pt x="264" y="332"/>
                </a:lnTo>
                <a:lnTo>
                  <a:pt x="238" y="306"/>
                </a:lnTo>
                <a:lnTo>
                  <a:pt x="228" y="294"/>
                </a:lnTo>
                <a:lnTo>
                  <a:pt x="226" y="284"/>
                </a:lnTo>
                <a:lnTo>
                  <a:pt x="196" y="274"/>
                </a:lnTo>
                <a:lnTo>
                  <a:pt x="148" y="262"/>
                </a:lnTo>
                <a:lnTo>
                  <a:pt x="138" y="266"/>
                </a:lnTo>
                <a:lnTo>
                  <a:pt x="118" y="274"/>
                </a:lnTo>
                <a:lnTo>
                  <a:pt x="106" y="264"/>
                </a:lnTo>
                <a:lnTo>
                  <a:pt x="100" y="272"/>
                </a:lnTo>
                <a:lnTo>
                  <a:pt x="94" y="276"/>
                </a:lnTo>
                <a:lnTo>
                  <a:pt x="76" y="272"/>
                </a:lnTo>
                <a:lnTo>
                  <a:pt x="52" y="262"/>
                </a:lnTo>
                <a:lnTo>
                  <a:pt x="68" y="256"/>
                </a:lnTo>
                <a:lnTo>
                  <a:pt x="76" y="252"/>
                </a:lnTo>
                <a:lnTo>
                  <a:pt x="62" y="250"/>
                </a:lnTo>
                <a:lnTo>
                  <a:pt x="42" y="250"/>
                </a:lnTo>
                <a:lnTo>
                  <a:pt x="24" y="240"/>
                </a:lnTo>
                <a:lnTo>
                  <a:pt x="30" y="234"/>
                </a:lnTo>
                <a:lnTo>
                  <a:pt x="60" y="234"/>
                </a:lnTo>
                <a:lnTo>
                  <a:pt x="100" y="230"/>
                </a:lnTo>
                <a:lnTo>
                  <a:pt x="102" y="222"/>
                </a:lnTo>
                <a:lnTo>
                  <a:pt x="84" y="222"/>
                </a:lnTo>
                <a:lnTo>
                  <a:pt x="62" y="224"/>
                </a:lnTo>
                <a:lnTo>
                  <a:pt x="40" y="220"/>
                </a:lnTo>
                <a:lnTo>
                  <a:pt x="8" y="206"/>
                </a:lnTo>
                <a:lnTo>
                  <a:pt x="0" y="196"/>
                </a:lnTo>
                <a:lnTo>
                  <a:pt x="8" y="188"/>
                </a:lnTo>
                <a:lnTo>
                  <a:pt x="32" y="184"/>
                </a:lnTo>
                <a:lnTo>
                  <a:pt x="58" y="180"/>
                </a:lnTo>
                <a:lnTo>
                  <a:pt x="76" y="170"/>
                </a:lnTo>
                <a:lnTo>
                  <a:pt x="106" y="170"/>
                </a:lnTo>
                <a:lnTo>
                  <a:pt x="122" y="156"/>
                </a:lnTo>
                <a:lnTo>
                  <a:pt x="124" y="134"/>
                </a:lnTo>
                <a:lnTo>
                  <a:pt x="112" y="140"/>
                </a:lnTo>
                <a:lnTo>
                  <a:pt x="82" y="128"/>
                </a:lnTo>
                <a:lnTo>
                  <a:pt x="102" y="114"/>
                </a:lnTo>
                <a:lnTo>
                  <a:pt x="128" y="102"/>
                </a:lnTo>
                <a:lnTo>
                  <a:pt x="160" y="92"/>
                </a:lnTo>
                <a:lnTo>
                  <a:pt x="184" y="100"/>
                </a:lnTo>
                <a:lnTo>
                  <a:pt x="190" y="80"/>
                </a:lnTo>
                <a:lnTo>
                  <a:pt x="182" y="70"/>
                </a:lnTo>
                <a:lnTo>
                  <a:pt x="212" y="66"/>
                </a:lnTo>
                <a:lnTo>
                  <a:pt x="222" y="76"/>
                </a:lnTo>
                <a:lnTo>
                  <a:pt x="238" y="80"/>
                </a:lnTo>
                <a:lnTo>
                  <a:pt x="230" y="68"/>
                </a:lnTo>
                <a:lnTo>
                  <a:pt x="226" y="62"/>
                </a:lnTo>
                <a:lnTo>
                  <a:pt x="224" y="60"/>
                </a:lnTo>
                <a:lnTo>
                  <a:pt x="224" y="58"/>
                </a:lnTo>
                <a:lnTo>
                  <a:pt x="296" y="50"/>
                </a:lnTo>
                <a:lnTo>
                  <a:pt x="304" y="70"/>
                </a:lnTo>
                <a:lnTo>
                  <a:pt x="316" y="66"/>
                </a:lnTo>
                <a:lnTo>
                  <a:pt x="312" y="48"/>
                </a:lnTo>
                <a:lnTo>
                  <a:pt x="344" y="66"/>
                </a:lnTo>
                <a:lnTo>
                  <a:pt x="366" y="66"/>
                </a:lnTo>
                <a:lnTo>
                  <a:pt x="350" y="56"/>
                </a:lnTo>
                <a:lnTo>
                  <a:pt x="358" y="44"/>
                </a:lnTo>
                <a:lnTo>
                  <a:pt x="374" y="44"/>
                </a:lnTo>
                <a:lnTo>
                  <a:pt x="404" y="56"/>
                </a:lnTo>
                <a:lnTo>
                  <a:pt x="442" y="74"/>
                </a:lnTo>
                <a:lnTo>
                  <a:pt x="450" y="68"/>
                </a:lnTo>
                <a:lnTo>
                  <a:pt x="400" y="40"/>
                </a:lnTo>
                <a:lnTo>
                  <a:pt x="422" y="34"/>
                </a:lnTo>
                <a:lnTo>
                  <a:pt x="424" y="24"/>
                </a:lnTo>
                <a:lnTo>
                  <a:pt x="450" y="16"/>
                </a:lnTo>
                <a:lnTo>
                  <a:pt x="478" y="14"/>
                </a:lnTo>
                <a:lnTo>
                  <a:pt x="510" y="18"/>
                </a:lnTo>
                <a:lnTo>
                  <a:pt x="534" y="16"/>
                </a:lnTo>
                <a:lnTo>
                  <a:pt x="562" y="4"/>
                </a:lnTo>
                <a:lnTo>
                  <a:pt x="618" y="0"/>
                </a:lnTo>
                <a:lnTo>
                  <a:pt x="680" y="0"/>
                </a:lnTo>
                <a:lnTo>
                  <a:pt x="716" y="4"/>
                </a:lnTo>
                <a:lnTo>
                  <a:pt x="746" y="12"/>
                </a:lnTo>
                <a:lnTo>
                  <a:pt x="756" y="18"/>
                </a:lnTo>
                <a:lnTo>
                  <a:pt x="760" y="24"/>
                </a:lnTo>
                <a:lnTo>
                  <a:pt x="814" y="38"/>
                </a:lnTo>
                <a:lnTo>
                  <a:pt x="800" y="48"/>
                </a:lnTo>
                <a:lnTo>
                  <a:pt x="738" y="56"/>
                </a:lnTo>
                <a:lnTo>
                  <a:pt x="676" y="58"/>
                </a:lnTo>
                <a:lnTo>
                  <a:pt x="668" y="70"/>
                </a:lnTo>
                <a:lnTo>
                  <a:pt x="694" y="64"/>
                </a:lnTo>
                <a:lnTo>
                  <a:pt x="754" y="66"/>
                </a:lnTo>
                <a:lnTo>
                  <a:pt x="740" y="76"/>
                </a:lnTo>
                <a:lnTo>
                  <a:pt x="726" y="80"/>
                </a:lnTo>
                <a:lnTo>
                  <a:pt x="734" y="82"/>
                </a:lnTo>
                <a:lnTo>
                  <a:pt x="760" y="76"/>
                </a:lnTo>
                <a:lnTo>
                  <a:pt x="774" y="68"/>
                </a:lnTo>
                <a:lnTo>
                  <a:pt x="782" y="58"/>
                </a:lnTo>
                <a:lnTo>
                  <a:pt x="800" y="58"/>
                </a:lnTo>
                <a:lnTo>
                  <a:pt x="806" y="66"/>
                </a:lnTo>
                <a:lnTo>
                  <a:pt x="806" y="82"/>
                </a:lnTo>
                <a:lnTo>
                  <a:pt x="774" y="104"/>
                </a:lnTo>
                <a:lnTo>
                  <a:pt x="770" y="114"/>
                </a:lnTo>
                <a:lnTo>
                  <a:pt x="792" y="102"/>
                </a:lnTo>
                <a:lnTo>
                  <a:pt x="820" y="86"/>
                </a:lnTo>
                <a:lnTo>
                  <a:pt x="836" y="74"/>
                </a:lnTo>
                <a:lnTo>
                  <a:pt x="868" y="84"/>
                </a:lnTo>
                <a:lnTo>
                  <a:pt x="884" y="68"/>
                </a:lnTo>
                <a:lnTo>
                  <a:pt x="914" y="66"/>
                </a:lnTo>
                <a:lnTo>
                  <a:pt x="946" y="70"/>
                </a:lnTo>
                <a:lnTo>
                  <a:pt x="962" y="80"/>
                </a:lnTo>
                <a:lnTo>
                  <a:pt x="948" y="90"/>
                </a:lnTo>
                <a:lnTo>
                  <a:pt x="922" y="98"/>
                </a:lnTo>
                <a:lnTo>
                  <a:pt x="916" y="106"/>
                </a:lnTo>
                <a:lnTo>
                  <a:pt x="906" y="110"/>
                </a:lnTo>
                <a:lnTo>
                  <a:pt x="872" y="110"/>
                </a:lnTo>
                <a:lnTo>
                  <a:pt x="852" y="116"/>
                </a:lnTo>
                <a:lnTo>
                  <a:pt x="870" y="120"/>
                </a:lnTo>
                <a:lnTo>
                  <a:pt x="896" y="122"/>
                </a:lnTo>
                <a:lnTo>
                  <a:pt x="888" y="130"/>
                </a:lnTo>
                <a:lnTo>
                  <a:pt x="850" y="128"/>
                </a:lnTo>
                <a:lnTo>
                  <a:pt x="832" y="132"/>
                </a:lnTo>
                <a:lnTo>
                  <a:pt x="840" y="140"/>
                </a:lnTo>
                <a:lnTo>
                  <a:pt x="866" y="138"/>
                </a:lnTo>
                <a:lnTo>
                  <a:pt x="876" y="138"/>
                </a:lnTo>
                <a:lnTo>
                  <a:pt x="868" y="146"/>
                </a:lnTo>
                <a:lnTo>
                  <a:pt x="844" y="152"/>
                </a:lnTo>
                <a:lnTo>
                  <a:pt x="842" y="170"/>
                </a:lnTo>
                <a:lnTo>
                  <a:pt x="822" y="180"/>
                </a:lnTo>
                <a:lnTo>
                  <a:pt x="812" y="208"/>
                </a:lnTo>
                <a:lnTo>
                  <a:pt x="822" y="210"/>
                </a:lnTo>
                <a:lnTo>
                  <a:pt x="848" y="212"/>
                </a:lnTo>
                <a:lnTo>
                  <a:pt x="836" y="220"/>
                </a:lnTo>
                <a:lnTo>
                  <a:pt x="836" y="224"/>
                </a:lnTo>
                <a:lnTo>
                  <a:pt x="838" y="226"/>
                </a:lnTo>
                <a:lnTo>
                  <a:pt x="840" y="228"/>
                </a:lnTo>
                <a:lnTo>
                  <a:pt x="854" y="234"/>
                </a:lnTo>
                <a:lnTo>
                  <a:pt x="868" y="238"/>
                </a:lnTo>
                <a:lnTo>
                  <a:pt x="864" y="250"/>
                </a:lnTo>
                <a:lnTo>
                  <a:pt x="860" y="258"/>
                </a:lnTo>
                <a:lnTo>
                  <a:pt x="858" y="260"/>
                </a:lnTo>
                <a:lnTo>
                  <a:pt x="846" y="252"/>
                </a:lnTo>
                <a:lnTo>
                  <a:pt x="836" y="244"/>
                </a:lnTo>
                <a:lnTo>
                  <a:pt x="814" y="248"/>
                </a:lnTo>
                <a:lnTo>
                  <a:pt x="814" y="262"/>
                </a:lnTo>
                <a:lnTo>
                  <a:pt x="834" y="268"/>
                </a:lnTo>
                <a:lnTo>
                  <a:pt x="850" y="280"/>
                </a:lnTo>
                <a:lnTo>
                  <a:pt x="848" y="296"/>
                </a:lnTo>
                <a:lnTo>
                  <a:pt x="828" y="298"/>
                </a:lnTo>
                <a:lnTo>
                  <a:pt x="840" y="312"/>
                </a:lnTo>
                <a:lnTo>
                  <a:pt x="846" y="320"/>
                </a:lnTo>
                <a:lnTo>
                  <a:pt x="850" y="324"/>
                </a:lnTo>
                <a:lnTo>
                  <a:pt x="850" y="328"/>
                </a:lnTo>
                <a:lnTo>
                  <a:pt x="838" y="334"/>
                </a:lnTo>
                <a:lnTo>
                  <a:pt x="826" y="336"/>
                </a:lnTo>
                <a:lnTo>
                  <a:pt x="830" y="350"/>
                </a:lnTo>
                <a:lnTo>
                  <a:pt x="812" y="356"/>
                </a:lnTo>
                <a:lnTo>
                  <a:pt x="790" y="356"/>
                </a:lnTo>
                <a:lnTo>
                  <a:pt x="768" y="354"/>
                </a:lnTo>
                <a:lnTo>
                  <a:pt x="756" y="360"/>
                </a:lnTo>
                <a:lnTo>
                  <a:pt x="768" y="372"/>
                </a:lnTo>
                <a:lnTo>
                  <a:pt x="800" y="372"/>
                </a:lnTo>
                <a:lnTo>
                  <a:pt x="804" y="382"/>
                </a:lnTo>
                <a:lnTo>
                  <a:pt x="800" y="400"/>
                </a:lnTo>
                <a:lnTo>
                  <a:pt x="782" y="386"/>
                </a:lnTo>
                <a:lnTo>
                  <a:pt x="774" y="386"/>
                </a:lnTo>
                <a:lnTo>
                  <a:pt x="776" y="392"/>
                </a:lnTo>
                <a:lnTo>
                  <a:pt x="804" y="410"/>
                </a:lnTo>
                <a:lnTo>
                  <a:pt x="810" y="446"/>
                </a:lnTo>
                <a:lnTo>
                  <a:pt x="790" y="444"/>
                </a:lnTo>
                <a:lnTo>
                  <a:pt x="770" y="430"/>
                </a:lnTo>
                <a:lnTo>
                  <a:pt x="756" y="416"/>
                </a:lnTo>
                <a:lnTo>
                  <a:pt x="750" y="414"/>
                </a:lnTo>
                <a:lnTo>
                  <a:pt x="750" y="432"/>
                </a:lnTo>
                <a:lnTo>
                  <a:pt x="756" y="446"/>
                </a:lnTo>
                <a:lnTo>
                  <a:pt x="778" y="452"/>
                </a:lnTo>
                <a:lnTo>
                  <a:pt x="804" y="454"/>
                </a:lnTo>
                <a:lnTo>
                  <a:pt x="790" y="46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Freeform 8">
            <a:extLst>
              <a:ext uri="{FF2B5EF4-FFF2-40B4-BE49-F238E27FC236}">
                <a16:creationId xmlns:a16="http://schemas.microsoft.com/office/drawing/2014/main" id="{81A6CFCA-DF20-C2CA-2918-4E462DB2C1CE}"/>
              </a:ext>
            </a:extLst>
          </p:cNvPr>
          <p:cNvSpPr>
            <a:spLocks/>
          </p:cNvSpPr>
          <p:nvPr/>
        </p:nvSpPr>
        <p:spPr bwMode="auto">
          <a:xfrm>
            <a:off x="1555751" y="3862918"/>
            <a:ext cx="958851" cy="599017"/>
          </a:xfrm>
          <a:custGeom>
            <a:avLst/>
            <a:gdLst>
              <a:gd name="T0" fmla="*/ 2147483647 w 482"/>
              <a:gd name="T1" fmla="*/ 2147483647 h 306"/>
              <a:gd name="T2" fmla="*/ 2147483647 w 482"/>
              <a:gd name="T3" fmla="*/ 2147483647 h 306"/>
              <a:gd name="T4" fmla="*/ 2147483647 w 482"/>
              <a:gd name="T5" fmla="*/ 2147483647 h 306"/>
              <a:gd name="T6" fmla="*/ 2147483647 w 482"/>
              <a:gd name="T7" fmla="*/ 2147483647 h 306"/>
              <a:gd name="T8" fmla="*/ 2147483647 w 482"/>
              <a:gd name="T9" fmla="*/ 2147483647 h 306"/>
              <a:gd name="T10" fmla="*/ 2147483647 w 482"/>
              <a:gd name="T11" fmla="*/ 2147483647 h 306"/>
              <a:gd name="T12" fmla="*/ 2147483647 w 482"/>
              <a:gd name="T13" fmla="*/ 2147483647 h 306"/>
              <a:gd name="T14" fmla="*/ 2147483647 w 482"/>
              <a:gd name="T15" fmla="*/ 2147483647 h 306"/>
              <a:gd name="T16" fmla="*/ 2147483647 w 482"/>
              <a:gd name="T17" fmla="*/ 2147483647 h 306"/>
              <a:gd name="T18" fmla="*/ 2147483647 w 482"/>
              <a:gd name="T19" fmla="*/ 2147483647 h 306"/>
              <a:gd name="T20" fmla="*/ 2147483647 w 482"/>
              <a:gd name="T21" fmla="*/ 2147483647 h 306"/>
              <a:gd name="T22" fmla="*/ 2147483647 w 482"/>
              <a:gd name="T23" fmla="*/ 2147483647 h 306"/>
              <a:gd name="T24" fmla="*/ 2147483647 w 482"/>
              <a:gd name="T25" fmla="*/ 2147483647 h 306"/>
              <a:gd name="T26" fmla="*/ 2147483647 w 482"/>
              <a:gd name="T27" fmla="*/ 2147483647 h 306"/>
              <a:gd name="T28" fmla="*/ 2147483647 w 482"/>
              <a:gd name="T29" fmla="*/ 2147483647 h 306"/>
              <a:gd name="T30" fmla="*/ 2147483647 w 482"/>
              <a:gd name="T31" fmla="*/ 2147483647 h 306"/>
              <a:gd name="T32" fmla="*/ 2147483647 w 482"/>
              <a:gd name="T33" fmla="*/ 2147483647 h 306"/>
              <a:gd name="T34" fmla="*/ 2147483647 w 482"/>
              <a:gd name="T35" fmla="*/ 2147483647 h 306"/>
              <a:gd name="T36" fmla="*/ 2147483647 w 482"/>
              <a:gd name="T37" fmla="*/ 2147483647 h 306"/>
              <a:gd name="T38" fmla="*/ 2147483647 w 482"/>
              <a:gd name="T39" fmla="*/ 2147483647 h 306"/>
              <a:gd name="T40" fmla="*/ 2147483647 w 482"/>
              <a:gd name="T41" fmla="*/ 2147483647 h 306"/>
              <a:gd name="T42" fmla="*/ 2147483647 w 482"/>
              <a:gd name="T43" fmla="*/ 2147483647 h 306"/>
              <a:gd name="T44" fmla="*/ 2147483647 w 482"/>
              <a:gd name="T45" fmla="*/ 2147483647 h 306"/>
              <a:gd name="T46" fmla="*/ 2147483647 w 482"/>
              <a:gd name="T47" fmla="*/ 2147483647 h 306"/>
              <a:gd name="T48" fmla="*/ 2147483647 w 482"/>
              <a:gd name="T49" fmla="*/ 2147483647 h 306"/>
              <a:gd name="T50" fmla="*/ 2147483647 w 482"/>
              <a:gd name="T51" fmla="*/ 2147483647 h 306"/>
              <a:gd name="T52" fmla="*/ 2147483647 w 482"/>
              <a:gd name="T53" fmla="*/ 2147483647 h 306"/>
              <a:gd name="T54" fmla="*/ 2147483647 w 482"/>
              <a:gd name="T55" fmla="*/ 2147483647 h 306"/>
              <a:gd name="T56" fmla="*/ 2147483647 w 482"/>
              <a:gd name="T57" fmla="*/ 2147483647 h 306"/>
              <a:gd name="T58" fmla="*/ 2147483647 w 482"/>
              <a:gd name="T59" fmla="*/ 2147483647 h 306"/>
              <a:gd name="T60" fmla="*/ 2147483647 w 482"/>
              <a:gd name="T61" fmla="*/ 2147483647 h 306"/>
              <a:gd name="T62" fmla="*/ 2147483647 w 482"/>
              <a:gd name="T63" fmla="*/ 2147483647 h 306"/>
              <a:gd name="T64" fmla="*/ 2147483647 w 482"/>
              <a:gd name="T65" fmla="*/ 2147483647 h 306"/>
              <a:gd name="T66" fmla="*/ 2147483647 w 482"/>
              <a:gd name="T67" fmla="*/ 2147483647 h 306"/>
              <a:gd name="T68" fmla="*/ 2147483647 w 482"/>
              <a:gd name="T69" fmla="*/ 2147483647 h 306"/>
              <a:gd name="T70" fmla="*/ 2147483647 w 482"/>
              <a:gd name="T71" fmla="*/ 2147483647 h 306"/>
              <a:gd name="T72" fmla="*/ 2147483647 w 482"/>
              <a:gd name="T73" fmla="*/ 2147483647 h 306"/>
              <a:gd name="T74" fmla="*/ 2147483647 w 482"/>
              <a:gd name="T75" fmla="*/ 2147483647 h 306"/>
              <a:gd name="T76" fmla="*/ 2147483647 w 482"/>
              <a:gd name="T77" fmla="*/ 2147483647 h 306"/>
              <a:gd name="T78" fmla="*/ 2147483647 w 482"/>
              <a:gd name="T79" fmla="*/ 2147483647 h 306"/>
              <a:gd name="T80" fmla="*/ 2147483647 w 482"/>
              <a:gd name="T81" fmla="*/ 2147483647 h 306"/>
              <a:gd name="T82" fmla="*/ 2147483647 w 482"/>
              <a:gd name="T83" fmla="*/ 2147483647 h 306"/>
              <a:gd name="T84" fmla="*/ 2147483647 w 482"/>
              <a:gd name="T85" fmla="*/ 2147483647 h 306"/>
              <a:gd name="T86" fmla="*/ 2147483647 w 482"/>
              <a:gd name="T87" fmla="*/ 2147483647 h 306"/>
              <a:gd name="T88" fmla="*/ 2147483647 w 482"/>
              <a:gd name="T89" fmla="*/ 2147483647 h 306"/>
              <a:gd name="T90" fmla="*/ 2147483647 w 482"/>
              <a:gd name="T91" fmla="*/ 2147483647 h 306"/>
              <a:gd name="T92" fmla="*/ 2147483647 w 482"/>
              <a:gd name="T93" fmla="*/ 2147483647 h 30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82"/>
              <a:gd name="T142" fmla="*/ 0 h 306"/>
              <a:gd name="T143" fmla="*/ 482 w 482"/>
              <a:gd name="T144" fmla="*/ 306 h 30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82" h="306">
                <a:moveTo>
                  <a:pt x="0" y="2"/>
                </a:moveTo>
                <a:lnTo>
                  <a:pt x="32" y="0"/>
                </a:lnTo>
                <a:lnTo>
                  <a:pt x="76" y="18"/>
                </a:lnTo>
                <a:lnTo>
                  <a:pt x="92" y="24"/>
                </a:lnTo>
                <a:lnTo>
                  <a:pt x="138" y="24"/>
                </a:lnTo>
                <a:lnTo>
                  <a:pt x="146" y="18"/>
                </a:lnTo>
                <a:lnTo>
                  <a:pt x="166" y="14"/>
                </a:lnTo>
                <a:lnTo>
                  <a:pt x="186" y="30"/>
                </a:lnTo>
                <a:lnTo>
                  <a:pt x="196" y="38"/>
                </a:lnTo>
                <a:lnTo>
                  <a:pt x="198" y="54"/>
                </a:lnTo>
                <a:lnTo>
                  <a:pt x="214" y="64"/>
                </a:lnTo>
                <a:lnTo>
                  <a:pt x="226" y="62"/>
                </a:lnTo>
                <a:lnTo>
                  <a:pt x="228" y="52"/>
                </a:lnTo>
                <a:lnTo>
                  <a:pt x="236" y="48"/>
                </a:lnTo>
                <a:lnTo>
                  <a:pt x="258" y="58"/>
                </a:lnTo>
                <a:lnTo>
                  <a:pt x="264" y="72"/>
                </a:lnTo>
                <a:lnTo>
                  <a:pt x="274" y="84"/>
                </a:lnTo>
                <a:lnTo>
                  <a:pt x="282" y="96"/>
                </a:lnTo>
                <a:lnTo>
                  <a:pt x="290" y="108"/>
                </a:lnTo>
                <a:lnTo>
                  <a:pt x="306" y="114"/>
                </a:lnTo>
                <a:lnTo>
                  <a:pt x="318" y="116"/>
                </a:lnTo>
                <a:lnTo>
                  <a:pt x="314" y="124"/>
                </a:lnTo>
                <a:lnTo>
                  <a:pt x="310" y="136"/>
                </a:lnTo>
                <a:lnTo>
                  <a:pt x="308" y="152"/>
                </a:lnTo>
                <a:lnTo>
                  <a:pt x="308" y="162"/>
                </a:lnTo>
                <a:lnTo>
                  <a:pt x="308" y="174"/>
                </a:lnTo>
                <a:lnTo>
                  <a:pt x="312" y="192"/>
                </a:lnTo>
                <a:lnTo>
                  <a:pt x="322" y="210"/>
                </a:lnTo>
                <a:lnTo>
                  <a:pt x="330" y="222"/>
                </a:lnTo>
                <a:lnTo>
                  <a:pt x="338" y="234"/>
                </a:lnTo>
                <a:lnTo>
                  <a:pt x="348" y="240"/>
                </a:lnTo>
                <a:lnTo>
                  <a:pt x="360" y="244"/>
                </a:lnTo>
                <a:lnTo>
                  <a:pt x="376" y="244"/>
                </a:lnTo>
                <a:lnTo>
                  <a:pt x="396" y="240"/>
                </a:lnTo>
                <a:lnTo>
                  <a:pt x="416" y="236"/>
                </a:lnTo>
                <a:lnTo>
                  <a:pt x="424" y="220"/>
                </a:lnTo>
                <a:lnTo>
                  <a:pt x="424" y="210"/>
                </a:lnTo>
                <a:lnTo>
                  <a:pt x="428" y="200"/>
                </a:lnTo>
                <a:lnTo>
                  <a:pt x="442" y="192"/>
                </a:lnTo>
                <a:lnTo>
                  <a:pt x="452" y="192"/>
                </a:lnTo>
                <a:lnTo>
                  <a:pt x="470" y="192"/>
                </a:lnTo>
                <a:lnTo>
                  <a:pt x="482" y="194"/>
                </a:lnTo>
                <a:lnTo>
                  <a:pt x="478" y="206"/>
                </a:lnTo>
                <a:lnTo>
                  <a:pt x="472" y="214"/>
                </a:lnTo>
                <a:lnTo>
                  <a:pt x="470" y="220"/>
                </a:lnTo>
                <a:lnTo>
                  <a:pt x="468" y="232"/>
                </a:lnTo>
                <a:lnTo>
                  <a:pt x="468" y="244"/>
                </a:lnTo>
                <a:lnTo>
                  <a:pt x="464" y="246"/>
                </a:lnTo>
                <a:lnTo>
                  <a:pt x="460" y="240"/>
                </a:lnTo>
                <a:lnTo>
                  <a:pt x="456" y="242"/>
                </a:lnTo>
                <a:lnTo>
                  <a:pt x="452" y="246"/>
                </a:lnTo>
                <a:lnTo>
                  <a:pt x="446" y="252"/>
                </a:lnTo>
                <a:lnTo>
                  <a:pt x="434" y="252"/>
                </a:lnTo>
                <a:lnTo>
                  <a:pt x="416" y="254"/>
                </a:lnTo>
                <a:lnTo>
                  <a:pt x="414" y="258"/>
                </a:lnTo>
                <a:lnTo>
                  <a:pt x="416" y="266"/>
                </a:lnTo>
                <a:lnTo>
                  <a:pt x="424" y="272"/>
                </a:lnTo>
                <a:lnTo>
                  <a:pt x="428" y="278"/>
                </a:lnTo>
                <a:lnTo>
                  <a:pt x="424" y="280"/>
                </a:lnTo>
                <a:lnTo>
                  <a:pt x="412" y="282"/>
                </a:lnTo>
                <a:lnTo>
                  <a:pt x="408" y="280"/>
                </a:lnTo>
                <a:lnTo>
                  <a:pt x="406" y="284"/>
                </a:lnTo>
                <a:lnTo>
                  <a:pt x="402" y="288"/>
                </a:lnTo>
                <a:lnTo>
                  <a:pt x="400" y="294"/>
                </a:lnTo>
                <a:lnTo>
                  <a:pt x="398" y="306"/>
                </a:lnTo>
                <a:lnTo>
                  <a:pt x="392" y="300"/>
                </a:lnTo>
                <a:lnTo>
                  <a:pt x="382" y="290"/>
                </a:lnTo>
                <a:lnTo>
                  <a:pt x="372" y="284"/>
                </a:lnTo>
                <a:lnTo>
                  <a:pt x="364" y="280"/>
                </a:lnTo>
                <a:lnTo>
                  <a:pt x="356" y="278"/>
                </a:lnTo>
                <a:lnTo>
                  <a:pt x="346" y="280"/>
                </a:lnTo>
                <a:lnTo>
                  <a:pt x="338" y="284"/>
                </a:lnTo>
                <a:lnTo>
                  <a:pt x="328" y="286"/>
                </a:lnTo>
                <a:lnTo>
                  <a:pt x="312" y="282"/>
                </a:lnTo>
                <a:lnTo>
                  <a:pt x="298" y="276"/>
                </a:lnTo>
                <a:lnTo>
                  <a:pt x="282" y="270"/>
                </a:lnTo>
                <a:lnTo>
                  <a:pt x="264" y="264"/>
                </a:lnTo>
                <a:lnTo>
                  <a:pt x="254" y="260"/>
                </a:lnTo>
                <a:lnTo>
                  <a:pt x="246" y="248"/>
                </a:lnTo>
                <a:lnTo>
                  <a:pt x="232" y="248"/>
                </a:lnTo>
                <a:lnTo>
                  <a:pt x="218" y="240"/>
                </a:lnTo>
                <a:lnTo>
                  <a:pt x="204" y="232"/>
                </a:lnTo>
                <a:lnTo>
                  <a:pt x="192" y="222"/>
                </a:lnTo>
                <a:lnTo>
                  <a:pt x="186" y="212"/>
                </a:lnTo>
                <a:lnTo>
                  <a:pt x="186" y="202"/>
                </a:lnTo>
                <a:lnTo>
                  <a:pt x="192" y="196"/>
                </a:lnTo>
                <a:lnTo>
                  <a:pt x="192" y="186"/>
                </a:lnTo>
                <a:lnTo>
                  <a:pt x="178" y="168"/>
                </a:lnTo>
                <a:lnTo>
                  <a:pt x="168" y="156"/>
                </a:lnTo>
                <a:lnTo>
                  <a:pt x="156" y="146"/>
                </a:lnTo>
                <a:lnTo>
                  <a:pt x="146" y="134"/>
                </a:lnTo>
                <a:lnTo>
                  <a:pt x="134" y="126"/>
                </a:lnTo>
                <a:lnTo>
                  <a:pt x="126" y="120"/>
                </a:lnTo>
                <a:lnTo>
                  <a:pt x="126" y="106"/>
                </a:lnTo>
                <a:lnTo>
                  <a:pt x="110" y="96"/>
                </a:lnTo>
                <a:lnTo>
                  <a:pt x="100" y="86"/>
                </a:lnTo>
                <a:lnTo>
                  <a:pt x="88" y="70"/>
                </a:lnTo>
                <a:lnTo>
                  <a:pt x="78" y="60"/>
                </a:lnTo>
                <a:lnTo>
                  <a:pt x="72" y="48"/>
                </a:lnTo>
                <a:lnTo>
                  <a:pt x="66" y="34"/>
                </a:lnTo>
                <a:lnTo>
                  <a:pt x="64" y="28"/>
                </a:lnTo>
                <a:lnTo>
                  <a:pt x="50" y="20"/>
                </a:lnTo>
                <a:lnTo>
                  <a:pt x="38" y="20"/>
                </a:lnTo>
                <a:lnTo>
                  <a:pt x="36" y="26"/>
                </a:lnTo>
                <a:lnTo>
                  <a:pt x="40" y="38"/>
                </a:lnTo>
                <a:lnTo>
                  <a:pt x="46" y="52"/>
                </a:lnTo>
                <a:lnTo>
                  <a:pt x="56" y="62"/>
                </a:lnTo>
                <a:lnTo>
                  <a:pt x="64" y="76"/>
                </a:lnTo>
                <a:lnTo>
                  <a:pt x="72" y="86"/>
                </a:lnTo>
                <a:lnTo>
                  <a:pt x="80" y="96"/>
                </a:lnTo>
                <a:lnTo>
                  <a:pt x="90" y="108"/>
                </a:lnTo>
                <a:lnTo>
                  <a:pt x="98" y="124"/>
                </a:lnTo>
                <a:lnTo>
                  <a:pt x="104" y="136"/>
                </a:lnTo>
                <a:lnTo>
                  <a:pt x="106" y="146"/>
                </a:lnTo>
                <a:lnTo>
                  <a:pt x="114" y="146"/>
                </a:lnTo>
                <a:lnTo>
                  <a:pt x="118" y="152"/>
                </a:lnTo>
                <a:lnTo>
                  <a:pt x="120" y="156"/>
                </a:lnTo>
                <a:lnTo>
                  <a:pt x="122" y="166"/>
                </a:lnTo>
                <a:lnTo>
                  <a:pt x="114" y="170"/>
                </a:lnTo>
                <a:lnTo>
                  <a:pt x="108" y="158"/>
                </a:lnTo>
                <a:lnTo>
                  <a:pt x="100" y="152"/>
                </a:lnTo>
                <a:lnTo>
                  <a:pt x="92" y="144"/>
                </a:lnTo>
                <a:lnTo>
                  <a:pt x="84" y="134"/>
                </a:lnTo>
                <a:lnTo>
                  <a:pt x="82" y="126"/>
                </a:lnTo>
                <a:lnTo>
                  <a:pt x="80" y="116"/>
                </a:lnTo>
                <a:lnTo>
                  <a:pt x="72" y="108"/>
                </a:lnTo>
                <a:lnTo>
                  <a:pt x="66" y="104"/>
                </a:lnTo>
                <a:lnTo>
                  <a:pt x="56" y="102"/>
                </a:lnTo>
                <a:lnTo>
                  <a:pt x="48" y="98"/>
                </a:lnTo>
                <a:lnTo>
                  <a:pt x="40" y="90"/>
                </a:lnTo>
                <a:lnTo>
                  <a:pt x="38" y="86"/>
                </a:lnTo>
                <a:lnTo>
                  <a:pt x="42" y="84"/>
                </a:lnTo>
                <a:lnTo>
                  <a:pt x="46" y="84"/>
                </a:lnTo>
                <a:lnTo>
                  <a:pt x="48" y="80"/>
                </a:lnTo>
                <a:lnTo>
                  <a:pt x="46" y="74"/>
                </a:lnTo>
                <a:lnTo>
                  <a:pt x="42" y="64"/>
                </a:lnTo>
                <a:lnTo>
                  <a:pt x="38" y="60"/>
                </a:lnTo>
                <a:lnTo>
                  <a:pt x="30" y="56"/>
                </a:lnTo>
                <a:lnTo>
                  <a:pt x="22" y="46"/>
                </a:lnTo>
                <a:lnTo>
                  <a:pt x="16" y="32"/>
                </a:lnTo>
                <a:lnTo>
                  <a:pt x="12" y="24"/>
                </a:lnTo>
                <a:lnTo>
                  <a:pt x="8" y="14"/>
                </a:lnTo>
                <a:lnTo>
                  <a:pt x="0" y="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5" name="Freeform 9">
            <a:extLst>
              <a:ext uri="{FF2B5EF4-FFF2-40B4-BE49-F238E27FC236}">
                <a16:creationId xmlns:a16="http://schemas.microsoft.com/office/drawing/2014/main" id="{A021DAAC-3695-B0A4-4EA1-1C363F00ABE5}"/>
              </a:ext>
            </a:extLst>
          </p:cNvPr>
          <p:cNvSpPr>
            <a:spLocks/>
          </p:cNvSpPr>
          <p:nvPr/>
        </p:nvSpPr>
        <p:spPr bwMode="auto">
          <a:xfrm>
            <a:off x="3354917" y="3155951"/>
            <a:ext cx="211667" cy="203200"/>
          </a:xfrm>
          <a:custGeom>
            <a:avLst/>
            <a:gdLst>
              <a:gd name="T0" fmla="*/ 2147483647 w 110"/>
              <a:gd name="T1" fmla="*/ 2147483647 h 100"/>
              <a:gd name="T2" fmla="*/ 2147483647 w 110"/>
              <a:gd name="T3" fmla="*/ 2147483647 h 100"/>
              <a:gd name="T4" fmla="*/ 2147483647 w 110"/>
              <a:gd name="T5" fmla="*/ 2147483647 h 100"/>
              <a:gd name="T6" fmla="*/ 2147483647 w 110"/>
              <a:gd name="T7" fmla="*/ 0 h 100"/>
              <a:gd name="T8" fmla="*/ 2147483647 w 110"/>
              <a:gd name="T9" fmla="*/ 2147483647 h 100"/>
              <a:gd name="T10" fmla="*/ 2147483647 w 110"/>
              <a:gd name="T11" fmla="*/ 2147483647 h 100"/>
              <a:gd name="T12" fmla="*/ 2147483647 w 110"/>
              <a:gd name="T13" fmla="*/ 2147483647 h 100"/>
              <a:gd name="T14" fmla="*/ 2147483647 w 110"/>
              <a:gd name="T15" fmla="*/ 2147483647 h 100"/>
              <a:gd name="T16" fmla="*/ 2147483647 w 110"/>
              <a:gd name="T17" fmla="*/ 2147483647 h 100"/>
              <a:gd name="T18" fmla="*/ 2147483647 w 110"/>
              <a:gd name="T19" fmla="*/ 2147483647 h 100"/>
              <a:gd name="T20" fmla="*/ 2147483647 w 110"/>
              <a:gd name="T21" fmla="*/ 2147483647 h 100"/>
              <a:gd name="T22" fmla="*/ 2147483647 w 110"/>
              <a:gd name="T23" fmla="*/ 2147483647 h 100"/>
              <a:gd name="T24" fmla="*/ 2147483647 w 110"/>
              <a:gd name="T25" fmla="*/ 2147483647 h 100"/>
              <a:gd name="T26" fmla="*/ 2147483647 w 110"/>
              <a:gd name="T27" fmla="*/ 2147483647 h 100"/>
              <a:gd name="T28" fmla="*/ 2147483647 w 110"/>
              <a:gd name="T29" fmla="*/ 2147483647 h 100"/>
              <a:gd name="T30" fmla="*/ 2147483647 w 110"/>
              <a:gd name="T31" fmla="*/ 2147483647 h 100"/>
              <a:gd name="T32" fmla="*/ 2147483647 w 110"/>
              <a:gd name="T33" fmla="*/ 2147483647 h 100"/>
              <a:gd name="T34" fmla="*/ 2147483647 w 110"/>
              <a:gd name="T35" fmla="*/ 2147483647 h 100"/>
              <a:gd name="T36" fmla="*/ 2147483647 w 110"/>
              <a:gd name="T37" fmla="*/ 2147483647 h 100"/>
              <a:gd name="T38" fmla="*/ 2147483647 w 110"/>
              <a:gd name="T39" fmla="*/ 2147483647 h 100"/>
              <a:gd name="T40" fmla="*/ 2147483647 w 110"/>
              <a:gd name="T41" fmla="*/ 2147483647 h 100"/>
              <a:gd name="T42" fmla="*/ 2147483647 w 110"/>
              <a:gd name="T43" fmla="*/ 2147483647 h 100"/>
              <a:gd name="T44" fmla="*/ 2147483647 w 110"/>
              <a:gd name="T45" fmla="*/ 2147483647 h 100"/>
              <a:gd name="T46" fmla="*/ 2147483647 w 110"/>
              <a:gd name="T47" fmla="*/ 2147483647 h 100"/>
              <a:gd name="T48" fmla="*/ 2147483647 w 110"/>
              <a:gd name="T49" fmla="*/ 2147483647 h 100"/>
              <a:gd name="T50" fmla="*/ 0 w 110"/>
              <a:gd name="T51" fmla="*/ 2147483647 h 100"/>
              <a:gd name="T52" fmla="*/ 2147483647 w 110"/>
              <a:gd name="T53" fmla="*/ 2147483647 h 100"/>
              <a:gd name="T54" fmla="*/ 2147483647 w 110"/>
              <a:gd name="T55" fmla="*/ 2147483647 h 100"/>
              <a:gd name="T56" fmla="*/ 2147483647 w 110"/>
              <a:gd name="T57" fmla="*/ 2147483647 h 100"/>
              <a:gd name="T58" fmla="*/ 2147483647 w 110"/>
              <a:gd name="T59" fmla="*/ 2147483647 h 100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10"/>
              <a:gd name="T91" fmla="*/ 0 h 100"/>
              <a:gd name="T92" fmla="*/ 110 w 110"/>
              <a:gd name="T93" fmla="*/ 100 h 100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10" h="100">
                <a:moveTo>
                  <a:pt x="30" y="36"/>
                </a:moveTo>
                <a:lnTo>
                  <a:pt x="40" y="20"/>
                </a:lnTo>
                <a:lnTo>
                  <a:pt x="54" y="6"/>
                </a:lnTo>
                <a:lnTo>
                  <a:pt x="66" y="0"/>
                </a:lnTo>
                <a:lnTo>
                  <a:pt x="62" y="8"/>
                </a:lnTo>
                <a:lnTo>
                  <a:pt x="58" y="20"/>
                </a:lnTo>
                <a:lnTo>
                  <a:pt x="62" y="34"/>
                </a:lnTo>
                <a:lnTo>
                  <a:pt x="72" y="44"/>
                </a:lnTo>
                <a:lnTo>
                  <a:pt x="82" y="38"/>
                </a:lnTo>
                <a:lnTo>
                  <a:pt x="86" y="44"/>
                </a:lnTo>
                <a:lnTo>
                  <a:pt x="94" y="46"/>
                </a:lnTo>
                <a:lnTo>
                  <a:pt x="90" y="54"/>
                </a:lnTo>
                <a:lnTo>
                  <a:pt x="100" y="64"/>
                </a:lnTo>
                <a:lnTo>
                  <a:pt x="106" y="66"/>
                </a:lnTo>
                <a:lnTo>
                  <a:pt x="108" y="74"/>
                </a:lnTo>
                <a:lnTo>
                  <a:pt x="110" y="86"/>
                </a:lnTo>
                <a:lnTo>
                  <a:pt x="106" y="96"/>
                </a:lnTo>
                <a:lnTo>
                  <a:pt x="92" y="100"/>
                </a:lnTo>
                <a:lnTo>
                  <a:pt x="86" y="90"/>
                </a:lnTo>
                <a:lnTo>
                  <a:pt x="78" y="82"/>
                </a:lnTo>
                <a:lnTo>
                  <a:pt x="72" y="88"/>
                </a:lnTo>
                <a:lnTo>
                  <a:pt x="70" y="94"/>
                </a:lnTo>
                <a:lnTo>
                  <a:pt x="60" y="90"/>
                </a:lnTo>
                <a:lnTo>
                  <a:pt x="58" y="78"/>
                </a:lnTo>
                <a:lnTo>
                  <a:pt x="30" y="82"/>
                </a:lnTo>
                <a:lnTo>
                  <a:pt x="0" y="80"/>
                </a:lnTo>
                <a:lnTo>
                  <a:pt x="2" y="66"/>
                </a:lnTo>
                <a:lnTo>
                  <a:pt x="16" y="52"/>
                </a:lnTo>
                <a:lnTo>
                  <a:pt x="22" y="44"/>
                </a:lnTo>
                <a:lnTo>
                  <a:pt x="30" y="3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Freeform 10">
            <a:extLst>
              <a:ext uri="{FF2B5EF4-FFF2-40B4-BE49-F238E27FC236}">
                <a16:creationId xmlns:a16="http://schemas.microsoft.com/office/drawing/2014/main" id="{7EA055C2-A618-1435-A330-8C9634E63BFE}"/>
              </a:ext>
            </a:extLst>
          </p:cNvPr>
          <p:cNvSpPr>
            <a:spLocks/>
          </p:cNvSpPr>
          <p:nvPr/>
        </p:nvSpPr>
        <p:spPr bwMode="auto">
          <a:xfrm>
            <a:off x="1297518" y="2004484"/>
            <a:ext cx="328084" cy="213784"/>
          </a:xfrm>
          <a:custGeom>
            <a:avLst/>
            <a:gdLst>
              <a:gd name="T0" fmla="*/ 2147483647 w 166"/>
              <a:gd name="T1" fmla="*/ 2147483647 h 104"/>
              <a:gd name="T2" fmla="*/ 2147483647 w 166"/>
              <a:gd name="T3" fmla="*/ 2147483647 h 104"/>
              <a:gd name="T4" fmla="*/ 2147483647 w 166"/>
              <a:gd name="T5" fmla="*/ 2147483647 h 104"/>
              <a:gd name="T6" fmla="*/ 2147483647 w 166"/>
              <a:gd name="T7" fmla="*/ 2147483647 h 104"/>
              <a:gd name="T8" fmla="*/ 2147483647 w 166"/>
              <a:gd name="T9" fmla="*/ 2147483647 h 104"/>
              <a:gd name="T10" fmla="*/ 2147483647 w 166"/>
              <a:gd name="T11" fmla="*/ 2147483647 h 104"/>
              <a:gd name="T12" fmla="*/ 2147483647 w 166"/>
              <a:gd name="T13" fmla="*/ 2147483647 h 104"/>
              <a:gd name="T14" fmla="*/ 2147483647 w 166"/>
              <a:gd name="T15" fmla="*/ 2147483647 h 104"/>
              <a:gd name="T16" fmla="*/ 0 w 166"/>
              <a:gd name="T17" fmla="*/ 2147483647 h 104"/>
              <a:gd name="T18" fmla="*/ 2147483647 w 166"/>
              <a:gd name="T19" fmla="*/ 2147483647 h 104"/>
              <a:gd name="T20" fmla="*/ 2147483647 w 166"/>
              <a:gd name="T21" fmla="*/ 2147483647 h 104"/>
              <a:gd name="T22" fmla="*/ 2147483647 w 166"/>
              <a:gd name="T23" fmla="*/ 2147483647 h 104"/>
              <a:gd name="T24" fmla="*/ 2147483647 w 166"/>
              <a:gd name="T25" fmla="*/ 2147483647 h 104"/>
              <a:gd name="T26" fmla="*/ 2147483647 w 166"/>
              <a:gd name="T27" fmla="*/ 2147483647 h 104"/>
              <a:gd name="T28" fmla="*/ 2147483647 w 166"/>
              <a:gd name="T29" fmla="*/ 2147483647 h 104"/>
              <a:gd name="T30" fmla="*/ 2147483647 w 166"/>
              <a:gd name="T31" fmla="*/ 2147483647 h 104"/>
              <a:gd name="T32" fmla="*/ 2147483647 w 166"/>
              <a:gd name="T33" fmla="*/ 2147483647 h 104"/>
              <a:gd name="T34" fmla="*/ 2147483647 w 166"/>
              <a:gd name="T35" fmla="*/ 2147483647 h 104"/>
              <a:gd name="T36" fmla="*/ 2147483647 w 166"/>
              <a:gd name="T37" fmla="*/ 2147483647 h 104"/>
              <a:gd name="T38" fmla="*/ 2147483647 w 166"/>
              <a:gd name="T39" fmla="*/ 2147483647 h 104"/>
              <a:gd name="T40" fmla="*/ 2147483647 w 166"/>
              <a:gd name="T41" fmla="*/ 2147483647 h 104"/>
              <a:gd name="T42" fmla="*/ 2147483647 w 166"/>
              <a:gd name="T43" fmla="*/ 2147483647 h 104"/>
              <a:gd name="T44" fmla="*/ 2147483647 w 166"/>
              <a:gd name="T45" fmla="*/ 2147483647 h 104"/>
              <a:gd name="T46" fmla="*/ 2147483647 w 166"/>
              <a:gd name="T47" fmla="*/ 2147483647 h 104"/>
              <a:gd name="T48" fmla="*/ 2147483647 w 166"/>
              <a:gd name="T49" fmla="*/ 2147483647 h 104"/>
              <a:gd name="T50" fmla="*/ 2147483647 w 166"/>
              <a:gd name="T51" fmla="*/ 2147483647 h 104"/>
              <a:gd name="T52" fmla="*/ 2147483647 w 166"/>
              <a:gd name="T53" fmla="*/ 2147483647 h 104"/>
              <a:gd name="T54" fmla="*/ 2147483647 w 166"/>
              <a:gd name="T55" fmla="*/ 2147483647 h 104"/>
              <a:gd name="T56" fmla="*/ 2147483647 w 166"/>
              <a:gd name="T57" fmla="*/ 2147483647 h 104"/>
              <a:gd name="T58" fmla="*/ 2147483647 w 166"/>
              <a:gd name="T59" fmla="*/ 2147483647 h 104"/>
              <a:gd name="T60" fmla="*/ 2147483647 w 166"/>
              <a:gd name="T61" fmla="*/ 0 h 104"/>
              <a:gd name="T62" fmla="*/ 2147483647 w 166"/>
              <a:gd name="T63" fmla="*/ 0 h 104"/>
              <a:gd name="T64" fmla="*/ 2147483647 w 166"/>
              <a:gd name="T65" fmla="*/ 2147483647 h 104"/>
              <a:gd name="T66" fmla="*/ 2147483647 w 166"/>
              <a:gd name="T67" fmla="*/ 2147483647 h 104"/>
              <a:gd name="T68" fmla="*/ 2147483647 w 166"/>
              <a:gd name="T69" fmla="*/ 2147483647 h 10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66"/>
              <a:gd name="T106" fmla="*/ 0 h 104"/>
              <a:gd name="T107" fmla="*/ 166 w 166"/>
              <a:gd name="T108" fmla="*/ 104 h 10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66" h="104">
                <a:moveTo>
                  <a:pt x="20" y="6"/>
                </a:moveTo>
                <a:lnTo>
                  <a:pt x="20" y="14"/>
                </a:lnTo>
                <a:lnTo>
                  <a:pt x="28" y="22"/>
                </a:lnTo>
                <a:lnTo>
                  <a:pt x="28" y="28"/>
                </a:lnTo>
                <a:lnTo>
                  <a:pt x="24" y="34"/>
                </a:lnTo>
                <a:lnTo>
                  <a:pt x="20" y="44"/>
                </a:lnTo>
                <a:lnTo>
                  <a:pt x="12" y="54"/>
                </a:lnTo>
                <a:lnTo>
                  <a:pt x="8" y="68"/>
                </a:lnTo>
                <a:lnTo>
                  <a:pt x="0" y="76"/>
                </a:lnTo>
                <a:lnTo>
                  <a:pt x="12" y="80"/>
                </a:lnTo>
                <a:lnTo>
                  <a:pt x="20" y="84"/>
                </a:lnTo>
                <a:lnTo>
                  <a:pt x="32" y="92"/>
                </a:lnTo>
                <a:lnTo>
                  <a:pt x="42" y="104"/>
                </a:lnTo>
                <a:lnTo>
                  <a:pt x="54" y="100"/>
                </a:lnTo>
                <a:lnTo>
                  <a:pt x="68" y="92"/>
                </a:lnTo>
                <a:lnTo>
                  <a:pt x="80" y="92"/>
                </a:lnTo>
                <a:lnTo>
                  <a:pt x="86" y="82"/>
                </a:lnTo>
                <a:lnTo>
                  <a:pt x="90" y="72"/>
                </a:lnTo>
                <a:lnTo>
                  <a:pt x="102" y="66"/>
                </a:lnTo>
                <a:lnTo>
                  <a:pt x="106" y="58"/>
                </a:lnTo>
                <a:lnTo>
                  <a:pt x="120" y="50"/>
                </a:lnTo>
                <a:lnTo>
                  <a:pt x="140" y="40"/>
                </a:lnTo>
                <a:lnTo>
                  <a:pt x="166" y="32"/>
                </a:lnTo>
                <a:lnTo>
                  <a:pt x="158" y="26"/>
                </a:lnTo>
                <a:lnTo>
                  <a:pt x="142" y="16"/>
                </a:lnTo>
                <a:lnTo>
                  <a:pt x="128" y="8"/>
                </a:lnTo>
                <a:lnTo>
                  <a:pt x="114" y="10"/>
                </a:lnTo>
                <a:lnTo>
                  <a:pt x="106" y="16"/>
                </a:lnTo>
                <a:lnTo>
                  <a:pt x="94" y="14"/>
                </a:lnTo>
                <a:lnTo>
                  <a:pt x="74" y="6"/>
                </a:lnTo>
                <a:lnTo>
                  <a:pt x="72" y="0"/>
                </a:lnTo>
                <a:lnTo>
                  <a:pt x="54" y="0"/>
                </a:lnTo>
                <a:lnTo>
                  <a:pt x="52" y="6"/>
                </a:lnTo>
                <a:lnTo>
                  <a:pt x="34" y="4"/>
                </a:lnTo>
                <a:lnTo>
                  <a:pt x="20" y="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Freeform 11">
            <a:extLst>
              <a:ext uri="{FF2B5EF4-FFF2-40B4-BE49-F238E27FC236}">
                <a16:creationId xmlns:a16="http://schemas.microsoft.com/office/drawing/2014/main" id="{D59B6729-4E82-DE4A-F52B-8FCA2B83C218}"/>
              </a:ext>
            </a:extLst>
          </p:cNvPr>
          <p:cNvSpPr>
            <a:spLocks/>
          </p:cNvSpPr>
          <p:nvPr/>
        </p:nvSpPr>
        <p:spPr bwMode="auto">
          <a:xfrm>
            <a:off x="1507068" y="2082800"/>
            <a:ext cx="563033" cy="273051"/>
          </a:xfrm>
          <a:custGeom>
            <a:avLst/>
            <a:gdLst>
              <a:gd name="T0" fmla="*/ 2147483647 w 284"/>
              <a:gd name="T1" fmla="*/ 2147483647 h 136"/>
              <a:gd name="T2" fmla="*/ 2147483647 w 284"/>
              <a:gd name="T3" fmla="*/ 2147483647 h 136"/>
              <a:gd name="T4" fmla="*/ 2147483647 w 284"/>
              <a:gd name="T5" fmla="*/ 2147483647 h 136"/>
              <a:gd name="T6" fmla="*/ 2147483647 w 284"/>
              <a:gd name="T7" fmla="*/ 2147483647 h 136"/>
              <a:gd name="T8" fmla="*/ 2147483647 w 284"/>
              <a:gd name="T9" fmla="*/ 2147483647 h 136"/>
              <a:gd name="T10" fmla="*/ 2147483647 w 284"/>
              <a:gd name="T11" fmla="*/ 2147483647 h 136"/>
              <a:gd name="T12" fmla="*/ 2147483647 w 284"/>
              <a:gd name="T13" fmla="*/ 2147483647 h 136"/>
              <a:gd name="T14" fmla="*/ 0 w 284"/>
              <a:gd name="T15" fmla="*/ 2147483647 h 136"/>
              <a:gd name="T16" fmla="*/ 2147483647 w 284"/>
              <a:gd name="T17" fmla="*/ 2147483647 h 136"/>
              <a:gd name="T18" fmla="*/ 2147483647 w 284"/>
              <a:gd name="T19" fmla="*/ 2147483647 h 136"/>
              <a:gd name="T20" fmla="*/ 2147483647 w 284"/>
              <a:gd name="T21" fmla="*/ 0 h 136"/>
              <a:gd name="T22" fmla="*/ 2147483647 w 284"/>
              <a:gd name="T23" fmla="*/ 2147483647 h 136"/>
              <a:gd name="T24" fmla="*/ 2147483647 w 284"/>
              <a:gd name="T25" fmla="*/ 2147483647 h 136"/>
              <a:gd name="T26" fmla="*/ 2147483647 w 284"/>
              <a:gd name="T27" fmla="*/ 2147483647 h 136"/>
              <a:gd name="T28" fmla="*/ 2147483647 w 284"/>
              <a:gd name="T29" fmla="*/ 2147483647 h 136"/>
              <a:gd name="T30" fmla="*/ 2147483647 w 284"/>
              <a:gd name="T31" fmla="*/ 2147483647 h 136"/>
              <a:gd name="T32" fmla="*/ 2147483647 w 284"/>
              <a:gd name="T33" fmla="*/ 2147483647 h 136"/>
              <a:gd name="T34" fmla="*/ 2147483647 w 284"/>
              <a:gd name="T35" fmla="*/ 2147483647 h 136"/>
              <a:gd name="T36" fmla="*/ 2147483647 w 284"/>
              <a:gd name="T37" fmla="*/ 2147483647 h 136"/>
              <a:gd name="T38" fmla="*/ 2147483647 w 284"/>
              <a:gd name="T39" fmla="*/ 2147483647 h 136"/>
              <a:gd name="T40" fmla="*/ 2147483647 w 284"/>
              <a:gd name="T41" fmla="*/ 2147483647 h 136"/>
              <a:gd name="T42" fmla="*/ 2147483647 w 284"/>
              <a:gd name="T43" fmla="*/ 2147483647 h 136"/>
              <a:gd name="T44" fmla="*/ 2147483647 w 284"/>
              <a:gd name="T45" fmla="*/ 2147483647 h 136"/>
              <a:gd name="T46" fmla="*/ 2147483647 w 284"/>
              <a:gd name="T47" fmla="*/ 2147483647 h 136"/>
              <a:gd name="T48" fmla="*/ 2147483647 w 284"/>
              <a:gd name="T49" fmla="*/ 2147483647 h 136"/>
              <a:gd name="T50" fmla="*/ 2147483647 w 284"/>
              <a:gd name="T51" fmla="*/ 2147483647 h 136"/>
              <a:gd name="T52" fmla="*/ 2147483647 w 284"/>
              <a:gd name="T53" fmla="*/ 2147483647 h 136"/>
              <a:gd name="T54" fmla="*/ 2147483647 w 284"/>
              <a:gd name="T55" fmla="*/ 2147483647 h 136"/>
              <a:gd name="T56" fmla="*/ 2147483647 w 284"/>
              <a:gd name="T57" fmla="*/ 2147483647 h 136"/>
              <a:gd name="T58" fmla="*/ 2147483647 w 284"/>
              <a:gd name="T59" fmla="*/ 2147483647 h 136"/>
              <a:gd name="T60" fmla="*/ 2147483647 w 284"/>
              <a:gd name="T61" fmla="*/ 2147483647 h 136"/>
              <a:gd name="T62" fmla="*/ 2147483647 w 284"/>
              <a:gd name="T63" fmla="*/ 2147483647 h 136"/>
              <a:gd name="T64" fmla="*/ 2147483647 w 284"/>
              <a:gd name="T65" fmla="*/ 2147483647 h 136"/>
              <a:gd name="T66" fmla="*/ 2147483647 w 284"/>
              <a:gd name="T67" fmla="*/ 2147483647 h 136"/>
              <a:gd name="T68" fmla="*/ 2147483647 w 284"/>
              <a:gd name="T69" fmla="*/ 2147483647 h 136"/>
              <a:gd name="T70" fmla="*/ 2147483647 w 284"/>
              <a:gd name="T71" fmla="*/ 2147483647 h 136"/>
              <a:gd name="T72" fmla="*/ 2147483647 w 284"/>
              <a:gd name="T73" fmla="*/ 2147483647 h 136"/>
              <a:gd name="T74" fmla="*/ 2147483647 w 284"/>
              <a:gd name="T75" fmla="*/ 2147483647 h 136"/>
              <a:gd name="T76" fmla="*/ 2147483647 w 284"/>
              <a:gd name="T77" fmla="*/ 2147483647 h 136"/>
              <a:gd name="T78" fmla="*/ 2147483647 w 284"/>
              <a:gd name="T79" fmla="*/ 2147483647 h 136"/>
              <a:gd name="T80" fmla="*/ 2147483647 w 284"/>
              <a:gd name="T81" fmla="*/ 2147483647 h 1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84"/>
              <a:gd name="T124" fmla="*/ 0 h 136"/>
              <a:gd name="T125" fmla="*/ 284 w 284"/>
              <a:gd name="T126" fmla="*/ 136 h 1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84" h="136">
                <a:moveTo>
                  <a:pt x="110" y="90"/>
                </a:moveTo>
                <a:lnTo>
                  <a:pt x="104" y="82"/>
                </a:lnTo>
                <a:lnTo>
                  <a:pt x="86" y="76"/>
                </a:lnTo>
                <a:lnTo>
                  <a:pt x="52" y="78"/>
                </a:lnTo>
                <a:lnTo>
                  <a:pt x="28" y="80"/>
                </a:lnTo>
                <a:lnTo>
                  <a:pt x="10" y="74"/>
                </a:lnTo>
                <a:lnTo>
                  <a:pt x="14" y="62"/>
                </a:lnTo>
                <a:lnTo>
                  <a:pt x="30" y="62"/>
                </a:lnTo>
                <a:lnTo>
                  <a:pt x="46" y="58"/>
                </a:lnTo>
                <a:lnTo>
                  <a:pt x="56" y="54"/>
                </a:lnTo>
                <a:lnTo>
                  <a:pt x="46" y="52"/>
                </a:lnTo>
                <a:lnTo>
                  <a:pt x="34" y="56"/>
                </a:lnTo>
                <a:lnTo>
                  <a:pt x="20" y="56"/>
                </a:lnTo>
                <a:lnTo>
                  <a:pt x="14" y="52"/>
                </a:lnTo>
                <a:lnTo>
                  <a:pt x="0" y="50"/>
                </a:lnTo>
                <a:lnTo>
                  <a:pt x="0" y="42"/>
                </a:lnTo>
                <a:lnTo>
                  <a:pt x="8" y="36"/>
                </a:lnTo>
                <a:lnTo>
                  <a:pt x="12" y="30"/>
                </a:lnTo>
                <a:lnTo>
                  <a:pt x="10" y="22"/>
                </a:lnTo>
                <a:lnTo>
                  <a:pt x="26" y="14"/>
                </a:lnTo>
                <a:lnTo>
                  <a:pt x="50" y="4"/>
                </a:lnTo>
                <a:lnTo>
                  <a:pt x="74" y="0"/>
                </a:lnTo>
                <a:lnTo>
                  <a:pt x="76" y="8"/>
                </a:lnTo>
                <a:lnTo>
                  <a:pt x="74" y="12"/>
                </a:lnTo>
                <a:lnTo>
                  <a:pt x="70" y="18"/>
                </a:lnTo>
                <a:lnTo>
                  <a:pt x="84" y="22"/>
                </a:lnTo>
                <a:lnTo>
                  <a:pt x="90" y="8"/>
                </a:lnTo>
                <a:lnTo>
                  <a:pt x="106" y="12"/>
                </a:lnTo>
                <a:lnTo>
                  <a:pt x="122" y="18"/>
                </a:lnTo>
                <a:lnTo>
                  <a:pt x="118" y="24"/>
                </a:lnTo>
                <a:lnTo>
                  <a:pt x="120" y="28"/>
                </a:lnTo>
                <a:lnTo>
                  <a:pt x="128" y="26"/>
                </a:lnTo>
                <a:lnTo>
                  <a:pt x="142" y="26"/>
                </a:lnTo>
                <a:lnTo>
                  <a:pt x="144" y="18"/>
                </a:lnTo>
                <a:lnTo>
                  <a:pt x="136" y="12"/>
                </a:lnTo>
                <a:lnTo>
                  <a:pt x="142" y="10"/>
                </a:lnTo>
                <a:lnTo>
                  <a:pt x="154" y="16"/>
                </a:lnTo>
                <a:lnTo>
                  <a:pt x="162" y="26"/>
                </a:lnTo>
                <a:lnTo>
                  <a:pt x="166" y="38"/>
                </a:lnTo>
                <a:lnTo>
                  <a:pt x="172" y="48"/>
                </a:lnTo>
                <a:lnTo>
                  <a:pt x="182" y="44"/>
                </a:lnTo>
                <a:lnTo>
                  <a:pt x="176" y="34"/>
                </a:lnTo>
                <a:lnTo>
                  <a:pt x="172" y="16"/>
                </a:lnTo>
                <a:lnTo>
                  <a:pt x="170" y="4"/>
                </a:lnTo>
                <a:lnTo>
                  <a:pt x="178" y="0"/>
                </a:lnTo>
                <a:lnTo>
                  <a:pt x="192" y="4"/>
                </a:lnTo>
                <a:lnTo>
                  <a:pt x="206" y="12"/>
                </a:lnTo>
                <a:lnTo>
                  <a:pt x="216" y="24"/>
                </a:lnTo>
                <a:lnTo>
                  <a:pt x="222" y="40"/>
                </a:lnTo>
                <a:lnTo>
                  <a:pt x="230" y="52"/>
                </a:lnTo>
                <a:lnTo>
                  <a:pt x="230" y="60"/>
                </a:lnTo>
                <a:lnTo>
                  <a:pt x="228" y="66"/>
                </a:lnTo>
                <a:lnTo>
                  <a:pt x="238" y="78"/>
                </a:lnTo>
                <a:lnTo>
                  <a:pt x="248" y="82"/>
                </a:lnTo>
                <a:lnTo>
                  <a:pt x="260" y="84"/>
                </a:lnTo>
                <a:lnTo>
                  <a:pt x="268" y="90"/>
                </a:lnTo>
                <a:lnTo>
                  <a:pt x="284" y="100"/>
                </a:lnTo>
                <a:lnTo>
                  <a:pt x="280" y="104"/>
                </a:lnTo>
                <a:lnTo>
                  <a:pt x="264" y="104"/>
                </a:lnTo>
                <a:lnTo>
                  <a:pt x="254" y="106"/>
                </a:lnTo>
                <a:lnTo>
                  <a:pt x="256" y="112"/>
                </a:lnTo>
                <a:lnTo>
                  <a:pt x="268" y="116"/>
                </a:lnTo>
                <a:lnTo>
                  <a:pt x="272" y="126"/>
                </a:lnTo>
                <a:lnTo>
                  <a:pt x="262" y="128"/>
                </a:lnTo>
                <a:lnTo>
                  <a:pt x="240" y="130"/>
                </a:lnTo>
                <a:lnTo>
                  <a:pt x="216" y="128"/>
                </a:lnTo>
                <a:lnTo>
                  <a:pt x="212" y="122"/>
                </a:lnTo>
                <a:lnTo>
                  <a:pt x="202" y="122"/>
                </a:lnTo>
                <a:lnTo>
                  <a:pt x="196" y="108"/>
                </a:lnTo>
                <a:lnTo>
                  <a:pt x="184" y="122"/>
                </a:lnTo>
                <a:lnTo>
                  <a:pt x="168" y="126"/>
                </a:lnTo>
                <a:lnTo>
                  <a:pt x="152" y="134"/>
                </a:lnTo>
                <a:lnTo>
                  <a:pt x="90" y="136"/>
                </a:lnTo>
                <a:lnTo>
                  <a:pt x="84" y="130"/>
                </a:lnTo>
                <a:lnTo>
                  <a:pt x="82" y="118"/>
                </a:lnTo>
                <a:lnTo>
                  <a:pt x="40" y="118"/>
                </a:lnTo>
                <a:lnTo>
                  <a:pt x="22" y="100"/>
                </a:lnTo>
                <a:lnTo>
                  <a:pt x="30" y="92"/>
                </a:lnTo>
                <a:lnTo>
                  <a:pt x="48" y="90"/>
                </a:lnTo>
                <a:lnTo>
                  <a:pt x="80" y="88"/>
                </a:lnTo>
                <a:lnTo>
                  <a:pt x="98" y="90"/>
                </a:lnTo>
                <a:lnTo>
                  <a:pt x="110" y="9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8" name="Freeform 13">
            <a:extLst>
              <a:ext uri="{FF2B5EF4-FFF2-40B4-BE49-F238E27FC236}">
                <a16:creationId xmlns:a16="http://schemas.microsoft.com/office/drawing/2014/main" id="{7178EBA1-290C-1186-6BFB-FD709C082E4D}"/>
              </a:ext>
            </a:extLst>
          </p:cNvPr>
          <p:cNvSpPr>
            <a:spLocks/>
          </p:cNvSpPr>
          <p:nvPr/>
        </p:nvSpPr>
        <p:spPr bwMode="auto">
          <a:xfrm>
            <a:off x="1924051" y="1697568"/>
            <a:ext cx="213784" cy="105833"/>
          </a:xfrm>
          <a:custGeom>
            <a:avLst/>
            <a:gdLst>
              <a:gd name="T0" fmla="*/ 0 w 106"/>
              <a:gd name="T1" fmla="*/ 2147483647 h 56"/>
              <a:gd name="T2" fmla="*/ 2147483647 w 106"/>
              <a:gd name="T3" fmla="*/ 2147483647 h 56"/>
              <a:gd name="T4" fmla="*/ 2147483647 w 106"/>
              <a:gd name="T5" fmla="*/ 2147483647 h 56"/>
              <a:gd name="T6" fmla="*/ 2147483647 w 106"/>
              <a:gd name="T7" fmla="*/ 2147483647 h 56"/>
              <a:gd name="T8" fmla="*/ 2147483647 w 106"/>
              <a:gd name="T9" fmla="*/ 2147483647 h 56"/>
              <a:gd name="T10" fmla="*/ 2147483647 w 106"/>
              <a:gd name="T11" fmla="*/ 2147483647 h 56"/>
              <a:gd name="T12" fmla="*/ 2147483647 w 106"/>
              <a:gd name="T13" fmla="*/ 2147483647 h 56"/>
              <a:gd name="T14" fmla="*/ 2147483647 w 106"/>
              <a:gd name="T15" fmla="*/ 2147483647 h 56"/>
              <a:gd name="T16" fmla="*/ 2147483647 w 106"/>
              <a:gd name="T17" fmla="*/ 2147483647 h 56"/>
              <a:gd name="T18" fmla="*/ 2147483647 w 106"/>
              <a:gd name="T19" fmla="*/ 2147483647 h 56"/>
              <a:gd name="T20" fmla="*/ 2147483647 w 106"/>
              <a:gd name="T21" fmla="*/ 2147483647 h 56"/>
              <a:gd name="T22" fmla="*/ 2147483647 w 106"/>
              <a:gd name="T23" fmla="*/ 2147483647 h 56"/>
              <a:gd name="T24" fmla="*/ 2147483647 w 106"/>
              <a:gd name="T25" fmla="*/ 2147483647 h 56"/>
              <a:gd name="T26" fmla="*/ 2147483647 w 106"/>
              <a:gd name="T27" fmla="*/ 2147483647 h 56"/>
              <a:gd name="T28" fmla="*/ 2147483647 w 106"/>
              <a:gd name="T29" fmla="*/ 2147483647 h 56"/>
              <a:gd name="T30" fmla="*/ 2147483647 w 106"/>
              <a:gd name="T31" fmla="*/ 2147483647 h 56"/>
              <a:gd name="T32" fmla="*/ 2147483647 w 106"/>
              <a:gd name="T33" fmla="*/ 2147483647 h 56"/>
              <a:gd name="T34" fmla="*/ 2147483647 w 106"/>
              <a:gd name="T35" fmla="*/ 2147483647 h 56"/>
              <a:gd name="T36" fmla="*/ 2147483647 w 106"/>
              <a:gd name="T37" fmla="*/ 2147483647 h 56"/>
              <a:gd name="T38" fmla="*/ 2147483647 w 106"/>
              <a:gd name="T39" fmla="*/ 2147483647 h 56"/>
              <a:gd name="T40" fmla="*/ 2147483647 w 106"/>
              <a:gd name="T41" fmla="*/ 2147483647 h 56"/>
              <a:gd name="T42" fmla="*/ 2147483647 w 106"/>
              <a:gd name="T43" fmla="*/ 2147483647 h 56"/>
              <a:gd name="T44" fmla="*/ 2147483647 w 106"/>
              <a:gd name="T45" fmla="*/ 2147483647 h 56"/>
              <a:gd name="T46" fmla="*/ 2147483647 w 106"/>
              <a:gd name="T47" fmla="*/ 2147483647 h 56"/>
              <a:gd name="T48" fmla="*/ 2147483647 w 106"/>
              <a:gd name="T49" fmla="*/ 2147483647 h 56"/>
              <a:gd name="T50" fmla="*/ 2147483647 w 106"/>
              <a:gd name="T51" fmla="*/ 0 h 56"/>
              <a:gd name="T52" fmla="*/ 0 w 106"/>
              <a:gd name="T53" fmla="*/ 2147483647 h 56"/>
              <a:gd name="T54" fmla="*/ 0 w 106"/>
              <a:gd name="T55" fmla="*/ 2147483647 h 5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06"/>
              <a:gd name="T85" fmla="*/ 0 h 56"/>
              <a:gd name="T86" fmla="*/ 106 w 106"/>
              <a:gd name="T87" fmla="*/ 56 h 5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06" h="56">
                <a:moveTo>
                  <a:pt x="0" y="12"/>
                </a:moveTo>
                <a:lnTo>
                  <a:pt x="16" y="16"/>
                </a:lnTo>
                <a:lnTo>
                  <a:pt x="26" y="20"/>
                </a:lnTo>
                <a:lnTo>
                  <a:pt x="34" y="28"/>
                </a:lnTo>
                <a:lnTo>
                  <a:pt x="32" y="30"/>
                </a:lnTo>
                <a:lnTo>
                  <a:pt x="18" y="28"/>
                </a:lnTo>
                <a:lnTo>
                  <a:pt x="10" y="30"/>
                </a:lnTo>
                <a:lnTo>
                  <a:pt x="8" y="40"/>
                </a:lnTo>
                <a:lnTo>
                  <a:pt x="20" y="42"/>
                </a:lnTo>
                <a:lnTo>
                  <a:pt x="34" y="40"/>
                </a:lnTo>
                <a:lnTo>
                  <a:pt x="50" y="38"/>
                </a:lnTo>
                <a:lnTo>
                  <a:pt x="66" y="40"/>
                </a:lnTo>
                <a:lnTo>
                  <a:pt x="74" y="46"/>
                </a:lnTo>
                <a:lnTo>
                  <a:pt x="82" y="56"/>
                </a:lnTo>
                <a:lnTo>
                  <a:pt x="98" y="56"/>
                </a:lnTo>
                <a:lnTo>
                  <a:pt x="106" y="48"/>
                </a:lnTo>
                <a:lnTo>
                  <a:pt x="94" y="38"/>
                </a:lnTo>
                <a:lnTo>
                  <a:pt x="90" y="28"/>
                </a:lnTo>
                <a:lnTo>
                  <a:pt x="80" y="20"/>
                </a:lnTo>
                <a:lnTo>
                  <a:pt x="70" y="18"/>
                </a:lnTo>
                <a:lnTo>
                  <a:pt x="64" y="12"/>
                </a:lnTo>
                <a:lnTo>
                  <a:pt x="50" y="10"/>
                </a:lnTo>
                <a:lnTo>
                  <a:pt x="44" y="20"/>
                </a:lnTo>
                <a:lnTo>
                  <a:pt x="42" y="10"/>
                </a:lnTo>
                <a:lnTo>
                  <a:pt x="40" y="2"/>
                </a:lnTo>
                <a:lnTo>
                  <a:pt x="18" y="0"/>
                </a:lnTo>
                <a:lnTo>
                  <a:pt x="0" y="2"/>
                </a:lnTo>
                <a:lnTo>
                  <a:pt x="0" y="1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9" name="Freeform 14">
            <a:extLst>
              <a:ext uri="{FF2B5EF4-FFF2-40B4-BE49-F238E27FC236}">
                <a16:creationId xmlns:a16="http://schemas.microsoft.com/office/drawing/2014/main" id="{D77CA9FF-1FC3-AC5A-49B5-343A0EEF9BC6}"/>
              </a:ext>
            </a:extLst>
          </p:cNvPr>
          <p:cNvSpPr>
            <a:spLocks/>
          </p:cNvSpPr>
          <p:nvPr/>
        </p:nvSpPr>
        <p:spPr bwMode="auto">
          <a:xfrm>
            <a:off x="1962151" y="1871134"/>
            <a:ext cx="224367" cy="114300"/>
          </a:xfrm>
          <a:custGeom>
            <a:avLst/>
            <a:gdLst>
              <a:gd name="T0" fmla="*/ 2147483647 w 112"/>
              <a:gd name="T1" fmla="*/ 2147483647 h 56"/>
              <a:gd name="T2" fmla="*/ 2147483647 w 112"/>
              <a:gd name="T3" fmla="*/ 2147483647 h 56"/>
              <a:gd name="T4" fmla="*/ 2147483647 w 112"/>
              <a:gd name="T5" fmla="*/ 2147483647 h 56"/>
              <a:gd name="T6" fmla="*/ 2147483647 w 112"/>
              <a:gd name="T7" fmla="*/ 2147483647 h 56"/>
              <a:gd name="T8" fmla="*/ 2147483647 w 112"/>
              <a:gd name="T9" fmla="*/ 2147483647 h 56"/>
              <a:gd name="T10" fmla="*/ 2147483647 w 112"/>
              <a:gd name="T11" fmla="*/ 2147483647 h 56"/>
              <a:gd name="T12" fmla="*/ 2147483647 w 112"/>
              <a:gd name="T13" fmla="*/ 2147483647 h 56"/>
              <a:gd name="T14" fmla="*/ 2147483647 w 112"/>
              <a:gd name="T15" fmla="*/ 2147483647 h 56"/>
              <a:gd name="T16" fmla="*/ 2147483647 w 112"/>
              <a:gd name="T17" fmla="*/ 2147483647 h 56"/>
              <a:gd name="T18" fmla="*/ 2147483647 w 112"/>
              <a:gd name="T19" fmla="*/ 2147483647 h 56"/>
              <a:gd name="T20" fmla="*/ 2147483647 w 112"/>
              <a:gd name="T21" fmla="*/ 2147483647 h 56"/>
              <a:gd name="T22" fmla="*/ 0 w 112"/>
              <a:gd name="T23" fmla="*/ 2147483647 h 56"/>
              <a:gd name="T24" fmla="*/ 2147483647 w 112"/>
              <a:gd name="T25" fmla="*/ 0 h 56"/>
              <a:gd name="T26" fmla="*/ 2147483647 w 112"/>
              <a:gd name="T27" fmla="*/ 2147483647 h 56"/>
              <a:gd name="T28" fmla="*/ 2147483647 w 112"/>
              <a:gd name="T29" fmla="*/ 2147483647 h 56"/>
              <a:gd name="T30" fmla="*/ 2147483647 w 112"/>
              <a:gd name="T31" fmla="*/ 2147483647 h 56"/>
              <a:gd name="T32" fmla="*/ 2147483647 w 112"/>
              <a:gd name="T33" fmla="*/ 2147483647 h 56"/>
              <a:gd name="T34" fmla="*/ 2147483647 w 112"/>
              <a:gd name="T35" fmla="*/ 2147483647 h 56"/>
              <a:gd name="T36" fmla="*/ 2147483647 w 112"/>
              <a:gd name="T37" fmla="*/ 2147483647 h 56"/>
              <a:gd name="T38" fmla="*/ 2147483647 w 112"/>
              <a:gd name="T39" fmla="*/ 2147483647 h 56"/>
              <a:gd name="T40" fmla="*/ 2147483647 w 112"/>
              <a:gd name="T41" fmla="*/ 2147483647 h 56"/>
              <a:gd name="T42" fmla="*/ 2147483647 w 112"/>
              <a:gd name="T43" fmla="*/ 2147483647 h 56"/>
              <a:gd name="T44" fmla="*/ 2147483647 w 112"/>
              <a:gd name="T45" fmla="*/ 2147483647 h 56"/>
              <a:gd name="T46" fmla="*/ 2147483647 w 112"/>
              <a:gd name="T47" fmla="*/ 2147483647 h 56"/>
              <a:gd name="T48" fmla="*/ 2147483647 w 112"/>
              <a:gd name="T49" fmla="*/ 2147483647 h 56"/>
              <a:gd name="T50" fmla="*/ 2147483647 w 112"/>
              <a:gd name="T51" fmla="*/ 0 h 56"/>
              <a:gd name="T52" fmla="*/ 2147483647 w 112"/>
              <a:gd name="T53" fmla="*/ 2147483647 h 56"/>
              <a:gd name="T54" fmla="*/ 2147483647 w 112"/>
              <a:gd name="T55" fmla="*/ 2147483647 h 56"/>
              <a:gd name="T56" fmla="*/ 2147483647 w 112"/>
              <a:gd name="T57" fmla="*/ 2147483647 h 56"/>
              <a:gd name="T58" fmla="*/ 2147483647 w 112"/>
              <a:gd name="T59" fmla="*/ 2147483647 h 56"/>
              <a:gd name="T60" fmla="*/ 2147483647 w 112"/>
              <a:gd name="T61" fmla="*/ 2147483647 h 56"/>
              <a:gd name="T62" fmla="*/ 2147483647 w 112"/>
              <a:gd name="T63" fmla="*/ 2147483647 h 56"/>
              <a:gd name="T64" fmla="*/ 2147483647 w 112"/>
              <a:gd name="T65" fmla="*/ 2147483647 h 56"/>
              <a:gd name="T66" fmla="*/ 2147483647 w 112"/>
              <a:gd name="T67" fmla="*/ 2147483647 h 56"/>
              <a:gd name="T68" fmla="*/ 2147483647 w 112"/>
              <a:gd name="T69" fmla="*/ 2147483647 h 5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12"/>
              <a:gd name="T106" fmla="*/ 0 h 56"/>
              <a:gd name="T107" fmla="*/ 112 w 112"/>
              <a:gd name="T108" fmla="*/ 56 h 5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12" h="56">
                <a:moveTo>
                  <a:pt x="104" y="52"/>
                </a:moveTo>
                <a:lnTo>
                  <a:pt x="92" y="54"/>
                </a:lnTo>
                <a:lnTo>
                  <a:pt x="70" y="56"/>
                </a:lnTo>
                <a:lnTo>
                  <a:pt x="66" y="44"/>
                </a:lnTo>
                <a:lnTo>
                  <a:pt x="74" y="36"/>
                </a:lnTo>
                <a:lnTo>
                  <a:pt x="68" y="36"/>
                </a:lnTo>
                <a:lnTo>
                  <a:pt x="58" y="34"/>
                </a:lnTo>
                <a:lnTo>
                  <a:pt x="48" y="34"/>
                </a:lnTo>
                <a:lnTo>
                  <a:pt x="36" y="38"/>
                </a:lnTo>
                <a:lnTo>
                  <a:pt x="26" y="34"/>
                </a:lnTo>
                <a:lnTo>
                  <a:pt x="8" y="20"/>
                </a:lnTo>
                <a:lnTo>
                  <a:pt x="0" y="4"/>
                </a:lnTo>
                <a:lnTo>
                  <a:pt x="8" y="0"/>
                </a:lnTo>
                <a:lnTo>
                  <a:pt x="18" y="6"/>
                </a:lnTo>
                <a:lnTo>
                  <a:pt x="26" y="14"/>
                </a:lnTo>
                <a:lnTo>
                  <a:pt x="40" y="26"/>
                </a:lnTo>
                <a:lnTo>
                  <a:pt x="48" y="24"/>
                </a:lnTo>
                <a:lnTo>
                  <a:pt x="40" y="16"/>
                </a:lnTo>
                <a:lnTo>
                  <a:pt x="40" y="10"/>
                </a:lnTo>
                <a:lnTo>
                  <a:pt x="48" y="8"/>
                </a:lnTo>
                <a:lnTo>
                  <a:pt x="58" y="16"/>
                </a:lnTo>
                <a:lnTo>
                  <a:pt x="70" y="26"/>
                </a:lnTo>
                <a:lnTo>
                  <a:pt x="74" y="20"/>
                </a:lnTo>
                <a:lnTo>
                  <a:pt x="68" y="12"/>
                </a:lnTo>
                <a:lnTo>
                  <a:pt x="62" y="4"/>
                </a:lnTo>
                <a:lnTo>
                  <a:pt x="64" y="0"/>
                </a:lnTo>
                <a:lnTo>
                  <a:pt x="78" y="2"/>
                </a:lnTo>
                <a:lnTo>
                  <a:pt x="84" y="8"/>
                </a:lnTo>
                <a:lnTo>
                  <a:pt x="92" y="4"/>
                </a:lnTo>
                <a:lnTo>
                  <a:pt x="104" y="4"/>
                </a:lnTo>
                <a:lnTo>
                  <a:pt x="108" y="10"/>
                </a:lnTo>
                <a:lnTo>
                  <a:pt x="110" y="28"/>
                </a:lnTo>
                <a:lnTo>
                  <a:pt x="112" y="36"/>
                </a:lnTo>
                <a:lnTo>
                  <a:pt x="104" y="40"/>
                </a:lnTo>
                <a:lnTo>
                  <a:pt x="104" y="5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0" name="Freeform 15">
            <a:extLst>
              <a:ext uri="{FF2B5EF4-FFF2-40B4-BE49-F238E27FC236}">
                <a16:creationId xmlns:a16="http://schemas.microsoft.com/office/drawing/2014/main" id="{BE0A067B-A8A3-086D-B09A-5D3CBAF68C7B}"/>
              </a:ext>
            </a:extLst>
          </p:cNvPr>
          <p:cNvSpPr>
            <a:spLocks/>
          </p:cNvSpPr>
          <p:nvPr/>
        </p:nvSpPr>
        <p:spPr bwMode="auto">
          <a:xfrm>
            <a:off x="2207685" y="1841500"/>
            <a:ext cx="529167" cy="162984"/>
          </a:xfrm>
          <a:custGeom>
            <a:avLst/>
            <a:gdLst>
              <a:gd name="T0" fmla="*/ 2147483647 w 270"/>
              <a:gd name="T1" fmla="*/ 2147483647 h 84"/>
              <a:gd name="T2" fmla="*/ 2147483647 w 270"/>
              <a:gd name="T3" fmla="*/ 2147483647 h 84"/>
              <a:gd name="T4" fmla="*/ 2147483647 w 270"/>
              <a:gd name="T5" fmla="*/ 2147483647 h 84"/>
              <a:gd name="T6" fmla="*/ 2147483647 w 270"/>
              <a:gd name="T7" fmla="*/ 2147483647 h 84"/>
              <a:gd name="T8" fmla="*/ 0 w 270"/>
              <a:gd name="T9" fmla="*/ 2147483647 h 84"/>
              <a:gd name="T10" fmla="*/ 2147483647 w 270"/>
              <a:gd name="T11" fmla="*/ 2147483647 h 84"/>
              <a:gd name="T12" fmla="*/ 2147483647 w 270"/>
              <a:gd name="T13" fmla="*/ 0 h 84"/>
              <a:gd name="T14" fmla="*/ 2147483647 w 270"/>
              <a:gd name="T15" fmla="*/ 2147483647 h 84"/>
              <a:gd name="T16" fmla="*/ 2147483647 w 270"/>
              <a:gd name="T17" fmla="*/ 2147483647 h 84"/>
              <a:gd name="T18" fmla="*/ 2147483647 w 270"/>
              <a:gd name="T19" fmla="*/ 2147483647 h 84"/>
              <a:gd name="T20" fmla="*/ 2147483647 w 270"/>
              <a:gd name="T21" fmla="*/ 2147483647 h 84"/>
              <a:gd name="T22" fmla="*/ 2147483647 w 270"/>
              <a:gd name="T23" fmla="*/ 2147483647 h 84"/>
              <a:gd name="T24" fmla="*/ 2147483647 w 270"/>
              <a:gd name="T25" fmla="*/ 2147483647 h 84"/>
              <a:gd name="T26" fmla="*/ 2147483647 w 270"/>
              <a:gd name="T27" fmla="*/ 2147483647 h 84"/>
              <a:gd name="T28" fmla="*/ 2147483647 w 270"/>
              <a:gd name="T29" fmla="*/ 2147483647 h 84"/>
              <a:gd name="T30" fmla="*/ 2147483647 w 270"/>
              <a:gd name="T31" fmla="*/ 2147483647 h 84"/>
              <a:gd name="T32" fmla="*/ 2147483647 w 270"/>
              <a:gd name="T33" fmla="*/ 2147483647 h 84"/>
              <a:gd name="T34" fmla="*/ 2147483647 w 270"/>
              <a:gd name="T35" fmla="*/ 2147483647 h 84"/>
              <a:gd name="T36" fmla="*/ 2147483647 w 270"/>
              <a:gd name="T37" fmla="*/ 2147483647 h 84"/>
              <a:gd name="T38" fmla="*/ 2147483647 w 270"/>
              <a:gd name="T39" fmla="*/ 2147483647 h 84"/>
              <a:gd name="T40" fmla="*/ 2147483647 w 270"/>
              <a:gd name="T41" fmla="*/ 2147483647 h 84"/>
              <a:gd name="T42" fmla="*/ 2147483647 w 270"/>
              <a:gd name="T43" fmla="*/ 2147483647 h 84"/>
              <a:gd name="T44" fmla="*/ 2147483647 w 270"/>
              <a:gd name="T45" fmla="*/ 2147483647 h 84"/>
              <a:gd name="T46" fmla="*/ 2147483647 w 270"/>
              <a:gd name="T47" fmla="*/ 2147483647 h 84"/>
              <a:gd name="T48" fmla="*/ 2147483647 w 270"/>
              <a:gd name="T49" fmla="*/ 2147483647 h 84"/>
              <a:gd name="T50" fmla="*/ 2147483647 w 270"/>
              <a:gd name="T51" fmla="*/ 2147483647 h 84"/>
              <a:gd name="T52" fmla="*/ 2147483647 w 270"/>
              <a:gd name="T53" fmla="*/ 2147483647 h 84"/>
              <a:gd name="T54" fmla="*/ 2147483647 w 270"/>
              <a:gd name="T55" fmla="*/ 2147483647 h 84"/>
              <a:gd name="T56" fmla="*/ 2147483647 w 270"/>
              <a:gd name="T57" fmla="*/ 2147483647 h 84"/>
              <a:gd name="T58" fmla="*/ 2147483647 w 270"/>
              <a:gd name="T59" fmla="*/ 2147483647 h 84"/>
              <a:gd name="T60" fmla="*/ 2147483647 w 270"/>
              <a:gd name="T61" fmla="*/ 2147483647 h 84"/>
              <a:gd name="T62" fmla="*/ 2147483647 w 270"/>
              <a:gd name="T63" fmla="*/ 2147483647 h 84"/>
              <a:gd name="T64" fmla="*/ 2147483647 w 270"/>
              <a:gd name="T65" fmla="*/ 2147483647 h 84"/>
              <a:gd name="T66" fmla="*/ 2147483647 w 270"/>
              <a:gd name="T67" fmla="*/ 2147483647 h 84"/>
              <a:gd name="T68" fmla="*/ 2147483647 w 270"/>
              <a:gd name="T69" fmla="*/ 2147483647 h 84"/>
              <a:gd name="T70" fmla="*/ 2147483647 w 270"/>
              <a:gd name="T71" fmla="*/ 2147483647 h 84"/>
              <a:gd name="T72" fmla="*/ 2147483647 w 270"/>
              <a:gd name="T73" fmla="*/ 2147483647 h 84"/>
              <a:gd name="T74" fmla="*/ 2147483647 w 270"/>
              <a:gd name="T75" fmla="*/ 2147483647 h 84"/>
              <a:gd name="T76" fmla="*/ 2147483647 w 270"/>
              <a:gd name="T77" fmla="*/ 2147483647 h 84"/>
              <a:gd name="T78" fmla="*/ 2147483647 w 270"/>
              <a:gd name="T79" fmla="*/ 2147483647 h 84"/>
              <a:gd name="T80" fmla="*/ 2147483647 w 270"/>
              <a:gd name="T81" fmla="*/ 2147483647 h 84"/>
              <a:gd name="T82" fmla="*/ 2147483647 w 270"/>
              <a:gd name="T83" fmla="*/ 2147483647 h 84"/>
              <a:gd name="T84" fmla="*/ 2147483647 w 270"/>
              <a:gd name="T85" fmla="*/ 2147483647 h 84"/>
              <a:gd name="T86" fmla="*/ 2147483647 w 270"/>
              <a:gd name="T87" fmla="*/ 2147483647 h 8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270"/>
              <a:gd name="T133" fmla="*/ 0 h 84"/>
              <a:gd name="T134" fmla="*/ 270 w 270"/>
              <a:gd name="T135" fmla="*/ 84 h 84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270" h="84">
                <a:moveTo>
                  <a:pt x="48" y="26"/>
                </a:moveTo>
                <a:lnTo>
                  <a:pt x="34" y="28"/>
                </a:lnTo>
                <a:lnTo>
                  <a:pt x="20" y="26"/>
                </a:lnTo>
                <a:lnTo>
                  <a:pt x="6" y="20"/>
                </a:lnTo>
                <a:lnTo>
                  <a:pt x="0" y="14"/>
                </a:lnTo>
                <a:lnTo>
                  <a:pt x="2" y="4"/>
                </a:lnTo>
                <a:lnTo>
                  <a:pt x="14" y="0"/>
                </a:lnTo>
                <a:lnTo>
                  <a:pt x="32" y="6"/>
                </a:lnTo>
                <a:lnTo>
                  <a:pt x="48" y="10"/>
                </a:lnTo>
                <a:lnTo>
                  <a:pt x="54" y="18"/>
                </a:lnTo>
                <a:lnTo>
                  <a:pt x="70" y="18"/>
                </a:lnTo>
                <a:lnTo>
                  <a:pt x="88" y="14"/>
                </a:lnTo>
                <a:lnTo>
                  <a:pt x="96" y="24"/>
                </a:lnTo>
                <a:lnTo>
                  <a:pt x="96" y="34"/>
                </a:lnTo>
                <a:lnTo>
                  <a:pt x="100" y="40"/>
                </a:lnTo>
                <a:lnTo>
                  <a:pt x="120" y="52"/>
                </a:lnTo>
                <a:lnTo>
                  <a:pt x="150" y="52"/>
                </a:lnTo>
                <a:lnTo>
                  <a:pt x="172" y="54"/>
                </a:lnTo>
                <a:lnTo>
                  <a:pt x="198" y="44"/>
                </a:lnTo>
                <a:lnTo>
                  <a:pt x="236" y="46"/>
                </a:lnTo>
                <a:lnTo>
                  <a:pt x="256" y="50"/>
                </a:lnTo>
                <a:lnTo>
                  <a:pt x="270" y="56"/>
                </a:lnTo>
                <a:lnTo>
                  <a:pt x="268" y="66"/>
                </a:lnTo>
                <a:lnTo>
                  <a:pt x="262" y="70"/>
                </a:lnTo>
                <a:lnTo>
                  <a:pt x="260" y="82"/>
                </a:lnTo>
                <a:lnTo>
                  <a:pt x="222" y="84"/>
                </a:lnTo>
                <a:lnTo>
                  <a:pt x="212" y="76"/>
                </a:lnTo>
                <a:lnTo>
                  <a:pt x="206" y="84"/>
                </a:lnTo>
                <a:lnTo>
                  <a:pt x="132" y="84"/>
                </a:lnTo>
                <a:lnTo>
                  <a:pt x="130" y="74"/>
                </a:lnTo>
                <a:lnTo>
                  <a:pt x="126" y="72"/>
                </a:lnTo>
                <a:lnTo>
                  <a:pt x="120" y="78"/>
                </a:lnTo>
                <a:lnTo>
                  <a:pt x="116" y="84"/>
                </a:lnTo>
                <a:lnTo>
                  <a:pt x="92" y="80"/>
                </a:lnTo>
                <a:lnTo>
                  <a:pt x="88" y="74"/>
                </a:lnTo>
                <a:lnTo>
                  <a:pt x="84" y="78"/>
                </a:lnTo>
                <a:lnTo>
                  <a:pt x="78" y="78"/>
                </a:lnTo>
                <a:lnTo>
                  <a:pt x="72" y="70"/>
                </a:lnTo>
                <a:lnTo>
                  <a:pt x="68" y="58"/>
                </a:lnTo>
                <a:lnTo>
                  <a:pt x="68" y="54"/>
                </a:lnTo>
                <a:lnTo>
                  <a:pt x="72" y="48"/>
                </a:lnTo>
                <a:lnTo>
                  <a:pt x="64" y="38"/>
                </a:lnTo>
                <a:lnTo>
                  <a:pt x="58" y="28"/>
                </a:lnTo>
                <a:lnTo>
                  <a:pt x="48" y="2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1" name="Freeform 16">
            <a:extLst>
              <a:ext uri="{FF2B5EF4-FFF2-40B4-BE49-F238E27FC236}">
                <a16:creationId xmlns:a16="http://schemas.microsoft.com/office/drawing/2014/main" id="{F50BCDA7-D038-79AA-713C-AAA41D43D0C3}"/>
              </a:ext>
            </a:extLst>
          </p:cNvPr>
          <p:cNvSpPr>
            <a:spLocks/>
          </p:cNvSpPr>
          <p:nvPr/>
        </p:nvSpPr>
        <p:spPr bwMode="auto">
          <a:xfrm>
            <a:off x="2235201" y="2034117"/>
            <a:ext cx="182033" cy="127000"/>
          </a:xfrm>
          <a:custGeom>
            <a:avLst/>
            <a:gdLst>
              <a:gd name="T0" fmla="*/ 2147483647 w 90"/>
              <a:gd name="T1" fmla="*/ 2147483647 h 64"/>
              <a:gd name="T2" fmla="*/ 0 w 90"/>
              <a:gd name="T3" fmla="*/ 2147483647 h 64"/>
              <a:gd name="T4" fmla="*/ 2147483647 w 90"/>
              <a:gd name="T5" fmla="*/ 2147483647 h 64"/>
              <a:gd name="T6" fmla="*/ 2147483647 w 90"/>
              <a:gd name="T7" fmla="*/ 2147483647 h 64"/>
              <a:gd name="T8" fmla="*/ 2147483647 w 90"/>
              <a:gd name="T9" fmla="*/ 2147483647 h 64"/>
              <a:gd name="T10" fmla="*/ 2147483647 w 90"/>
              <a:gd name="T11" fmla="*/ 2147483647 h 64"/>
              <a:gd name="T12" fmla="*/ 2147483647 w 90"/>
              <a:gd name="T13" fmla="*/ 2147483647 h 64"/>
              <a:gd name="T14" fmla="*/ 2147483647 w 90"/>
              <a:gd name="T15" fmla="*/ 2147483647 h 64"/>
              <a:gd name="T16" fmla="*/ 2147483647 w 90"/>
              <a:gd name="T17" fmla="*/ 2147483647 h 64"/>
              <a:gd name="T18" fmla="*/ 2147483647 w 90"/>
              <a:gd name="T19" fmla="*/ 2147483647 h 64"/>
              <a:gd name="T20" fmla="*/ 2147483647 w 90"/>
              <a:gd name="T21" fmla="*/ 2147483647 h 64"/>
              <a:gd name="T22" fmla="*/ 2147483647 w 90"/>
              <a:gd name="T23" fmla="*/ 2147483647 h 64"/>
              <a:gd name="T24" fmla="*/ 2147483647 w 90"/>
              <a:gd name="T25" fmla="*/ 2147483647 h 64"/>
              <a:gd name="T26" fmla="*/ 2147483647 w 90"/>
              <a:gd name="T27" fmla="*/ 0 h 64"/>
              <a:gd name="T28" fmla="*/ 2147483647 w 90"/>
              <a:gd name="T29" fmla="*/ 0 h 64"/>
              <a:gd name="T30" fmla="*/ 2147483647 w 90"/>
              <a:gd name="T31" fmla="*/ 2147483647 h 64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0"/>
              <a:gd name="T49" fmla="*/ 0 h 64"/>
              <a:gd name="T50" fmla="*/ 90 w 90"/>
              <a:gd name="T51" fmla="*/ 64 h 64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0" h="64">
                <a:moveTo>
                  <a:pt x="8" y="2"/>
                </a:moveTo>
                <a:lnTo>
                  <a:pt x="0" y="14"/>
                </a:lnTo>
                <a:lnTo>
                  <a:pt x="4" y="36"/>
                </a:lnTo>
                <a:lnTo>
                  <a:pt x="8" y="50"/>
                </a:lnTo>
                <a:lnTo>
                  <a:pt x="12" y="62"/>
                </a:lnTo>
                <a:lnTo>
                  <a:pt x="24" y="64"/>
                </a:lnTo>
                <a:lnTo>
                  <a:pt x="34" y="52"/>
                </a:lnTo>
                <a:lnTo>
                  <a:pt x="30" y="42"/>
                </a:lnTo>
                <a:lnTo>
                  <a:pt x="42" y="40"/>
                </a:lnTo>
                <a:lnTo>
                  <a:pt x="60" y="40"/>
                </a:lnTo>
                <a:lnTo>
                  <a:pt x="78" y="18"/>
                </a:lnTo>
                <a:lnTo>
                  <a:pt x="90" y="2"/>
                </a:lnTo>
                <a:lnTo>
                  <a:pt x="60" y="2"/>
                </a:lnTo>
                <a:lnTo>
                  <a:pt x="42" y="0"/>
                </a:lnTo>
                <a:lnTo>
                  <a:pt x="20" y="0"/>
                </a:lnTo>
                <a:lnTo>
                  <a:pt x="8" y="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2" name="Freeform 17">
            <a:extLst>
              <a:ext uri="{FF2B5EF4-FFF2-40B4-BE49-F238E27FC236}">
                <a16:creationId xmlns:a16="http://schemas.microsoft.com/office/drawing/2014/main" id="{E66559ED-1A91-26FB-C521-F6A012A3A77B}"/>
              </a:ext>
            </a:extLst>
          </p:cNvPr>
          <p:cNvSpPr>
            <a:spLocks/>
          </p:cNvSpPr>
          <p:nvPr/>
        </p:nvSpPr>
        <p:spPr bwMode="auto">
          <a:xfrm>
            <a:off x="2349501" y="1416051"/>
            <a:ext cx="969433" cy="493184"/>
          </a:xfrm>
          <a:custGeom>
            <a:avLst/>
            <a:gdLst>
              <a:gd name="T0" fmla="*/ 2147483647 w 490"/>
              <a:gd name="T1" fmla="*/ 2147483647 h 252"/>
              <a:gd name="T2" fmla="*/ 2147483647 w 490"/>
              <a:gd name="T3" fmla="*/ 2147483647 h 252"/>
              <a:gd name="T4" fmla="*/ 2147483647 w 490"/>
              <a:gd name="T5" fmla="*/ 2147483647 h 252"/>
              <a:gd name="T6" fmla="*/ 2147483647 w 490"/>
              <a:gd name="T7" fmla="*/ 2147483647 h 252"/>
              <a:gd name="T8" fmla="*/ 2147483647 w 490"/>
              <a:gd name="T9" fmla="*/ 2147483647 h 252"/>
              <a:gd name="T10" fmla="*/ 2147483647 w 490"/>
              <a:gd name="T11" fmla="*/ 2147483647 h 252"/>
              <a:gd name="T12" fmla="*/ 2147483647 w 490"/>
              <a:gd name="T13" fmla="*/ 2147483647 h 252"/>
              <a:gd name="T14" fmla="*/ 2147483647 w 490"/>
              <a:gd name="T15" fmla="*/ 2147483647 h 252"/>
              <a:gd name="T16" fmla="*/ 2147483647 w 490"/>
              <a:gd name="T17" fmla="*/ 2147483647 h 252"/>
              <a:gd name="T18" fmla="*/ 2147483647 w 490"/>
              <a:gd name="T19" fmla="*/ 2147483647 h 252"/>
              <a:gd name="T20" fmla="*/ 2147483647 w 490"/>
              <a:gd name="T21" fmla="*/ 2147483647 h 252"/>
              <a:gd name="T22" fmla="*/ 2147483647 w 490"/>
              <a:gd name="T23" fmla="*/ 2147483647 h 252"/>
              <a:gd name="T24" fmla="*/ 2147483647 w 490"/>
              <a:gd name="T25" fmla="*/ 2147483647 h 252"/>
              <a:gd name="T26" fmla="*/ 2147483647 w 490"/>
              <a:gd name="T27" fmla="*/ 2147483647 h 252"/>
              <a:gd name="T28" fmla="*/ 2147483647 w 490"/>
              <a:gd name="T29" fmla="*/ 2147483647 h 252"/>
              <a:gd name="T30" fmla="*/ 2147483647 w 490"/>
              <a:gd name="T31" fmla="*/ 2147483647 h 252"/>
              <a:gd name="T32" fmla="*/ 2147483647 w 490"/>
              <a:gd name="T33" fmla="*/ 2147483647 h 252"/>
              <a:gd name="T34" fmla="*/ 2147483647 w 490"/>
              <a:gd name="T35" fmla="*/ 2147483647 h 252"/>
              <a:gd name="T36" fmla="*/ 2147483647 w 490"/>
              <a:gd name="T37" fmla="*/ 2147483647 h 252"/>
              <a:gd name="T38" fmla="*/ 2147483647 w 490"/>
              <a:gd name="T39" fmla="*/ 2147483647 h 252"/>
              <a:gd name="T40" fmla="*/ 2147483647 w 490"/>
              <a:gd name="T41" fmla="*/ 2147483647 h 252"/>
              <a:gd name="T42" fmla="*/ 2147483647 w 490"/>
              <a:gd name="T43" fmla="*/ 2147483647 h 252"/>
              <a:gd name="T44" fmla="*/ 2147483647 w 490"/>
              <a:gd name="T45" fmla="*/ 2147483647 h 252"/>
              <a:gd name="T46" fmla="*/ 2147483647 w 490"/>
              <a:gd name="T47" fmla="*/ 2147483647 h 252"/>
              <a:gd name="T48" fmla="*/ 2147483647 w 490"/>
              <a:gd name="T49" fmla="*/ 2147483647 h 252"/>
              <a:gd name="T50" fmla="*/ 2147483647 w 490"/>
              <a:gd name="T51" fmla="*/ 2147483647 h 252"/>
              <a:gd name="T52" fmla="*/ 2147483647 w 490"/>
              <a:gd name="T53" fmla="*/ 2147483647 h 252"/>
              <a:gd name="T54" fmla="*/ 2147483647 w 490"/>
              <a:gd name="T55" fmla="*/ 2147483647 h 252"/>
              <a:gd name="T56" fmla="*/ 2147483647 w 490"/>
              <a:gd name="T57" fmla="*/ 2147483647 h 252"/>
              <a:gd name="T58" fmla="*/ 2147483647 w 490"/>
              <a:gd name="T59" fmla="*/ 2147483647 h 252"/>
              <a:gd name="T60" fmla="*/ 2147483647 w 490"/>
              <a:gd name="T61" fmla="*/ 2147483647 h 252"/>
              <a:gd name="T62" fmla="*/ 2147483647 w 490"/>
              <a:gd name="T63" fmla="*/ 2147483647 h 252"/>
              <a:gd name="T64" fmla="*/ 2147483647 w 490"/>
              <a:gd name="T65" fmla="*/ 2147483647 h 252"/>
              <a:gd name="T66" fmla="*/ 2147483647 w 490"/>
              <a:gd name="T67" fmla="*/ 2147483647 h 252"/>
              <a:gd name="T68" fmla="*/ 2147483647 w 490"/>
              <a:gd name="T69" fmla="*/ 2147483647 h 252"/>
              <a:gd name="T70" fmla="*/ 2147483647 w 490"/>
              <a:gd name="T71" fmla="*/ 2147483647 h 252"/>
              <a:gd name="T72" fmla="*/ 2147483647 w 490"/>
              <a:gd name="T73" fmla="*/ 2147483647 h 252"/>
              <a:gd name="T74" fmla="*/ 2147483647 w 490"/>
              <a:gd name="T75" fmla="*/ 2147483647 h 252"/>
              <a:gd name="T76" fmla="*/ 2147483647 w 490"/>
              <a:gd name="T77" fmla="*/ 2147483647 h 252"/>
              <a:gd name="T78" fmla="*/ 2147483647 w 490"/>
              <a:gd name="T79" fmla="*/ 2147483647 h 252"/>
              <a:gd name="T80" fmla="*/ 2147483647 w 490"/>
              <a:gd name="T81" fmla="*/ 2147483647 h 252"/>
              <a:gd name="T82" fmla="*/ 2147483647 w 490"/>
              <a:gd name="T83" fmla="*/ 2147483647 h 252"/>
              <a:gd name="T84" fmla="*/ 2147483647 w 490"/>
              <a:gd name="T85" fmla="*/ 2147483647 h 252"/>
              <a:gd name="T86" fmla="*/ 2147483647 w 490"/>
              <a:gd name="T87" fmla="*/ 2147483647 h 252"/>
              <a:gd name="T88" fmla="*/ 2147483647 w 490"/>
              <a:gd name="T89" fmla="*/ 2147483647 h 252"/>
              <a:gd name="T90" fmla="*/ 2147483647 w 490"/>
              <a:gd name="T91" fmla="*/ 2147483647 h 252"/>
              <a:gd name="T92" fmla="*/ 2147483647 w 490"/>
              <a:gd name="T93" fmla="*/ 2147483647 h 252"/>
              <a:gd name="T94" fmla="*/ 2147483647 w 490"/>
              <a:gd name="T95" fmla="*/ 2147483647 h 252"/>
              <a:gd name="T96" fmla="*/ 2147483647 w 490"/>
              <a:gd name="T97" fmla="*/ 2147483647 h 252"/>
              <a:gd name="T98" fmla="*/ 2147483647 w 490"/>
              <a:gd name="T99" fmla="*/ 2147483647 h 252"/>
              <a:gd name="T100" fmla="*/ 2147483647 w 490"/>
              <a:gd name="T101" fmla="*/ 2147483647 h 252"/>
              <a:gd name="T102" fmla="*/ 2147483647 w 490"/>
              <a:gd name="T103" fmla="*/ 2147483647 h 252"/>
              <a:gd name="T104" fmla="*/ 2147483647 w 490"/>
              <a:gd name="T105" fmla="*/ 2147483647 h 252"/>
              <a:gd name="T106" fmla="*/ 2147483647 w 490"/>
              <a:gd name="T107" fmla="*/ 2147483647 h 252"/>
              <a:gd name="T108" fmla="*/ 2147483647 w 490"/>
              <a:gd name="T109" fmla="*/ 2147483647 h 252"/>
              <a:gd name="T110" fmla="*/ 2147483647 w 490"/>
              <a:gd name="T111" fmla="*/ 2147483647 h 25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90"/>
              <a:gd name="T169" fmla="*/ 0 h 252"/>
              <a:gd name="T170" fmla="*/ 490 w 490"/>
              <a:gd name="T171" fmla="*/ 252 h 25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90" h="252">
                <a:moveTo>
                  <a:pt x="434" y="68"/>
                </a:moveTo>
                <a:lnTo>
                  <a:pt x="412" y="76"/>
                </a:lnTo>
                <a:lnTo>
                  <a:pt x="396" y="86"/>
                </a:lnTo>
                <a:lnTo>
                  <a:pt x="370" y="94"/>
                </a:lnTo>
                <a:lnTo>
                  <a:pt x="352" y="108"/>
                </a:lnTo>
                <a:lnTo>
                  <a:pt x="340" y="108"/>
                </a:lnTo>
                <a:lnTo>
                  <a:pt x="336" y="120"/>
                </a:lnTo>
                <a:lnTo>
                  <a:pt x="324" y="130"/>
                </a:lnTo>
                <a:lnTo>
                  <a:pt x="308" y="134"/>
                </a:lnTo>
                <a:lnTo>
                  <a:pt x="300" y="128"/>
                </a:lnTo>
                <a:lnTo>
                  <a:pt x="286" y="124"/>
                </a:lnTo>
                <a:lnTo>
                  <a:pt x="280" y="126"/>
                </a:lnTo>
                <a:lnTo>
                  <a:pt x="288" y="130"/>
                </a:lnTo>
                <a:lnTo>
                  <a:pt x="296" y="132"/>
                </a:lnTo>
                <a:lnTo>
                  <a:pt x="296" y="136"/>
                </a:lnTo>
                <a:lnTo>
                  <a:pt x="296" y="138"/>
                </a:lnTo>
                <a:lnTo>
                  <a:pt x="294" y="138"/>
                </a:lnTo>
                <a:lnTo>
                  <a:pt x="286" y="138"/>
                </a:lnTo>
                <a:lnTo>
                  <a:pt x="276" y="142"/>
                </a:lnTo>
                <a:lnTo>
                  <a:pt x="264" y="140"/>
                </a:lnTo>
                <a:lnTo>
                  <a:pt x="246" y="138"/>
                </a:lnTo>
                <a:lnTo>
                  <a:pt x="234" y="142"/>
                </a:lnTo>
                <a:lnTo>
                  <a:pt x="240" y="148"/>
                </a:lnTo>
                <a:lnTo>
                  <a:pt x="254" y="148"/>
                </a:lnTo>
                <a:lnTo>
                  <a:pt x="272" y="148"/>
                </a:lnTo>
                <a:lnTo>
                  <a:pt x="276" y="154"/>
                </a:lnTo>
                <a:lnTo>
                  <a:pt x="268" y="154"/>
                </a:lnTo>
                <a:lnTo>
                  <a:pt x="254" y="154"/>
                </a:lnTo>
                <a:lnTo>
                  <a:pt x="256" y="160"/>
                </a:lnTo>
                <a:lnTo>
                  <a:pt x="272" y="162"/>
                </a:lnTo>
                <a:lnTo>
                  <a:pt x="272" y="168"/>
                </a:lnTo>
                <a:lnTo>
                  <a:pt x="268" y="170"/>
                </a:lnTo>
                <a:lnTo>
                  <a:pt x="250" y="168"/>
                </a:lnTo>
                <a:lnTo>
                  <a:pt x="254" y="174"/>
                </a:lnTo>
                <a:lnTo>
                  <a:pt x="266" y="180"/>
                </a:lnTo>
                <a:lnTo>
                  <a:pt x="260" y="184"/>
                </a:lnTo>
                <a:lnTo>
                  <a:pt x="258" y="188"/>
                </a:lnTo>
                <a:lnTo>
                  <a:pt x="254" y="192"/>
                </a:lnTo>
                <a:lnTo>
                  <a:pt x="224" y="194"/>
                </a:lnTo>
                <a:lnTo>
                  <a:pt x="220" y="206"/>
                </a:lnTo>
                <a:lnTo>
                  <a:pt x="210" y="212"/>
                </a:lnTo>
                <a:lnTo>
                  <a:pt x="186" y="212"/>
                </a:lnTo>
                <a:lnTo>
                  <a:pt x="166" y="208"/>
                </a:lnTo>
                <a:lnTo>
                  <a:pt x="164" y="216"/>
                </a:lnTo>
                <a:lnTo>
                  <a:pt x="180" y="220"/>
                </a:lnTo>
                <a:lnTo>
                  <a:pt x="202" y="220"/>
                </a:lnTo>
                <a:lnTo>
                  <a:pt x="204" y="226"/>
                </a:lnTo>
                <a:lnTo>
                  <a:pt x="206" y="232"/>
                </a:lnTo>
                <a:lnTo>
                  <a:pt x="214" y="226"/>
                </a:lnTo>
                <a:lnTo>
                  <a:pt x="218" y="222"/>
                </a:lnTo>
                <a:lnTo>
                  <a:pt x="222" y="226"/>
                </a:lnTo>
                <a:lnTo>
                  <a:pt x="224" y="236"/>
                </a:lnTo>
                <a:lnTo>
                  <a:pt x="218" y="240"/>
                </a:lnTo>
                <a:lnTo>
                  <a:pt x="204" y="244"/>
                </a:lnTo>
                <a:lnTo>
                  <a:pt x="188" y="250"/>
                </a:lnTo>
                <a:lnTo>
                  <a:pt x="172" y="252"/>
                </a:lnTo>
                <a:lnTo>
                  <a:pt x="172" y="244"/>
                </a:lnTo>
                <a:lnTo>
                  <a:pt x="162" y="240"/>
                </a:lnTo>
                <a:lnTo>
                  <a:pt x="150" y="242"/>
                </a:lnTo>
                <a:lnTo>
                  <a:pt x="138" y="238"/>
                </a:lnTo>
                <a:lnTo>
                  <a:pt x="132" y="244"/>
                </a:lnTo>
                <a:lnTo>
                  <a:pt x="124" y="238"/>
                </a:lnTo>
                <a:lnTo>
                  <a:pt x="120" y="244"/>
                </a:lnTo>
                <a:lnTo>
                  <a:pt x="88" y="244"/>
                </a:lnTo>
                <a:lnTo>
                  <a:pt x="82" y="238"/>
                </a:lnTo>
                <a:lnTo>
                  <a:pt x="72" y="244"/>
                </a:lnTo>
                <a:lnTo>
                  <a:pt x="68" y="240"/>
                </a:lnTo>
                <a:lnTo>
                  <a:pt x="62" y="244"/>
                </a:lnTo>
                <a:lnTo>
                  <a:pt x="56" y="236"/>
                </a:lnTo>
                <a:lnTo>
                  <a:pt x="46" y="244"/>
                </a:lnTo>
                <a:lnTo>
                  <a:pt x="38" y="236"/>
                </a:lnTo>
                <a:lnTo>
                  <a:pt x="42" y="224"/>
                </a:lnTo>
                <a:lnTo>
                  <a:pt x="56" y="220"/>
                </a:lnTo>
                <a:lnTo>
                  <a:pt x="72" y="220"/>
                </a:lnTo>
                <a:lnTo>
                  <a:pt x="84" y="220"/>
                </a:lnTo>
                <a:lnTo>
                  <a:pt x="80" y="212"/>
                </a:lnTo>
                <a:lnTo>
                  <a:pt x="70" y="212"/>
                </a:lnTo>
                <a:lnTo>
                  <a:pt x="62" y="204"/>
                </a:lnTo>
                <a:lnTo>
                  <a:pt x="62" y="196"/>
                </a:lnTo>
                <a:lnTo>
                  <a:pt x="88" y="196"/>
                </a:lnTo>
                <a:lnTo>
                  <a:pt x="94" y="204"/>
                </a:lnTo>
                <a:lnTo>
                  <a:pt x="102" y="210"/>
                </a:lnTo>
                <a:lnTo>
                  <a:pt x="120" y="212"/>
                </a:lnTo>
                <a:lnTo>
                  <a:pt x="132" y="212"/>
                </a:lnTo>
                <a:lnTo>
                  <a:pt x="146" y="202"/>
                </a:lnTo>
                <a:lnTo>
                  <a:pt x="152" y="190"/>
                </a:lnTo>
                <a:lnTo>
                  <a:pt x="148" y="188"/>
                </a:lnTo>
                <a:lnTo>
                  <a:pt x="140" y="194"/>
                </a:lnTo>
                <a:lnTo>
                  <a:pt x="132" y="202"/>
                </a:lnTo>
                <a:lnTo>
                  <a:pt x="122" y="206"/>
                </a:lnTo>
                <a:lnTo>
                  <a:pt x="104" y="200"/>
                </a:lnTo>
                <a:lnTo>
                  <a:pt x="108" y="194"/>
                </a:lnTo>
                <a:lnTo>
                  <a:pt x="118" y="186"/>
                </a:lnTo>
                <a:lnTo>
                  <a:pt x="116" y="182"/>
                </a:lnTo>
                <a:lnTo>
                  <a:pt x="114" y="174"/>
                </a:lnTo>
                <a:lnTo>
                  <a:pt x="106" y="180"/>
                </a:lnTo>
                <a:lnTo>
                  <a:pt x="100" y="186"/>
                </a:lnTo>
                <a:lnTo>
                  <a:pt x="88" y="182"/>
                </a:lnTo>
                <a:lnTo>
                  <a:pt x="76" y="184"/>
                </a:lnTo>
                <a:lnTo>
                  <a:pt x="68" y="176"/>
                </a:lnTo>
                <a:lnTo>
                  <a:pt x="78" y="166"/>
                </a:lnTo>
                <a:lnTo>
                  <a:pt x="86" y="162"/>
                </a:lnTo>
                <a:lnTo>
                  <a:pt x="104" y="162"/>
                </a:lnTo>
                <a:lnTo>
                  <a:pt x="114" y="160"/>
                </a:lnTo>
                <a:lnTo>
                  <a:pt x="126" y="162"/>
                </a:lnTo>
                <a:lnTo>
                  <a:pt x="138" y="166"/>
                </a:lnTo>
                <a:lnTo>
                  <a:pt x="150" y="166"/>
                </a:lnTo>
                <a:lnTo>
                  <a:pt x="160" y="158"/>
                </a:lnTo>
                <a:lnTo>
                  <a:pt x="154" y="156"/>
                </a:lnTo>
                <a:lnTo>
                  <a:pt x="142" y="158"/>
                </a:lnTo>
                <a:lnTo>
                  <a:pt x="126" y="154"/>
                </a:lnTo>
                <a:lnTo>
                  <a:pt x="114" y="138"/>
                </a:lnTo>
                <a:lnTo>
                  <a:pt x="106" y="130"/>
                </a:lnTo>
                <a:lnTo>
                  <a:pt x="94" y="130"/>
                </a:lnTo>
                <a:lnTo>
                  <a:pt x="86" y="128"/>
                </a:lnTo>
                <a:lnTo>
                  <a:pt x="86" y="114"/>
                </a:lnTo>
                <a:lnTo>
                  <a:pt x="90" y="106"/>
                </a:lnTo>
                <a:lnTo>
                  <a:pt x="108" y="112"/>
                </a:lnTo>
                <a:lnTo>
                  <a:pt x="130" y="110"/>
                </a:lnTo>
                <a:lnTo>
                  <a:pt x="144" y="120"/>
                </a:lnTo>
                <a:lnTo>
                  <a:pt x="156" y="128"/>
                </a:lnTo>
                <a:lnTo>
                  <a:pt x="166" y="134"/>
                </a:lnTo>
                <a:lnTo>
                  <a:pt x="180" y="130"/>
                </a:lnTo>
                <a:lnTo>
                  <a:pt x="166" y="126"/>
                </a:lnTo>
                <a:lnTo>
                  <a:pt x="156" y="118"/>
                </a:lnTo>
                <a:lnTo>
                  <a:pt x="140" y="110"/>
                </a:lnTo>
                <a:lnTo>
                  <a:pt x="146" y="104"/>
                </a:lnTo>
                <a:lnTo>
                  <a:pt x="168" y="104"/>
                </a:lnTo>
                <a:lnTo>
                  <a:pt x="194" y="102"/>
                </a:lnTo>
                <a:lnTo>
                  <a:pt x="206" y="94"/>
                </a:lnTo>
                <a:lnTo>
                  <a:pt x="216" y="88"/>
                </a:lnTo>
                <a:lnTo>
                  <a:pt x="208" y="86"/>
                </a:lnTo>
                <a:lnTo>
                  <a:pt x="216" y="80"/>
                </a:lnTo>
                <a:lnTo>
                  <a:pt x="224" y="74"/>
                </a:lnTo>
                <a:lnTo>
                  <a:pt x="232" y="70"/>
                </a:lnTo>
                <a:lnTo>
                  <a:pt x="226" y="68"/>
                </a:lnTo>
                <a:lnTo>
                  <a:pt x="206" y="76"/>
                </a:lnTo>
                <a:lnTo>
                  <a:pt x="196" y="86"/>
                </a:lnTo>
                <a:lnTo>
                  <a:pt x="182" y="96"/>
                </a:lnTo>
                <a:lnTo>
                  <a:pt x="162" y="96"/>
                </a:lnTo>
                <a:lnTo>
                  <a:pt x="144" y="98"/>
                </a:lnTo>
                <a:lnTo>
                  <a:pt x="138" y="92"/>
                </a:lnTo>
                <a:lnTo>
                  <a:pt x="132" y="92"/>
                </a:lnTo>
                <a:lnTo>
                  <a:pt x="128" y="100"/>
                </a:lnTo>
                <a:lnTo>
                  <a:pt x="110" y="102"/>
                </a:lnTo>
                <a:lnTo>
                  <a:pt x="84" y="98"/>
                </a:lnTo>
                <a:lnTo>
                  <a:pt x="90" y="88"/>
                </a:lnTo>
                <a:lnTo>
                  <a:pt x="98" y="82"/>
                </a:lnTo>
                <a:lnTo>
                  <a:pt x="104" y="76"/>
                </a:lnTo>
                <a:lnTo>
                  <a:pt x="96" y="72"/>
                </a:lnTo>
                <a:lnTo>
                  <a:pt x="80" y="78"/>
                </a:lnTo>
                <a:lnTo>
                  <a:pt x="62" y="78"/>
                </a:lnTo>
                <a:lnTo>
                  <a:pt x="38" y="80"/>
                </a:lnTo>
                <a:lnTo>
                  <a:pt x="26" y="76"/>
                </a:lnTo>
                <a:lnTo>
                  <a:pt x="34" y="72"/>
                </a:lnTo>
                <a:lnTo>
                  <a:pt x="48" y="66"/>
                </a:lnTo>
                <a:lnTo>
                  <a:pt x="60" y="64"/>
                </a:lnTo>
                <a:lnTo>
                  <a:pt x="52" y="62"/>
                </a:lnTo>
                <a:lnTo>
                  <a:pt x="40" y="62"/>
                </a:lnTo>
                <a:lnTo>
                  <a:pt x="32" y="66"/>
                </a:lnTo>
                <a:lnTo>
                  <a:pt x="20" y="70"/>
                </a:lnTo>
                <a:lnTo>
                  <a:pt x="22" y="64"/>
                </a:lnTo>
                <a:lnTo>
                  <a:pt x="28" y="60"/>
                </a:lnTo>
                <a:lnTo>
                  <a:pt x="20" y="56"/>
                </a:lnTo>
                <a:lnTo>
                  <a:pt x="14" y="60"/>
                </a:lnTo>
                <a:lnTo>
                  <a:pt x="0" y="60"/>
                </a:lnTo>
                <a:lnTo>
                  <a:pt x="12" y="50"/>
                </a:lnTo>
                <a:lnTo>
                  <a:pt x="36" y="50"/>
                </a:lnTo>
                <a:lnTo>
                  <a:pt x="46" y="46"/>
                </a:lnTo>
                <a:lnTo>
                  <a:pt x="54" y="42"/>
                </a:lnTo>
                <a:lnTo>
                  <a:pt x="72" y="42"/>
                </a:lnTo>
                <a:lnTo>
                  <a:pt x="80" y="46"/>
                </a:lnTo>
                <a:lnTo>
                  <a:pt x="94" y="46"/>
                </a:lnTo>
                <a:lnTo>
                  <a:pt x="106" y="46"/>
                </a:lnTo>
                <a:lnTo>
                  <a:pt x="98" y="36"/>
                </a:lnTo>
                <a:lnTo>
                  <a:pt x="102" y="28"/>
                </a:lnTo>
                <a:lnTo>
                  <a:pt x="118" y="28"/>
                </a:lnTo>
                <a:lnTo>
                  <a:pt x="130" y="34"/>
                </a:lnTo>
                <a:lnTo>
                  <a:pt x="148" y="38"/>
                </a:lnTo>
                <a:lnTo>
                  <a:pt x="168" y="40"/>
                </a:lnTo>
                <a:lnTo>
                  <a:pt x="156" y="32"/>
                </a:lnTo>
                <a:lnTo>
                  <a:pt x="146" y="26"/>
                </a:lnTo>
                <a:lnTo>
                  <a:pt x="150" y="20"/>
                </a:lnTo>
                <a:lnTo>
                  <a:pt x="164" y="18"/>
                </a:lnTo>
                <a:lnTo>
                  <a:pt x="170" y="14"/>
                </a:lnTo>
                <a:lnTo>
                  <a:pt x="184" y="14"/>
                </a:lnTo>
                <a:lnTo>
                  <a:pt x="198" y="8"/>
                </a:lnTo>
                <a:lnTo>
                  <a:pt x="216" y="10"/>
                </a:lnTo>
                <a:lnTo>
                  <a:pt x="228" y="14"/>
                </a:lnTo>
                <a:lnTo>
                  <a:pt x="236" y="18"/>
                </a:lnTo>
                <a:lnTo>
                  <a:pt x="246" y="26"/>
                </a:lnTo>
                <a:lnTo>
                  <a:pt x="254" y="22"/>
                </a:lnTo>
                <a:lnTo>
                  <a:pt x="246" y="14"/>
                </a:lnTo>
                <a:lnTo>
                  <a:pt x="238" y="6"/>
                </a:lnTo>
                <a:lnTo>
                  <a:pt x="236" y="0"/>
                </a:lnTo>
                <a:lnTo>
                  <a:pt x="278" y="4"/>
                </a:lnTo>
                <a:lnTo>
                  <a:pt x="284" y="12"/>
                </a:lnTo>
                <a:lnTo>
                  <a:pt x="304" y="18"/>
                </a:lnTo>
                <a:lnTo>
                  <a:pt x="296" y="10"/>
                </a:lnTo>
                <a:lnTo>
                  <a:pt x="298" y="2"/>
                </a:lnTo>
                <a:lnTo>
                  <a:pt x="318" y="4"/>
                </a:lnTo>
                <a:lnTo>
                  <a:pt x="326" y="10"/>
                </a:lnTo>
                <a:lnTo>
                  <a:pt x="330" y="4"/>
                </a:lnTo>
                <a:lnTo>
                  <a:pt x="350" y="2"/>
                </a:lnTo>
                <a:lnTo>
                  <a:pt x="366" y="6"/>
                </a:lnTo>
                <a:lnTo>
                  <a:pt x="406" y="8"/>
                </a:lnTo>
                <a:lnTo>
                  <a:pt x="404" y="12"/>
                </a:lnTo>
                <a:lnTo>
                  <a:pt x="388" y="16"/>
                </a:lnTo>
                <a:lnTo>
                  <a:pt x="388" y="20"/>
                </a:lnTo>
                <a:lnTo>
                  <a:pt x="410" y="14"/>
                </a:lnTo>
                <a:lnTo>
                  <a:pt x="434" y="14"/>
                </a:lnTo>
                <a:lnTo>
                  <a:pt x="452" y="14"/>
                </a:lnTo>
                <a:lnTo>
                  <a:pt x="460" y="26"/>
                </a:lnTo>
                <a:lnTo>
                  <a:pt x="484" y="26"/>
                </a:lnTo>
                <a:lnTo>
                  <a:pt x="490" y="36"/>
                </a:lnTo>
                <a:lnTo>
                  <a:pt x="482" y="40"/>
                </a:lnTo>
                <a:lnTo>
                  <a:pt x="458" y="48"/>
                </a:lnTo>
                <a:lnTo>
                  <a:pt x="442" y="56"/>
                </a:lnTo>
                <a:lnTo>
                  <a:pt x="382" y="58"/>
                </a:lnTo>
                <a:lnTo>
                  <a:pt x="376" y="62"/>
                </a:lnTo>
                <a:lnTo>
                  <a:pt x="398" y="64"/>
                </a:lnTo>
                <a:lnTo>
                  <a:pt x="388" y="66"/>
                </a:lnTo>
                <a:lnTo>
                  <a:pt x="368" y="74"/>
                </a:lnTo>
                <a:lnTo>
                  <a:pt x="398" y="70"/>
                </a:lnTo>
                <a:lnTo>
                  <a:pt x="418" y="64"/>
                </a:lnTo>
                <a:lnTo>
                  <a:pt x="432" y="64"/>
                </a:lnTo>
                <a:lnTo>
                  <a:pt x="434" y="6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3" name="Freeform 18">
            <a:extLst>
              <a:ext uri="{FF2B5EF4-FFF2-40B4-BE49-F238E27FC236}">
                <a16:creationId xmlns:a16="http://schemas.microsoft.com/office/drawing/2014/main" id="{503241E9-E1CF-25BD-FD2E-5BEC7276D61C}"/>
              </a:ext>
            </a:extLst>
          </p:cNvPr>
          <p:cNvSpPr>
            <a:spLocks/>
          </p:cNvSpPr>
          <p:nvPr/>
        </p:nvSpPr>
        <p:spPr bwMode="auto">
          <a:xfrm>
            <a:off x="821265" y="2169584"/>
            <a:ext cx="2660651" cy="1363133"/>
          </a:xfrm>
          <a:custGeom>
            <a:avLst/>
            <a:gdLst>
              <a:gd name="T0" fmla="*/ 2147483647 w 1350"/>
              <a:gd name="T1" fmla="*/ 2147483647 h 690"/>
              <a:gd name="T2" fmla="*/ 2147483647 w 1350"/>
              <a:gd name="T3" fmla="*/ 2147483647 h 690"/>
              <a:gd name="T4" fmla="*/ 2147483647 w 1350"/>
              <a:gd name="T5" fmla="*/ 2147483647 h 690"/>
              <a:gd name="T6" fmla="*/ 2147483647 w 1350"/>
              <a:gd name="T7" fmla="*/ 2147483647 h 690"/>
              <a:gd name="T8" fmla="*/ 2147483647 w 1350"/>
              <a:gd name="T9" fmla="*/ 2147483647 h 690"/>
              <a:gd name="T10" fmla="*/ 2147483647 w 1350"/>
              <a:gd name="T11" fmla="*/ 2147483647 h 690"/>
              <a:gd name="T12" fmla="*/ 2147483647 w 1350"/>
              <a:gd name="T13" fmla="*/ 2147483647 h 690"/>
              <a:gd name="T14" fmla="*/ 2147483647 w 1350"/>
              <a:gd name="T15" fmla="*/ 2147483647 h 690"/>
              <a:gd name="T16" fmla="*/ 2147483647 w 1350"/>
              <a:gd name="T17" fmla="*/ 2147483647 h 690"/>
              <a:gd name="T18" fmla="*/ 2147483647 w 1350"/>
              <a:gd name="T19" fmla="*/ 2147483647 h 690"/>
              <a:gd name="T20" fmla="*/ 2147483647 w 1350"/>
              <a:gd name="T21" fmla="*/ 2147483647 h 690"/>
              <a:gd name="T22" fmla="*/ 2147483647 w 1350"/>
              <a:gd name="T23" fmla="*/ 2147483647 h 690"/>
              <a:gd name="T24" fmla="*/ 2147483647 w 1350"/>
              <a:gd name="T25" fmla="*/ 2147483647 h 690"/>
              <a:gd name="T26" fmla="*/ 2147483647 w 1350"/>
              <a:gd name="T27" fmla="*/ 2147483647 h 690"/>
              <a:gd name="T28" fmla="*/ 2147483647 w 1350"/>
              <a:gd name="T29" fmla="*/ 2147483647 h 690"/>
              <a:gd name="T30" fmla="*/ 2147483647 w 1350"/>
              <a:gd name="T31" fmla="*/ 2147483647 h 690"/>
              <a:gd name="T32" fmla="*/ 2147483647 w 1350"/>
              <a:gd name="T33" fmla="*/ 2147483647 h 690"/>
              <a:gd name="T34" fmla="*/ 2147483647 w 1350"/>
              <a:gd name="T35" fmla="*/ 2147483647 h 690"/>
              <a:gd name="T36" fmla="*/ 2147483647 w 1350"/>
              <a:gd name="T37" fmla="*/ 2147483647 h 690"/>
              <a:gd name="T38" fmla="*/ 2147483647 w 1350"/>
              <a:gd name="T39" fmla="*/ 2147483647 h 690"/>
              <a:gd name="T40" fmla="*/ 2147483647 w 1350"/>
              <a:gd name="T41" fmla="*/ 2147483647 h 690"/>
              <a:gd name="T42" fmla="*/ 2147483647 w 1350"/>
              <a:gd name="T43" fmla="*/ 2147483647 h 690"/>
              <a:gd name="T44" fmla="*/ 2147483647 w 1350"/>
              <a:gd name="T45" fmla="*/ 2147483647 h 690"/>
              <a:gd name="T46" fmla="*/ 2147483647 w 1350"/>
              <a:gd name="T47" fmla="*/ 2147483647 h 690"/>
              <a:gd name="T48" fmla="*/ 2147483647 w 1350"/>
              <a:gd name="T49" fmla="*/ 2147483647 h 690"/>
              <a:gd name="T50" fmla="*/ 2147483647 w 1350"/>
              <a:gd name="T51" fmla="*/ 2147483647 h 690"/>
              <a:gd name="T52" fmla="*/ 2147483647 w 1350"/>
              <a:gd name="T53" fmla="*/ 2147483647 h 690"/>
              <a:gd name="T54" fmla="*/ 2147483647 w 1350"/>
              <a:gd name="T55" fmla="*/ 2147483647 h 690"/>
              <a:gd name="T56" fmla="*/ 2147483647 w 1350"/>
              <a:gd name="T57" fmla="*/ 2147483647 h 690"/>
              <a:gd name="T58" fmla="*/ 2147483647 w 1350"/>
              <a:gd name="T59" fmla="*/ 2147483647 h 690"/>
              <a:gd name="T60" fmla="*/ 2147483647 w 1350"/>
              <a:gd name="T61" fmla="*/ 2147483647 h 690"/>
              <a:gd name="T62" fmla="*/ 2147483647 w 1350"/>
              <a:gd name="T63" fmla="*/ 2147483647 h 690"/>
              <a:gd name="T64" fmla="*/ 2147483647 w 1350"/>
              <a:gd name="T65" fmla="*/ 2147483647 h 690"/>
              <a:gd name="T66" fmla="*/ 2147483647 w 1350"/>
              <a:gd name="T67" fmla="*/ 2147483647 h 690"/>
              <a:gd name="T68" fmla="*/ 2147483647 w 1350"/>
              <a:gd name="T69" fmla="*/ 2147483647 h 690"/>
              <a:gd name="T70" fmla="*/ 2147483647 w 1350"/>
              <a:gd name="T71" fmla="*/ 2147483647 h 690"/>
              <a:gd name="T72" fmla="*/ 2147483647 w 1350"/>
              <a:gd name="T73" fmla="*/ 2147483647 h 690"/>
              <a:gd name="T74" fmla="*/ 2147483647 w 1350"/>
              <a:gd name="T75" fmla="*/ 2147483647 h 690"/>
              <a:gd name="T76" fmla="*/ 2147483647 w 1350"/>
              <a:gd name="T77" fmla="*/ 2147483647 h 690"/>
              <a:gd name="T78" fmla="*/ 2147483647 w 1350"/>
              <a:gd name="T79" fmla="*/ 2147483647 h 690"/>
              <a:gd name="T80" fmla="*/ 2147483647 w 1350"/>
              <a:gd name="T81" fmla="*/ 2147483647 h 690"/>
              <a:gd name="T82" fmla="*/ 2147483647 w 1350"/>
              <a:gd name="T83" fmla="*/ 2147483647 h 690"/>
              <a:gd name="T84" fmla="*/ 2147483647 w 1350"/>
              <a:gd name="T85" fmla="*/ 2147483647 h 690"/>
              <a:gd name="T86" fmla="*/ 2147483647 w 1350"/>
              <a:gd name="T87" fmla="*/ 2147483647 h 690"/>
              <a:gd name="T88" fmla="*/ 2147483647 w 1350"/>
              <a:gd name="T89" fmla="*/ 2147483647 h 690"/>
              <a:gd name="T90" fmla="*/ 2147483647 w 1350"/>
              <a:gd name="T91" fmla="*/ 2147483647 h 690"/>
              <a:gd name="T92" fmla="*/ 2147483647 w 1350"/>
              <a:gd name="T93" fmla="*/ 2147483647 h 690"/>
              <a:gd name="T94" fmla="*/ 2147483647 w 1350"/>
              <a:gd name="T95" fmla="*/ 2147483647 h 690"/>
              <a:gd name="T96" fmla="*/ 2147483647 w 1350"/>
              <a:gd name="T97" fmla="*/ 2147483647 h 690"/>
              <a:gd name="T98" fmla="*/ 2147483647 w 1350"/>
              <a:gd name="T99" fmla="*/ 2147483647 h 690"/>
              <a:gd name="T100" fmla="*/ 2147483647 w 1350"/>
              <a:gd name="T101" fmla="*/ 2147483647 h 690"/>
              <a:gd name="T102" fmla="*/ 2147483647 w 1350"/>
              <a:gd name="T103" fmla="*/ 2147483647 h 690"/>
              <a:gd name="T104" fmla="*/ 2147483647 w 1350"/>
              <a:gd name="T105" fmla="*/ 2147483647 h 690"/>
              <a:gd name="T106" fmla="*/ 2147483647 w 1350"/>
              <a:gd name="T107" fmla="*/ 2147483647 h 690"/>
              <a:gd name="T108" fmla="*/ 2147483647 w 1350"/>
              <a:gd name="T109" fmla="*/ 2147483647 h 690"/>
              <a:gd name="T110" fmla="*/ 2147483647 w 1350"/>
              <a:gd name="T111" fmla="*/ 2147483647 h 690"/>
              <a:gd name="T112" fmla="*/ 2147483647 w 1350"/>
              <a:gd name="T113" fmla="*/ 2147483647 h 690"/>
              <a:gd name="T114" fmla="*/ 2147483647 w 1350"/>
              <a:gd name="T115" fmla="*/ 2147483647 h 690"/>
              <a:gd name="T116" fmla="*/ 2147483647 w 1350"/>
              <a:gd name="T117" fmla="*/ 2147483647 h 690"/>
              <a:gd name="T118" fmla="*/ 2147483647 w 1350"/>
              <a:gd name="T119" fmla="*/ 2147483647 h 690"/>
              <a:gd name="T120" fmla="*/ 2147483647 w 1350"/>
              <a:gd name="T121" fmla="*/ 2147483647 h 690"/>
              <a:gd name="T122" fmla="*/ 2147483647 w 1350"/>
              <a:gd name="T123" fmla="*/ 2147483647 h 69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350"/>
              <a:gd name="T187" fmla="*/ 0 h 690"/>
              <a:gd name="T188" fmla="*/ 1350 w 1350"/>
              <a:gd name="T189" fmla="*/ 690 h 69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350" h="690">
                <a:moveTo>
                  <a:pt x="1218" y="562"/>
                </a:moveTo>
                <a:lnTo>
                  <a:pt x="1214" y="568"/>
                </a:lnTo>
                <a:lnTo>
                  <a:pt x="1204" y="570"/>
                </a:lnTo>
                <a:lnTo>
                  <a:pt x="1208" y="580"/>
                </a:lnTo>
                <a:lnTo>
                  <a:pt x="1204" y="588"/>
                </a:lnTo>
                <a:lnTo>
                  <a:pt x="1206" y="594"/>
                </a:lnTo>
                <a:lnTo>
                  <a:pt x="1210" y="602"/>
                </a:lnTo>
                <a:lnTo>
                  <a:pt x="1222" y="610"/>
                </a:lnTo>
                <a:lnTo>
                  <a:pt x="1236" y="614"/>
                </a:lnTo>
                <a:lnTo>
                  <a:pt x="1254" y="614"/>
                </a:lnTo>
                <a:lnTo>
                  <a:pt x="1262" y="612"/>
                </a:lnTo>
                <a:lnTo>
                  <a:pt x="1266" y="604"/>
                </a:lnTo>
                <a:lnTo>
                  <a:pt x="1270" y="596"/>
                </a:lnTo>
                <a:lnTo>
                  <a:pt x="1278" y="596"/>
                </a:lnTo>
                <a:lnTo>
                  <a:pt x="1278" y="604"/>
                </a:lnTo>
                <a:lnTo>
                  <a:pt x="1284" y="608"/>
                </a:lnTo>
                <a:lnTo>
                  <a:pt x="1284" y="616"/>
                </a:lnTo>
                <a:lnTo>
                  <a:pt x="1274" y="616"/>
                </a:lnTo>
                <a:lnTo>
                  <a:pt x="1268" y="616"/>
                </a:lnTo>
                <a:lnTo>
                  <a:pt x="1262" y="626"/>
                </a:lnTo>
                <a:lnTo>
                  <a:pt x="1258" y="630"/>
                </a:lnTo>
                <a:lnTo>
                  <a:pt x="1246" y="634"/>
                </a:lnTo>
                <a:lnTo>
                  <a:pt x="1230" y="640"/>
                </a:lnTo>
                <a:lnTo>
                  <a:pt x="1220" y="640"/>
                </a:lnTo>
                <a:lnTo>
                  <a:pt x="1212" y="648"/>
                </a:lnTo>
                <a:lnTo>
                  <a:pt x="1204" y="656"/>
                </a:lnTo>
                <a:lnTo>
                  <a:pt x="1198" y="662"/>
                </a:lnTo>
                <a:lnTo>
                  <a:pt x="1188" y="656"/>
                </a:lnTo>
                <a:lnTo>
                  <a:pt x="1186" y="648"/>
                </a:lnTo>
                <a:lnTo>
                  <a:pt x="1190" y="640"/>
                </a:lnTo>
                <a:lnTo>
                  <a:pt x="1202" y="632"/>
                </a:lnTo>
                <a:lnTo>
                  <a:pt x="1214" y="628"/>
                </a:lnTo>
                <a:lnTo>
                  <a:pt x="1216" y="626"/>
                </a:lnTo>
                <a:lnTo>
                  <a:pt x="1216" y="624"/>
                </a:lnTo>
                <a:lnTo>
                  <a:pt x="1214" y="620"/>
                </a:lnTo>
                <a:lnTo>
                  <a:pt x="1210" y="618"/>
                </a:lnTo>
                <a:lnTo>
                  <a:pt x="1198" y="624"/>
                </a:lnTo>
                <a:lnTo>
                  <a:pt x="1188" y="628"/>
                </a:lnTo>
                <a:lnTo>
                  <a:pt x="1172" y="632"/>
                </a:lnTo>
                <a:lnTo>
                  <a:pt x="1168" y="626"/>
                </a:lnTo>
                <a:lnTo>
                  <a:pt x="1162" y="620"/>
                </a:lnTo>
                <a:lnTo>
                  <a:pt x="1160" y="612"/>
                </a:lnTo>
                <a:lnTo>
                  <a:pt x="1162" y="596"/>
                </a:lnTo>
                <a:lnTo>
                  <a:pt x="1160" y="588"/>
                </a:lnTo>
                <a:lnTo>
                  <a:pt x="1146" y="584"/>
                </a:lnTo>
                <a:lnTo>
                  <a:pt x="1138" y="580"/>
                </a:lnTo>
                <a:lnTo>
                  <a:pt x="1130" y="588"/>
                </a:lnTo>
                <a:lnTo>
                  <a:pt x="1122" y="602"/>
                </a:lnTo>
                <a:lnTo>
                  <a:pt x="1118" y="612"/>
                </a:lnTo>
                <a:lnTo>
                  <a:pt x="1118" y="618"/>
                </a:lnTo>
                <a:lnTo>
                  <a:pt x="1112" y="626"/>
                </a:lnTo>
                <a:lnTo>
                  <a:pt x="1100" y="632"/>
                </a:lnTo>
                <a:lnTo>
                  <a:pt x="1042" y="632"/>
                </a:lnTo>
                <a:lnTo>
                  <a:pt x="1026" y="644"/>
                </a:lnTo>
                <a:lnTo>
                  <a:pt x="1020" y="648"/>
                </a:lnTo>
                <a:lnTo>
                  <a:pt x="1014" y="652"/>
                </a:lnTo>
                <a:lnTo>
                  <a:pt x="1002" y="652"/>
                </a:lnTo>
                <a:lnTo>
                  <a:pt x="986" y="652"/>
                </a:lnTo>
                <a:lnTo>
                  <a:pt x="980" y="656"/>
                </a:lnTo>
                <a:lnTo>
                  <a:pt x="972" y="660"/>
                </a:lnTo>
                <a:lnTo>
                  <a:pt x="974" y="664"/>
                </a:lnTo>
                <a:lnTo>
                  <a:pt x="982" y="664"/>
                </a:lnTo>
                <a:lnTo>
                  <a:pt x="980" y="668"/>
                </a:lnTo>
                <a:lnTo>
                  <a:pt x="982" y="672"/>
                </a:lnTo>
                <a:lnTo>
                  <a:pt x="964" y="674"/>
                </a:lnTo>
                <a:lnTo>
                  <a:pt x="948" y="678"/>
                </a:lnTo>
                <a:lnTo>
                  <a:pt x="940" y="680"/>
                </a:lnTo>
                <a:lnTo>
                  <a:pt x="932" y="686"/>
                </a:lnTo>
                <a:lnTo>
                  <a:pt x="924" y="690"/>
                </a:lnTo>
                <a:lnTo>
                  <a:pt x="920" y="688"/>
                </a:lnTo>
                <a:lnTo>
                  <a:pt x="920" y="680"/>
                </a:lnTo>
                <a:lnTo>
                  <a:pt x="922" y="678"/>
                </a:lnTo>
                <a:lnTo>
                  <a:pt x="922" y="670"/>
                </a:lnTo>
                <a:lnTo>
                  <a:pt x="928" y="668"/>
                </a:lnTo>
                <a:lnTo>
                  <a:pt x="936" y="666"/>
                </a:lnTo>
                <a:lnTo>
                  <a:pt x="938" y="656"/>
                </a:lnTo>
                <a:lnTo>
                  <a:pt x="940" y="648"/>
                </a:lnTo>
                <a:lnTo>
                  <a:pt x="946" y="642"/>
                </a:lnTo>
                <a:lnTo>
                  <a:pt x="948" y="636"/>
                </a:lnTo>
                <a:lnTo>
                  <a:pt x="952" y="636"/>
                </a:lnTo>
                <a:lnTo>
                  <a:pt x="958" y="642"/>
                </a:lnTo>
                <a:lnTo>
                  <a:pt x="966" y="640"/>
                </a:lnTo>
                <a:lnTo>
                  <a:pt x="968" y="632"/>
                </a:lnTo>
                <a:lnTo>
                  <a:pt x="962" y="622"/>
                </a:lnTo>
                <a:lnTo>
                  <a:pt x="954" y="614"/>
                </a:lnTo>
                <a:lnTo>
                  <a:pt x="942" y="610"/>
                </a:lnTo>
                <a:lnTo>
                  <a:pt x="930" y="608"/>
                </a:lnTo>
                <a:lnTo>
                  <a:pt x="914" y="608"/>
                </a:lnTo>
                <a:lnTo>
                  <a:pt x="902" y="606"/>
                </a:lnTo>
                <a:lnTo>
                  <a:pt x="896" y="600"/>
                </a:lnTo>
                <a:lnTo>
                  <a:pt x="892" y="590"/>
                </a:lnTo>
                <a:lnTo>
                  <a:pt x="888" y="578"/>
                </a:lnTo>
                <a:lnTo>
                  <a:pt x="886" y="574"/>
                </a:lnTo>
                <a:lnTo>
                  <a:pt x="874" y="574"/>
                </a:lnTo>
                <a:lnTo>
                  <a:pt x="870" y="566"/>
                </a:lnTo>
                <a:lnTo>
                  <a:pt x="864" y="558"/>
                </a:lnTo>
                <a:lnTo>
                  <a:pt x="854" y="558"/>
                </a:lnTo>
                <a:lnTo>
                  <a:pt x="844" y="554"/>
                </a:lnTo>
                <a:lnTo>
                  <a:pt x="836" y="554"/>
                </a:lnTo>
                <a:lnTo>
                  <a:pt x="828" y="560"/>
                </a:lnTo>
                <a:lnTo>
                  <a:pt x="818" y="566"/>
                </a:lnTo>
                <a:lnTo>
                  <a:pt x="810" y="572"/>
                </a:lnTo>
                <a:lnTo>
                  <a:pt x="804" y="570"/>
                </a:lnTo>
                <a:lnTo>
                  <a:pt x="794" y="570"/>
                </a:lnTo>
                <a:lnTo>
                  <a:pt x="786" y="568"/>
                </a:lnTo>
                <a:lnTo>
                  <a:pt x="782" y="568"/>
                </a:lnTo>
                <a:lnTo>
                  <a:pt x="772" y="564"/>
                </a:lnTo>
                <a:lnTo>
                  <a:pt x="748" y="560"/>
                </a:lnTo>
                <a:lnTo>
                  <a:pt x="736" y="556"/>
                </a:lnTo>
                <a:lnTo>
                  <a:pt x="732" y="552"/>
                </a:lnTo>
                <a:lnTo>
                  <a:pt x="730" y="544"/>
                </a:lnTo>
                <a:lnTo>
                  <a:pt x="722" y="544"/>
                </a:lnTo>
                <a:lnTo>
                  <a:pt x="720" y="552"/>
                </a:lnTo>
                <a:lnTo>
                  <a:pt x="290" y="552"/>
                </a:lnTo>
                <a:lnTo>
                  <a:pt x="282" y="542"/>
                </a:lnTo>
                <a:lnTo>
                  <a:pt x="272" y="532"/>
                </a:lnTo>
                <a:lnTo>
                  <a:pt x="266" y="536"/>
                </a:lnTo>
                <a:lnTo>
                  <a:pt x="256" y="526"/>
                </a:lnTo>
                <a:lnTo>
                  <a:pt x="250" y="516"/>
                </a:lnTo>
                <a:lnTo>
                  <a:pt x="244" y="520"/>
                </a:lnTo>
                <a:lnTo>
                  <a:pt x="232" y="512"/>
                </a:lnTo>
                <a:lnTo>
                  <a:pt x="214" y="510"/>
                </a:lnTo>
                <a:lnTo>
                  <a:pt x="218" y="500"/>
                </a:lnTo>
                <a:lnTo>
                  <a:pt x="216" y="494"/>
                </a:lnTo>
                <a:lnTo>
                  <a:pt x="208" y="494"/>
                </a:lnTo>
                <a:lnTo>
                  <a:pt x="208" y="486"/>
                </a:lnTo>
                <a:lnTo>
                  <a:pt x="206" y="478"/>
                </a:lnTo>
                <a:lnTo>
                  <a:pt x="202" y="472"/>
                </a:lnTo>
                <a:lnTo>
                  <a:pt x="196" y="470"/>
                </a:lnTo>
                <a:lnTo>
                  <a:pt x="188" y="474"/>
                </a:lnTo>
                <a:lnTo>
                  <a:pt x="190" y="466"/>
                </a:lnTo>
                <a:lnTo>
                  <a:pt x="196" y="456"/>
                </a:lnTo>
                <a:lnTo>
                  <a:pt x="194" y="448"/>
                </a:lnTo>
                <a:lnTo>
                  <a:pt x="188" y="452"/>
                </a:lnTo>
                <a:lnTo>
                  <a:pt x="180" y="458"/>
                </a:lnTo>
                <a:lnTo>
                  <a:pt x="172" y="458"/>
                </a:lnTo>
                <a:lnTo>
                  <a:pt x="172" y="446"/>
                </a:lnTo>
                <a:lnTo>
                  <a:pt x="174" y="438"/>
                </a:lnTo>
                <a:lnTo>
                  <a:pt x="174" y="432"/>
                </a:lnTo>
                <a:lnTo>
                  <a:pt x="180" y="420"/>
                </a:lnTo>
                <a:lnTo>
                  <a:pt x="178" y="410"/>
                </a:lnTo>
                <a:lnTo>
                  <a:pt x="174" y="408"/>
                </a:lnTo>
                <a:lnTo>
                  <a:pt x="172" y="400"/>
                </a:lnTo>
                <a:lnTo>
                  <a:pt x="158" y="392"/>
                </a:lnTo>
                <a:lnTo>
                  <a:pt x="150" y="386"/>
                </a:lnTo>
                <a:lnTo>
                  <a:pt x="146" y="384"/>
                </a:lnTo>
                <a:lnTo>
                  <a:pt x="136" y="372"/>
                </a:lnTo>
                <a:lnTo>
                  <a:pt x="126" y="354"/>
                </a:lnTo>
                <a:lnTo>
                  <a:pt x="118" y="346"/>
                </a:lnTo>
                <a:lnTo>
                  <a:pt x="100" y="326"/>
                </a:lnTo>
                <a:lnTo>
                  <a:pt x="88" y="314"/>
                </a:lnTo>
                <a:lnTo>
                  <a:pt x="70" y="322"/>
                </a:lnTo>
                <a:lnTo>
                  <a:pt x="68" y="328"/>
                </a:lnTo>
                <a:lnTo>
                  <a:pt x="58" y="330"/>
                </a:lnTo>
                <a:lnTo>
                  <a:pt x="46" y="320"/>
                </a:lnTo>
                <a:lnTo>
                  <a:pt x="34" y="310"/>
                </a:lnTo>
                <a:lnTo>
                  <a:pt x="26" y="300"/>
                </a:lnTo>
                <a:lnTo>
                  <a:pt x="10" y="306"/>
                </a:lnTo>
                <a:lnTo>
                  <a:pt x="0" y="302"/>
                </a:lnTo>
                <a:lnTo>
                  <a:pt x="0" y="62"/>
                </a:lnTo>
                <a:lnTo>
                  <a:pt x="18" y="64"/>
                </a:lnTo>
                <a:lnTo>
                  <a:pt x="48" y="76"/>
                </a:lnTo>
                <a:lnTo>
                  <a:pt x="84" y="86"/>
                </a:lnTo>
                <a:lnTo>
                  <a:pt x="82" y="72"/>
                </a:lnTo>
                <a:lnTo>
                  <a:pt x="100" y="62"/>
                </a:lnTo>
                <a:lnTo>
                  <a:pt x="110" y="68"/>
                </a:lnTo>
                <a:lnTo>
                  <a:pt x="116" y="72"/>
                </a:lnTo>
                <a:lnTo>
                  <a:pt x="138" y="60"/>
                </a:lnTo>
                <a:lnTo>
                  <a:pt x="162" y="48"/>
                </a:lnTo>
                <a:lnTo>
                  <a:pt x="178" y="48"/>
                </a:lnTo>
                <a:lnTo>
                  <a:pt x="180" y="56"/>
                </a:lnTo>
                <a:lnTo>
                  <a:pt x="192" y="58"/>
                </a:lnTo>
                <a:lnTo>
                  <a:pt x="208" y="38"/>
                </a:lnTo>
                <a:lnTo>
                  <a:pt x="218" y="46"/>
                </a:lnTo>
                <a:lnTo>
                  <a:pt x="230" y="64"/>
                </a:lnTo>
                <a:lnTo>
                  <a:pt x="244" y="66"/>
                </a:lnTo>
                <a:lnTo>
                  <a:pt x="256" y="50"/>
                </a:lnTo>
                <a:lnTo>
                  <a:pt x="262" y="52"/>
                </a:lnTo>
                <a:lnTo>
                  <a:pt x="270" y="70"/>
                </a:lnTo>
                <a:lnTo>
                  <a:pt x="282" y="62"/>
                </a:lnTo>
                <a:lnTo>
                  <a:pt x="302" y="56"/>
                </a:lnTo>
                <a:lnTo>
                  <a:pt x="328" y="66"/>
                </a:lnTo>
                <a:lnTo>
                  <a:pt x="352" y="72"/>
                </a:lnTo>
                <a:lnTo>
                  <a:pt x="382" y="82"/>
                </a:lnTo>
                <a:lnTo>
                  <a:pt x="404" y="84"/>
                </a:lnTo>
                <a:lnTo>
                  <a:pt x="422" y="92"/>
                </a:lnTo>
                <a:lnTo>
                  <a:pt x="424" y="100"/>
                </a:lnTo>
                <a:lnTo>
                  <a:pt x="412" y="102"/>
                </a:lnTo>
                <a:lnTo>
                  <a:pt x="410" y="110"/>
                </a:lnTo>
                <a:lnTo>
                  <a:pt x="426" y="118"/>
                </a:lnTo>
                <a:lnTo>
                  <a:pt x="456" y="116"/>
                </a:lnTo>
                <a:lnTo>
                  <a:pt x="478" y="114"/>
                </a:lnTo>
                <a:lnTo>
                  <a:pt x="486" y="110"/>
                </a:lnTo>
                <a:lnTo>
                  <a:pt x="504" y="120"/>
                </a:lnTo>
                <a:lnTo>
                  <a:pt x="520" y="130"/>
                </a:lnTo>
                <a:lnTo>
                  <a:pt x="528" y="142"/>
                </a:lnTo>
                <a:lnTo>
                  <a:pt x="534" y="138"/>
                </a:lnTo>
                <a:lnTo>
                  <a:pt x="530" y="120"/>
                </a:lnTo>
                <a:lnTo>
                  <a:pt x="526" y="110"/>
                </a:lnTo>
                <a:lnTo>
                  <a:pt x="536" y="104"/>
                </a:lnTo>
                <a:lnTo>
                  <a:pt x="560" y="94"/>
                </a:lnTo>
                <a:lnTo>
                  <a:pt x="578" y="104"/>
                </a:lnTo>
                <a:lnTo>
                  <a:pt x="600" y="112"/>
                </a:lnTo>
                <a:lnTo>
                  <a:pt x="622" y="116"/>
                </a:lnTo>
                <a:lnTo>
                  <a:pt x="646" y="116"/>
                </a:lnTo>
                <a:lnTo>
                  <a:pt x="668" y="116"/>
                </a:lnTo>
                <a:lnTo>
                  <a:pt x="688" y="118"/>
                </a:lnTo>
                <a:lnTo>
                  <a:pt x="694" y="112"/>
                </a:lnTo>
                <a:lnTo>
                  <a:pt x="688" y="108"/>
                </a:lnTo>
                <a:lnTo>
                  <a:pt x="676" y="106"/>
                </a:lnTo>
                <a:lnTo>
                  <a:pt x="678" y="98"/>
                </a:lnTo>
                <a:lnTo>
                  <a:pt x="684" y="96"/>
                </a:lnTo>
                <a:lnTo>
                  <a:pt x="696" y="100"/>
                </a:lnTo>
                <a:lnTo>
                  <a:pt x="708" y="112"/>
                </a:lnTo>
                <a:lnTo>
                  <a:pt x="704" y="116"/>
                </a:lnTo>
                <a:lnTo>
                  <a:pt x="710" y="126"/>
                </a:lnTo>
                <a:lnTo>
                  <a:pt x="716" y="134"/>
                </a:lnTo>
                <a:lnTo>
                  <a:pt x="724" y="134"/>
                </a:lnTo>
                <a:lnTo>
                  <a:pt x="724" y="120"/>
                </a:lnTo>
                <a:lnTo>
                  <a:pt x="722" y="108"/>
                </a:lnTo>
                <a:lnTo>
                  <a:pt x="742" y="102"/>
                </a:lnTo>
                <a:lnTo>
                  <a:pt x="752" y="90"/>
                </a:lnTo>
                <a:lnTo>
                  <a:pt x="750" y="78"/>
                </a:lnTo>
                <a:lnTo>
                  <a:pt x="740" y="64"/>
                </a:lnTo>
                <a:lnTo>
                  <a:pt x="722" y="60"/>
                </a:lnTo>
                <a:lnTo>
                  <a:pt x="708" y="52"/>
                </a:lnTo>
                <a:lnTo>
                  <a:pt x="704" y="44"/>
                </a:lnTo>
                <a:lnTo>
                  <a:pt x="712" y="32"/>
                </a:lnTo>
                <a:lnTo>
                  <a:pt x="704" y="26"/>
                </a:lnTo>
                <a:lnTo>
                  <a:pt x="708" y="12"/>
                </a:lnTo>
                <a:lnTo>
                  <a:pt x="718" y="12"/>
                </a:lnTo>
                <a:lnTo>
                  <a:pt x="722" y="4"/>
                </a:lnTo>
                <a:lnTo>
                  <a:pt x="732" y="0"/>
                </a:lnTo>
                <a:lnTo>
                  <a:pt x="750" y="4"/>
                </a:lnTo>
                <a:lnTo>
                  <a:pt x="762" y="20"/>
                </a:lnTo>
                <a:lnTo>
                  <a:pt x="764" y="26"/>
                </a:lnTo>
                <a:lnTo>
                  <a:pt x="774" y="40"/>
                </a:lnTo>
                <a:lnTo>
                  <a:pt x="776" y="48"/>
                </a:lnTo>
                <a:lnTo>
                  <a:pt x="770" y="54"/>
                </a:lnTo>
                <a:lnTo>
                  <a:pt x="774" y="64"/>
                </a:lnTo>
                <a:lnTo>
                  <a:pt x="786" y="62"/>
                </a:lnTo>
                <a:lnTo>
                  <a:pt x="794" y="64"/>
                </a:lnTo>
                <a:lnTo>
                  <a:pt x="796" y="80"/>
                </a:lnTo>
                <a:lnTo>
                  <a:pt x="802" y="94"/>
                </a:lnTo>
                <a:lnTo>
                  <a:pt x="812" y="98"/>
                </a:lnTo>
                <a:lnTo>
                  <a:pt x="820" y="92"/>
                </a:lnTo>
                <a:lnTo>
                  <a:pt x="814" y="82"/>
                </a:lnTo>
                <a:lnTo>
                  <a:pt x="820" y="74"/>
                </a:lnTo>
                <a:lnTo>
                  <a:pt x="832" y="78"/>
                </a:lnTo>
                <a:lnTo>
                  <a:pt x="842" y="90"/>
                </a:lnTo>
                <a:lnTo>
                  <a:pt x="836" y="100"/>
                </a:lnTo>
                <a:lnTo>
                  <a:pt x="834" y="112"/>
                </a:lnTo>
                <a:lnTo>
                  <a:pt x="844" y="120"/>
                </a:lnTo>
                <a:lnTo>
                  <a:pt x="858" y="126"/>
                </a:lnTo>
                <a:lnTo>
                  <a:pt x="866" y="120"/>
                </a:lnTo>
                <a:lnTo>
                  <a:pt x="874" y="106"/>
                </a:lnTo>
                <a:lnTo>
                  <a:pt x="876" y="90"/>
                </a:lnTo>
                <a:lnTo>
                  <a:pt x="888" y="82"/>
                </a:lnTo>
                <a:lnTo>
                  <a:pt x="886" y="74"/>
                </a:lnTo>
                <a:lnTo>
                  <a:pt x="880" y="62"/>
                </a:lnTo>
                <a:lnTo>
                  <a:pt x="882" y="56"/>
                </a:lnTo>
                <a:lnTo>
                  <a:pt x="900" y="58"/>
                </a:lnTo>
                <a:lnTo>
                  <a:pt x="922" y="66"/>
                </a:lnTo>
                <a:lnTo>
                  <a:pt x="936" y="76"/>
                </a:lnTo>
                <a:lnTo>
                  <a:pt x="946" y="90"/>
                </a:lnTo>
                <a:lnTo>
                  <a:pt x="940" y="94"/>
                </a:lnTo>
                <a:lnTo>
                  <a:pt x="932" y="96"/>
                </a:lnTo>
                <a:lnTo>
                  <a:pt x="934" y="106"/>
                </a:lnTo>
                <a:lnTo>
                  <a:pt x="940" y="114"/>
                </a:lnTo>
                <a:lnTo>
                  <a:pt x="946" y="126"/>
                </a:lnTo>
                <a:lnTo>
                  <a:pt x="938" y="136"/>
                </a:lnTo>
                <a:lnTo>
                  <a:pt x="926" y="146"/>
                </a:lnTo>
                <a:lnTo>
                  <a:pt x="916" y="152"/>
                </a:lnTo>
                <a:lnTo>
                  <a:pt x="902" y="144"/>
                </a:lnTo>
                <a:lnTo>
                  <a:pt x="898" y="152"/>
                </a:lnTo>
                <a:lnTo>
                  <a:pt x="890" y="156"/>
                </a:lnTo>
                <a:lnTo>
                  <a:pt x="878" y="144"/>
                </a:lnTo>
                <a:lnTo>
                  <a:pt x="868" y="144"/>
                </a:lnTo>
                <a:lnTo>
                  <a:pt x="864" y="150"/>
                </a:lnTo>
                <a:lnTo>
                  <a:pt x="870" y="156"/>
                </a:lnTo>
                <a:lnTo>
                  <a:pt x="864" y="166"/>
                </a:lnTo>
                <a:lnTo>
                  <a:pt x="856" y="174"/>
                </a:lnTo>
                <a:lnTo>
                  <a:pt x="846" y="176"/>
                </a:lnTo>
                <a:lnTo>
                  <a:pt x="834" y="174"/>
                </a:lnTo>
                <a:lnTo>
                  <a:pt x="822" y="166"/>
                </a:lnTo>
                <a:lnTo>
                  <a:pt x="812" y="164"/>
                </a:lnTo>
                <a:lnTo>
                  <a:pt x="816" y="172"/>
                </a:lnTo>
                <a:lnTo>
                  <a:pt x="822" y="178"/>
                </a:lnTo>
                <a:lnTo>
                  <a:pt x="834" y="180"/>
                </a:lnTo>
                <a:lnTo>
                  <a:pt x="842" y="182"/>
                </a:lnTo>
                <a:lnTo>
                  <a:pt x="854" y="182"/>
                </a:lnTo>
                <a:lnTo>
                  <a:pt x="848" y="192"/>
                </a:lnTo>
                <a:lnTo>
                  <a:pt x="840" y="204"/>
                </a:lnTo>
                <a:lnTo>
                  <a:pt x="830" y="210"/>
                </a:lnTo>
                <a:lnTo>
                  <a:pt x="820" y="212"/>
                </a:lnTo>
                <a:lnTo>
                  <a:pt x="812" y="212"/>
                </a:lnTo>
                <a:lnTo>
                  <a:pt x="804" y="208"/>
                </a:lnTo>
                <a:lnTo>
                  <a:pt x="804" y="218"/>
                </a:lnTo>
                <a:lnTo>
                  <a:pt x="784" y="220"/>
                </a:lnTo>
                <a:lnTo>
                  <a:pt x="772" y="216"/>
                </a:lnTo>
                <a:lnTo>
                  <a:pt x="778" y="222"/>
                </a:lnTo>
                <a:lnTo>
                  <a:pt x="794" y="228"/>
                </a:lnTo>
                <a:lnTo>
                  <a:pt x="796" y="238"/>
                </a:lnTo>
                <a:lnTo>
                  <a:pt x="778" y="242"/>
                </a:lnTo>
                <a:lnTo>
                  <a:pt x="758" y="260"/>
                </a:lnTo>
                <a:lnTo>
                  <a:pt x="740" y="290"/>
                </a:lnTo>
                <a:lnTo>
                  <a:pt x="734" y="332"/>
                </a:lnTo>
                <a:lnTo>
                  <a:pt x="736" y="336"/>
                </a:lnTo>
                <a:lnTo>
                  <a:pt x="738" y="342"/>
                </a:lnTo>
                <a:lnTo>
                  <a:pt x="748" y="342"/>
                </a:lnTo>
                <a:lnTo>
                  <a:pt x="756" y="344"/>
                </a:lnTo>
                <a:lnTo>
                  <a:pt x="760" y="352"/>
                </a:lnTo>
                <a:lnTo>
                  <a:pt x="768" y="378"/>
                </a:lnTo>
                <a:lnTo>
                  <a:pt x="782" y="374"/>
                </a:lnTo>
                <a:lnTo>
                  <a:pt x="800" y="374"/>
                </a:lnTo>
                <a:lnTo>
                  <a:pt x="814" y="380"/>
                </a:lnTo>
                <a:lnTo>
                  <a:pt x="830" y="382"/>
                </a:lnTo>
                <a:lnTo>
                  <a:pt x="846" y="398"/>
                </a:lnTo>
                <a:lnTo>
                  <a:pt x="864" y="408"/>
                </a:lnTo>
                <a:lnTo>
                  <a:pt x="886" y="416"/>
                </a:lnTo>
                <a:lnTo>
                  <a:pt x="896" y="416"/>
                </a:lnTo>
                <a:lnTo>
                  <a:pt x="904" y="418"/>
                </a:lnTo>
                <a:lnTo>
                  <a:pt x="916" y="420"/>
                </a:lnTo>
                <a:lnTo>
                  <a:pt x="928" y="420"/>
                </a:lnTo>
                <a:lnTo>
                  <a:pt x="932" y="442"/>
                </a:lnTo>
                <a:lnTo>
                  <a:pt x="932" y="456"/>
                </a:lnTo>
                <a:lnTo>
                  <a:pt x="932" y="462"/>
                </a:lnTo>
                <a:lnTo>
                  <a:pt x="932" y="470"/>
                </a:lnTo>
                <a:lnTo>
                  <a:pt x="944" y="484"/>
                </a:lnTo>
                <a:lnTo>
                  <a:pt x="956" y="498"/>
                </a:lnTo>
                <a:lnTo>
                  <a:pt x="962" y="502"/>
                </a:lnTo>
                <a:lnTo>
                  <a:pt x="970" y="506"/>
                </a:lnTo>
                <a:lnTo>
                  <a:pt x="984" y="498"/>
                </a:lnTo>
                <a:lnTo>
                  <a:pt x="988" y="490"/>
                </a:lnTo>
                <a:lnTo>
                  <a:pt x="990" y="482"/>
                </a:lnTo>
                <a:lnTo>
                  <a:pt x="984" y="462"/>
                </a:lnTo>
                <a:lnTo>
                  <a:pt x="980" y="448"/>
                </a:lnTo>
                <a:lnTo>
                  <a:pt x="972" y="428"/>
                </a:lnTo>
                <a:lnTo>
                  <a:pt x="980" y="424"/>
                </a:lnTo>
                <a:lnTo>
                  <a:pt x="1002" y="418"/>
                </a:lnTo>
                <a:lnTo>
                  <a:pt x="1012" y="406"/>
                </a:lnTo>
                <a:lnTo>
                  <a:pt x="1022" y="394"/>
                </a:lnTo>
                <a:lnTo>
                  <a:pt x="1020" y="372"/>
                </a:lnTo>
                <a:lnTo>
                  <a:pt x="1010" y="354"/>
                </a:lnTo>
                <a:lnTo>
                  <a:pt x="998" y="346"/>
                </a:lnTo>
                <a:lnTo>
                  <a:pt x="988" y="340"/>
                </a:lnTo>
                <a:lnTo>
                  <a:pt x="990" y="334"/>
                </a:lnTo>
                <a:lnTo>
                  <a:pt x="996" y="328"/>
                </a:lnTo>
                <a:lnTo>
                  <a:pt x="1006" y="316"/>
                </a:lnTo>
                <a:lnTo>
                  <a:pt x="1004" y="304"/>
                </a:lnTo>
                <a:lnTo>
                  <a:pt x="1002" y="292"/>
                </a:lnTo>
                <a:lnTo>
                  <a:pt x="1006" y="274"/>
                </a:lnTo>
                <a:lnTo>
                  <a:pt x="996" y="264"/>
                </a:lnTo>
                <a:lnTo>
                  <a:pt x="1000" y="250"/>
                </a:lnTo>
                <a:lnTo>
                  <a:pt x="1018" y="250"/>
                </a:lnTo>
                <a:lnTo>
                  <a:pt x="1034" y="256"/>
                </a:lnTo>
                <a:lnTo>
                  <a:pt x="1044" y="258"/>
                </a:lnTo>
                <a:lnTo>
                  <a:pt x="1058" y="256"/>
                </a:lnTo>
                <a:lnTo>
                  <a:pt x="1064" y="248"/>
                </a:lnTo>
                <a:lnTo>
                  <a:pt x="1076" y="256"/>
                </a:lnTo>
                <a:lnTo>
                  <a:pt x="1090" y="266"/>
                </a:lnTo>
                <a:lnTo>
                  <a:pt x="1098" y="278"/>
                </a:lnTo>
                <a:lnTo>
                  <a:pt x="1112" y="286"/>
                </a:lnTo>
                <a:lnTo>
                  <a:pt x="1134" y="290"/>
                </a:lnTo>
                <a:lnTo>
                  <a:pt x="1130" y="300"/>
                </a:lnTo>
                <a:lnTo>
                  <a:pt x="1130" y="314"/>
                </a:lnTo>
                <a:lnTo>
                  <a:pt x="1136" y="328"/>
                </a:lnTo>
                <a:lnTo>
                  <a:pt x="1136" y="336"/>
                </a:lnTo>
                <a:lnTo>
                  <a:pt x="1148" y="338"/>
                </a:lnTo>
                <a:lnTo>
                  <a:pt x="1156" y="346"/>
                </a:lnTo>
                <a:lnTo>
                  <a:pt x="1168" y="352"/>
                </a:lnTo>
                <a:lnTo>
                  <a:pt x="1182" y="340"/>
                </a:lnTo>
                <a:lnTo>
                  <a:pt x="1196" y="328"/>
                </a:lnTo>
                <a:lnTo>
                  <a:pt x="1196" y="316"/>
                </a:lnTo>
                <a:lnTo>
                  <a:pt x="1204" y="306"/>
                </a:lnTo>
                <a:lnTo>
                  <a:pt x="1210" y="300"/>
                </a:lnTo>
                <a:lnTo>
                  <a:pt x="1218" y="312"/>
                </a:lnTo>
                <a:lnTo>
                  <a:pt x="1228" y="328"/>
                </a:lnTo>
                <a:lnTo>
                  <a:pt x="1242" y="346"/>
                </a:lnTo>
                <a:lnTo>
                  <a:pt x="1244" y="354"/>
                </a:lnTo>
                <a:lnTo>
                  <a:pt x="1254" y="360"/>
                </a:lnTo>
                <a:lnTo>
                  <a:pt x="1256" y="372"/>
                </a:lnTo>
                <a:lnTo>
                  <a:pt x="1260" y="384"/>
                </a:lnTo>
                <a:lnTo>
                  <a:pt x="1254" y="390"/>
                </a:lnTo>
                <a:lnTo>
                  <a:pt x="1256" y="398"/>
                </a:lnTo>
                <a:lnTo>
                  <a:pt x="1272" y="408"/>
                </a:lnTo>
                <a:lnTo>
                  <a:pt x="1274" y="412"/>
                </a:lnTo>
                <a:lnTo>
                  <a:pt x="1274" y="418"/>
                </a:lnTo>
                <a:lnTo>
                  <a:pt x="1284" y="422"/>
                </a:lnTo>
                <a:lnTo>
                  <a:pt x="1298" y="426"/>
                </a:lnTo>
                <a:lnTo>
                  <a:pt x="1310" y="430"/>
                </a:lnTo>
                <a:lnTo>
                  <a:pt x="1318" y="430"/>
                </a:lnTo>
                <a:lnTo>
                  <a:pt x="1314" y="438"/>
                </a:lnTo>
                <a:lnTo>
                  <a:pt x="1300" y="444"/>
                </a:lnTo>
                <a:lnTo>
                  <a:pt x="1292" y="448"/>
                </a:lnTo>
                <a:lnTo>
                  <a:pt x="1280" y="454"/>
                </a:lnTo>
                <a:lnTo>
                  <a:pt x="1282" y="456"/>
                </a:lnTo>
                <a:lnTo>
                  <a:pt x="1282" y="458"/>
                </a:lnTo>
                <a:lnTo>
                  <a:pt x="1284" y="458"/>
                </a:lnTo>
                <a:lnTo>
                  <a:pt x="1300" y="450"/>
                </a:lnTo>
                <a:lnTo>
                  <a:pt x="1314" y="444"/>
                </a:lnTo>
                <a:lnTo>
                  <a:pt x="1324" y="442"/>
                </a:lnTo>
                <a:lnTo>
                  <a:pt x="1328" y="452"/>
                </a:lnTo>
                <a:lnTo>
                  <a:pt x="1330" y="452"/>
                </a:lnTo>
                <a:lnTo>
                  <a:pt x="1336" y="452"/>
                </a:lnTo>
                <a:lnTo>
                  <a:pt x="1348" y="458"/>
                </a:lnTo>
                <a:lnTo>
                  <a:pt x="1350" y="474"/>
                </a:lnTo>
                <a:lnTo>
                  <a:pt x="1348" y="488"/>
                </a:lnTo>
                <a:lnTo>
                  <a:pt x="1340" y="496"/>
                </a:lnTo>
                <a:lnTo>
                  <a:pt x="1330" y="502"/>
                </a:lnTo>
                <a:lnTo>
                  <a:pt x="1310" y="502"/>
                </a:lnTo>
                <a:lnTo>
                  <a:pt x="1302" y="512"/>
                </a:lnTo>
                <a:lnTo>
                  <a:pt x="1286" y="524"/>
                </a:lnTo>
                <a:lnTo>
                  <a:pt x="1264" y="528"/>
                </a:lnTo>
                <a:lnTo>
                  <a:pt x="1238" y="524"/>
                </a:lnTo>
                <a:lnTo>
                  <a:pt x="1218" y="524"/>
                </a:lnTo>
                <a:lnTo>
                  <a:pt x="1190" y="526"/>
                </a:lnTo>
                <a:lnTo>
                  <a:pt x="1174" y="532"/>
                </a:lnTo>
                <a:lnTo>
                  <a:pt x="1166" y="544"/>
                </a:lnTo>
                <a:lnTo>
                  <a:pt x="1152" y="548"/>
                </a:lnTo>
                <a:lnTo>
                  <a:pt x="1138" y="560"/>
                </a:lnTo>
                <a:lnTo>
                  <a:pt x="1128" y="570"/>
                </a:lnTo>
                <a:lnTo>
                  <a:pt x="1114" y="586"/>
                </a:lnTo>
                <a:lnTo>
                  <a:pt x="1112" y="590"/>
                </a:lnTo>
                <a:lnTo>
                  <a:pt x="1110" y="592"/>
                </a:lnTo>
                <a:lnTo>
                  <a:pt x="1110" y="594"/>
                </a:lnTo>
                <a:lnTo>
                  <a:pt x="1116" y="590"/>
                </a:lnTo>
                <a:lnTo>
                  <a:pt x="1120" y="588"/>
                </a:lnTo>
                <a:lnTo>
                  <a:pt x="1134" y="572"/>
                </a:lnTo>
                <a:lnTo>
                  <a:pt x="1150" y="562"/>
                </a:lnTo>
                <a:lnTo>
                  <a:pt x="1168" y="554"/>
                </a:lnTo>
                <a:lnTo>
                  <a:pt x="1174" y="550"/>
                </a:lnTo>
                <a:lnTo>
                  <a:pt x="1184" y="546"/>
                </a:lnTo>
                <a:lnTo>
                  <a:pt x="1202" y="548"/>
                </a:lnTo>
                <a:lnTo>
                  <a:pt x="1214" y="552"/>
                </a:lnTo>
                <a:lnTo>
                  <a:pt x="1218" y="562"/>
                </a:lnTo>
                <a:close/>
              </a:path>
            </a:pathLst>
          </a:custGeom>
          <a:solidFill>
            <a:srgbClr val="C0C0C0">
              <a:alpha val="50195"/>
            </a:srgbClr>
          </a:solidFill>
          <a:ln w="8001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4" name="Freeform 19">
            <a:extLst>
              <a:ext uri="{FF2B5EF4-FFF2-40B4-BE49-F238E27FC236}">
                <a16:creationId xmlns:a16="http://schemas.microsoft.com/office/drawing/2014/main" id="{187A3D4B-E406-6ED3-135F-89E8B4CF19B4}"/>
              </a:ext>
            </a:extLst>
          </p:cNvPr>
          <p:cNvSpPr>
            <a:spLocks/>
          </p:cNvSpPr>
          <p:nvPr/>
        </p:nvSpPr>
        <p:spPr bwMode="auto">
          <a:xfrm>
            <a:off x="1883832" y="2053167"/>
            <a:ext cx="78317" cy="59267"/>
          </a:xfrm>
          <a:custGeom>
            <a:avLst/>
            <a:gdLst>
              <a:gd name="T0" fmla="*/ 2147483647 w 38"/>
              <a:gd name="T1" fmla="*/ 0 h 28"/>
              <a:gd name="T2" fmla="*/ 2147483647 w 38"/>
              <a:gd name="T3" fmla="*/ 0 h 28"/>
              <a:gd name="T4" fmla="*/ 2147483647 w 38"/>
              <a:gd name="T5" fmla="*/ 0 h 28"/>
              <a:gd name="T6" fmla="*/ 2147483647 w 38"/>
              <a:gd name="T7" fmla="*/ 2147483647 h 28"/>
              <a:gd name="T8" fmla="*/ 2147483647 w 38"/>
              <a:gd name="T9" fmla="*/ 2147483647 h 28"/>
              <a:gd name="T10" fmla="*/ 2147483647 w 38"/>
              <a:gd name="T11" fmla="*/ 2147483647 h 28"/>
              <a:gd name="T12" fmla="*/ 2147483647 w 38"/>
              <a:gd name="T13" fmla="*/ 2147483647 h 28"/>
              <a:gd name="T14" fmla="*/ 2147483647 w 38"/>
              <a:gd name="T15" fmla="*/ 2147483647 h 28"/>
              <a:gd name="T16" fmla="*/ 2147483647 w 38"/>
              <a:gd name="T17" fmla="*/ 2147483647 h 28"/>
              <a:gd name="T18" fmla="*/ 0 w 38"/>
              <a:gd name="T19" fmla="*/ 2147483647 h 28"/>
              <a:gd name="T20" fmla="*/ 2147483647 w 38"/>
              <a:gd name="T21" fmla="*/ 0 h 2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"/>
              <a:gd name="T34" fmla="*/ 0 h 28"/>
              <a:gd name="T35" fmla="*/ 38 w 38"/>
              <a:gd name="T36" fmla="*/ 28 h 2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" h="28">
                <a:moveTo>
                  <a:pt x="6" y="0"/>
                </a:moveTo>
                <a:lnTo>
                  <a:pt x="22" y="0"/>
                </a:lnTo>
                <a:lnTo>
                  <a:pt x="36" y="0"/>
                </a:lnTo>
                <a:lnTo>
                  <a:pt x="38" y="8"/>
                </a:lnTo>
                <a:lnTo>
                  <a:pt x="34" y="20"/>
                </a:lnTo>
                <a:lnTo>
                  <a:pt x="28" y="28"/>
                </a:lnTo>
                <a:lnTo>
                  <a:pt x="22" y="24"/>
                </a:lnTo>
                <a:lnTo>
                  <a:pt x="14" y="14"/>
                </a:lnTo>
                <a:lnTo>
                  <a:pt x="6" y="10"/>
                </a:lnTo>
                <a:lnTo>
                  <a:pt x="0" y="4"/>
                </a:lnTo>
                <a:lnTo>
                  <a:pt x="6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5" name="Freeform 24">
            <a:extLst>
              <a:ext uri="{FF2B5EF4-FFF2-40B4-BE49-F238E27FC236}">
                <a16:creationId xmlns:a16="http://schemas.microsoft.com/office/drawing/2014/main" id="{A84A3166-7CA1-B11E-91B1-5000385467E2}"/>
              </a:ext>
            </a:extLst>
          </p:cNvPr>
          <p:cNvSpPr>
            <a:spLocks/>
          </p:cNvSpPr>
          <p:nvPr/>
        </p:nvSpPr>
        <p:spPr bwMode="auto">
          <a:xfrm>
            <a:off x="2021418" y="2053168"/>
            <a:ext cx="192617" cy="156633"/>
          </a:xfrm>
          <a:custGeom>
            <a:avLst/>
            <a:gdLst>
              <a:gd name="T0" fmla="*/ 2147483647 w 96"/>
              <a:gd name="T1" fmla="*/ 2147483647 h 78"/>
              <a:gd name="T2" fmla="*/ 2147483647 w 96"/>
              <a:gd name="T3" fmla="*/ 2147483647 h 78"/>
              <a:gd name="T4" fmla="*/ 2147483647 w 96"/>
              <a:gd name="T5" fmla="*/ 2147483647 h 78"/>
              <a:gd name="T6" fmla="*/ 2147483647 w 96"/>
              <a:gd name="T7" fmla="*/ 2147483647 h 78"/>
              <a:gd name="T8" fmla="*/ 2147483647 w 96"/>
              <a:gd name="T9" fmla="*/ 2147483647 h 78"/>
              <a:gd name="T10" fmla="*/ 2147483647 w 96"/>
              <a:gd name="T11" fmla="*/ 2147483647 h 78"/>
              <a:gd name="T12" fmla="*/ 0 w 96"/>
              <a:gd name="T13" fmla="*/ 2147483647 h 78"/>
              <a:gd name="T14" fmla="*/ 2147483647 w 96"/>
              <a:gd name="T15" fmla="*/ 2147483647 h 78"/>
              <a:gd name="T16" fmla="*/ 2147483647 w 96"/>
              <a:gd name="T17" fmla="*/ 2147483647 h 78"/>
              <a:gd name="T18" fmla="*/ 2147483647 w 96"/>
              <a:gd name="T19" fmla="*/ 2147483647 h 78"/>
              <a:gd name="T20" fmla="*/ 2147483647 w 96"/>
              <a:gd name="T21" fmla="*/ 2147483647 h 78"/>
              <a:gd name="T22" fmla="*/ 2147483647 w 96"/>
              <a:gd name="T23" fmla="*/ 2147483647 h 78"/>
              <a:gd name="T24" fmla="*/ 2147483647 w 96"/>
              <a:gd name="T25" fmla="*/ 2147483647 h 78"/>
              <a:gd name="T26" fmla="*/ 2147483647 w 96"/>
              <a:gd name="T27" fmla="*/ 2147483647 h 78"/>
              <a:gd name="T28" fmla="*/ 2147483647 w 96"/>
              <a:gd name="T29" fmla="*/ 2147483647 h 78"/>
              <a:gd name="T30" fmla="*/ 2147483647 w 96"/>
              <a:gd name="T31" fmla="*/ 0 h 78"/>
              <a:gd name="T32" fmla="*/ 2147483647 w 96"/>
              <a:gd name="T33" fmla="*/ 2147483647 h 78"/>
              <a:gd name="T34" fmla="*/ 2147483647 w 96"/>
              <a:gd name="T35" fmla="*/ 2147483647 h 78"/>
              <a:gd name="T36" fmla="*/ 2147483647 w 96"/>
              <a:gd name="T37" fmla="*/ 0 h 78"/>
              <a:gd name="T38" fmla="*/ 2147483647 w 96"/>
              <a:gd name="T39" fmla="*/ 2147483647 h 78"/>
              <a:gd name="T40" fmla="*/ 2147483647 w 96"/>
              <a:gd name="T41" fmla="*/ 2147483647 h 78"/>
              <a:gd name="T42" fmla="*/ 2147483647 w 96"/>
              <a:gd name="T43" fmla="*/ 2147483647 h 78"/>
              <a:gd name="T44" fmla="*/ 2147483647 w 96"/>
              <a:gd name="T45" fmla="*/ 2147483647 h 78"/>
              <a:gd name="T46" fmla="*/ 2147483647 w 96"/>
              <a:gd name="T47" fmla="*/ 2147483647 h 78"/>
              <a:gd name="T48" fmla="*/ 2147483647 w 96"/>
              <a:gd name="T49" fmla="*/ 2147483647 h 78"/>
              <a:gd name="T50" fmla="*/ 2147483647 w 96"/>
              <a:gd name="T51" fmla="*/ 2147483647 h 78"/>
              <a:gd name="T52" fmla="*/ 2147483647 w 96"/>
              <a:gd name="T53" fmla="*/ 2147483647 h 78"/>
              <a:gd name="T54" fmla="*/ 2147483647 w 96"/>
              <a:gd name="T55" fmla="*/ 2147483647 h 78"/>
              <a:gd name="T56" fmla="*/ 2147483647 w 96"/>
              <a:gd name="T57" fmla="*/ 2147483647 h 78"/>
              <a:gd name="T58" fmla="*/ 2147483647 w 96"/>
              <a:gd name="T59" fmla="*/ 2147483647 h 78"/>
              <a:gd name="T60" fmla="*/ 2147483647 w 96"/>
              <a:gd name="T61" fmla="*/ 2147483647 h 78"/>
              <a:gd name="T62" fmla="*/ 2147483647 w 96"/>
              <a:gd name="T63" fmla="*/ 2147483647 h 78"/>
              <a:gd name="T64" fmla="*/ 2147483647 w 96"/>
              <a:gd name="T65" fmla="*/ 2147483647 h 78"/>
              <a:gd name="T66" fmla="*/ 2147483647 w 96"/>
              <a:gd name="T67" fmla="*/ 2147483647 h 78"/>
              <a:gd name="T68" fmla="*/ 2147483647 w 96"/>
              <a:gd name="T69" fmla="*/ 2147483647 h 7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96"/>
              <a:gd name="T106" fmla="*/ 0 h 78"/>
              <a:gd name="T107" fmla="*/ 96 w 96"/>
              <a:gd name="T108" fmla="*/ 78 h 78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96" h="78">
                <a:moveTo>
                  <a:pt x="62" y="78"/>
                </a:moveTo>
                <a:lnTo>
                  <a:pt x="50" y="66"/>
                </a:lnTo>
                <a:lnTo>
                  <a:pt x="34" y="56"/>
                </a:lnTo>
                <a:lnTo>
                  <a:pt x="26" y="48"/>
                </a:lnTo>
                <a:lnTo>
                  <a:pt x="10" y="46"/>
                </a:lnTo>
                <a:lnTo>
                  <a:pt x="2" y="40"/>
                </a:lnTo>
                <a:lnTo>
                  <a:pt x="0" y="32"/>
                </a:lnTo>
                <a:lnTo>
                  <a:pt x="4" y="22"/>
                </a:lnTo>
                <a:lnTo>
                  <a:pt x="12" y="24"/>
                </a:lnTo>
                <a:lnTo>
                  <a:pt x="18" y="32"/>
                </a:lnTo>
                <a:lnTo>
                  <a:pt x="28" y="30"/>
                </a:lnTo>
                <a:lnTo>
                  <a:pt x="38" y="24"/>
                </a:lnTo>
                <a:lnTo>
                  <a:pt x="34" y="18"/>
                </a:lnTo>
                <a:lnTo>
                  <a:pt x="20" y="12"/>
                </a:lnTo>
                <a:lnTo>
                  <a:pt x="32" y="2"/>
                </a:lnTo>
                <a:lnTo>
                  <a:pt x="46" y="0"/>
                </a:lnTo>
                <a:lnTo>
                  <a:pt x="50" y="4"/>
                </a:lnTo>
                <a:lnTo>
                  <a:pt x="58" y="4"/>
                </a:lnTo>
                <a:lnTo>
                  <a:pt x="66" y="0"/>
                </a:lnTo>
                <a:lnTo>
                  <a:pt x="92" y="2"/>
                </a:lnTo>
                <a:lnTo>
                  <a:pt x="86" y="6"/>
                </a:lnTo>
                <a:lnTo>
                  <a:pt x="78" y="14"/>
                </a:lnTo>
                <a:lnTo>
                  <a:pt x="68" y="20"/>
                </a:lnTo>
                <a:lnTo>
                  <a:pt x="64" y="26"/>
                </a:lnTo>
                <a:lnTo>
                  <a:pt x="74" y="26"/>
                </a:lnTo>
                <a:lnTo>
                  <a:pt x="80" y="26"/>
                </a:lnTo>
                <a:lnTo>
                  <a:pt x="86" y="34"/>
                </a:lnTo>
                <a:lnTo>
                  <a:pt x="94" y="28"/>
                </a:lnTo>
                <a:lnTo>
                  <a:pt x="96" y="38"/>
                </a:lnTo>
                <a:lnTo>
                  <a:pt x="92" y="54"/>
                </a:lnTo>
                <a:lnTo>
                  <a:pt x="84" y="66"/>
                </a:lnTo>
                <a:lnTo>
                  <a:pt x="78" y="68"/>
                </a:lnTo>
                <a:lnTo>
                  <a:pt x="70" y="64"/>
                </a:lnTo>
                <a:lnTo>
                  <a:pt x="68" y="68"/>
                </a:lnTo>
                <a:lnTo>
                  <a:pt x="62" y="7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6" name="Freeform 25">
            <a:extLst>
              <a:ext uri="{FF2B5EF4-FFF2-40B4-BE49-F238E27FC236}">
                <a16:creationId xmlns:a16="http://schemas.microsoft.com/office/drawing/2014/main" id="{326A54EB-4701-4640-6A8F-409B235257F1}"/>
              </a:ext>
            </a:extLst>
          </p:cNvPr>
          <p:cNvSpPr>
            <a:spLocks/>
          </p:cNvSpPr>
          <p:nvPr/>
        </p:nvSpPr>
        <p:spPr bwMode="auto">
          <a:xfrm>
            <a:off x="2214032" y="1938867"/>
            <a:ext cx="86784" cy="57151"/>
          </a:xfrm>
          <a:custGeom>
            <a:avLst/>
            <a:gdLst>
              <a:gd name="T0" fmla="*/ 2147483647 w 46"/>
              <a:gd name="T1" fmla="*/ 2147483647 h 34"/>
              <a:gd name="T2" fmla="*/ 2147483647 w 46"/>
              <a:gd name="T3" fmla="*/ 2147483647 h 34"/>
              <a:gd name="T4" fmla="*/ 2147483647 w 46"/>
              <a:gd name="T5" fmla="*/ 2147483647 h 34"/>
              <a:gd name="T6" fmla="*/ 0 w 46"/>
              <a:gd name="T7" fmla="*/ 2147483647 h 34"/>
              <a:gd name="T8" fmla="*/ 2147483647 w 46"/>
              <a:gd name="T9" fmla="*/ 2147483647 h 34"/>
              <a:gd name="T10" fmla="*/ 2147483647 w 46"/>
              <a:gd name="T11" fmla="*/ 2147483647 h 34"/>
              <a:gd name="T12" fmla="*/ 2147483647 w 46"/>
              <a:gd name="T13" fmla="*/ 0 h 34"/>
              <a:gd name="T14" fmla="*/ 2147483647 w 46"/>
              <a:gd name="T15" fmla="*/ 2147483647 h 34"/>
              <a:gd name="T16" fmla="*/ 2147483647 w 46"/>
              <a:gd name="T17" fmla="*/ 2147483647 h 34"/>
              <a:gd name="T18" fmla="*/ 2147483647 w 46"/>
              <a:gd name="T19" fmla="*/ 2147483647 h 34"/>
              <a:gd name="T20" fmla="*/ 2147483647 w 46"/>
              <a:gd name="T21" fmla="*/ 2147483647 h 3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6"/>
              <a:gd name="T34" fmla="*/ 0 h 34"/>
              <a:gd name="T35" fmla="*/ 46 w 46"/>
              <a:gd name="T36" fmla="*/ 34 h 3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6" h="34">
                <a:moveTo>
                  <a:pt x="46" y="34"/>
                </a:moveTo>
                <a:lnTo>
                  <a:pt x="28" y="32"/>
                </a:lnTo>
                <a:lnTo>
                  <a:pt x="12" y="30"/>
                </a:lnTo>
                <a:lnTo>
                  <a:pt x="0" y="22"/>
                </a:lnTo>
                <a:lnTo>
                  <a:pt x="8" y="12"/>
                </a:lnTo>
                <a:lnTo>
                  <a:pt x="18" y="6"/>
                </a:lnTo>
                <a:lnTo>
                  <a:pt x="26" y="0"/>
                </a:lnTo>
                <a:lnTo>
                  <a:pt x="34" y="6"/>
                </a:lnTo>
                <a:lnTo>
                  <a:pt x="44" y="14"/>
                </a:lnTo>
                <a:lnTo>
                  <a:pt x="46" y="22"/>
                </a:lnTo>
                <a:lnTo>
                  <a:pt x="46" y="3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7" name="Freeform 26">
            <a:extLst>
              <a:ext uri="{FF2B5EF4-FFF2-40B4-BE49-F238E27FC236}">
                <a16:creationId xmlns:a16="http://schemas.microsoft.com/office/drawing/2014/main" id="{F0BA3A41-D7F6-BBBC-C8E1-2AF12F11CDDA}"/>
              </a:ext>
            </a:extLst>
          </p:cNvPr>
          <p:cNvSpPr>
            <a:spLocks/>
          </p:cNvSpPr>
          <p:nvPr/>
        </p:nvSpPr>
        <p:spPr bwMode="auto">
          <a:xfrm>
            <a:off x="2156885" y="1725084"/>
            <a:ext cx="105833" cy="67733"/>
          </a:xfrm>
          <a:custGeom>
            <a:avLst/>
            <a:gdLst>
              <a:gd name="T0" fmla="*/ 2147483647 w 54"/>
              <a:gd name="T1" fmla="*/ 0 h 32"/>
              <a:gd name="T2" fmla="*/ 2147483647 w 54"/>
              <a:gd name="T3" fmla="*/ 2147483647 h 32"/>
              <a:gd name="T4" fmla="*/ 2147483647 w 54"/>
              <a:gd name="T5" fmla="*/ 2147483647 h 32"/>
              <a:gd name="T6" fmla="*/ 2147483647 w 54"/>
              <a:gd name="T7" fmla="*/ 2147483647 h 32"/>
              <a:gd name="T8" fmla="*/ 2147483647 w 54"/>
              <a:gd name="T9" fmla="*/ 2147483647 h 32"/>
              <a:gd name="T10" fmla="*/ 2147483647 w 54"/>
              <a:gd name="T11" fmla="*/ 2147483647 h 32"/>
              <a:gd name="T12" fmla="*/ 2147483647 w 54"/>
              <a:gd name="T13" fmla="*/ 2147483647 h 32"/>
              <a:gd name="T14" fmla="*/ 2147483647 w 54"/>
              <a:gd name="T15" fmla="*/ 2147483647 h 32"/>
              <a:gd name="T16" fmla="*/ 2147483647 w 54"/>
              <a:gd name="T17" fmla="*/ 2147483647 h 32"/>
              <a:gd name="T18" fmla="*/ 2147483647 w 54"/>
              <a:gd name="T19" fmla="*/ 2147483647 h 32"/>
              <a:gd name="T20" fmla="*/ 0 w 54"/>
              <a:gd name="T21" fmla="*/ 2147483647 h 32"/>
              <a:gd name="T22" fmla="*/ 0 w 54"/>
              <a:gd name="T23" fmla="*/ 2147483647 h 32"/>
              <a:gd name="T24" fmla="*/ 2147483647 w 54"/>
              <a:gd name="T25" fmla="*/ 0 h 3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54"/>
              <a:gd name="T40" fmla="*/ 0 h 32"/>
              <a:gd name="T41" fmla="*/ 54 w 54"/>
              <a:gd name="T42" fmla="*/ 32 h 3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54" h="32">
                <a:moveTo>
                  <a:pt x="4" y="0"/>
                </a:moveTo>
                <a:lnTo>
                  <a:pt x="22" y="4"/>
                </a:lnTo>
                <a:lnTo>
                  <a:pt x="36" y="10"/>
                </a:lnTo>
                <a:lnTo>
                  <a:pt x="48" y="14"/>
                </a:lnTo>
                <a:lnTo>
                  <a:pt x="54" y="20"/>
                </a:lnTo>
                <a:lnTo>
                  <a:pt x="48" y="30"/>
                </a:lnTo>
                <a:lnTo>
                  <a:pt x="36" y="32"/>
                </a:lnTo>
                <a:lnTo>
                  <a:pt x="20" y="32"/>
                </a:lnTo>
                <a:lnTo>
                  <a:pt x="16" y="22"/>
                </a:lnTo>
                <a:lnTo>
                  <a:pt x="6" y="18"/>
                </a:lnTo>
                <a:lnTo>
                  <a:pt x="0" y="12"/>
                </a:lnTo>
                <a:lnTo>
                  <a:pt x="0" y="4"/>
                </a:lnTo>
                <a:lnTo>
                  <a:pt x="4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8" name="Freeform 27">
            <a:extLst>
              <a:ext uri="{FF2B5EF4-FFF2-40B4-BE49-F238E27FC236}">
                <a16:creationId xmlns:a16="http://schemas.microsoft.com/office/drawing/2014/main" id="{EDFCEB3A-8A79-2B3E-A231-2E7672C8C5C1}"/>
              </a:ext>
            </a:extLst>
          </p:cNvPr>
          <p:cNvSpPr>
            <a:spLocks/>
          </p:cNvSpPr>
          <p:nvPr/>
        </p:nvSpPr>
        <p:spPr bwMode="auto">
          <a:xfrm>
            <a:off x="2207684" y="1553634"/>
            <a:ext cx="355600" cy="220133"/>
          </a:xfrm>
          <a:custGeom>
            <a:avLst/>
            <a:gdLst>
              <a:gd name="T0" fmla="*/ 2147483647 w 182"/>
              <a:gd name="T1" fmla="*/ 2147483647 h 116"/>
              <a:gd name="T2" fmla="*/ 2147483647 w 182"/>
              <a:gd name="T3" fmla="*/ 2147483647 h 116"/>
              <a:gd name="T4" fmla="*/ 2147483647 w 182"/>
              <a:gd name="T5" fmla="*/ 2147483647 h 116"/>
              <a:gd name="T6" fmla="*/ 2147483647 w 182"/>
              <a:gd name="T7" fmla="*/ 2147483647 h 116"/>
              <a:gd name="T8" fmla="*/ 2147483647 w 182"/>
              <a:gd name="T9" fmla="*/ 2147483647 h 116"/>
              <a:gd name="T10" fmla="*/ 2147483647 w 182"/>
              <a:gd name="T11" fmla="*/ 2147483647 h 116"/>
              <a:gd name="T12" fmla="*/ 2147483647 w 182"/>
              <a:gd name="T13" fmla="*/ 2147483647 h 116"/>
              <a:gd name="T14" fmla="*/ 2147483647 w 182"/>
              <a:gd name="T15" fmla="*/ 2147483647 h 116"/>
              <a:gd name="T16" fmla="*/ 2147483647 w 182"/>
              <a:gd name="T17" fmla="*/ 2147483647 h 116"/>
              <a:gd name="T18" fmla="*/ 2147483647 w 182"/>
              <a:gd name="T19" fmla="*/ 2147483647 h 116"/>
              <a:gd name="T20" fmla="*/ 2147483647 w 182"/>
              <a:gd name="T21" fmla="*/ 2147483647 h 116"/>
              <a:gd name="T22" fmla="*/ 2147483647 w 182"/>
              <a:gd name="T23" fmla="*/ 2147483647 h 116"/>
              <a:gd name="T24" fmla="*/ 0 w 182"/>
              <a:gd name="T25" fmla="*/ 2147483647 h 116"/>
              <a:gd name="T26" fmla="*/ 2147483647 w 182"/>
              <a:gd name="T27" fmla="*/ 2147483647 h 116"/>
              <a:gd name="T28" fmla="*/ 2147483647 w 182"/>
              <a:gd name="T29" fmla="*/ 2147483647 h 116"/>
              <a:gd name="T30" fmla="*/ 2147483647 w 182"/>
              <a:gd name="T31" fmla="*/ 2147483647 h 116"/>
              <a:gd name="T32" fmla="*/ 2147483647 w 182"/>
              <a:gd name="T33" fmla="*/ 2147483647 h 116"/>
              <a:gd name="T34" fmla="*/ 2147483647 w 182"/>
              <a:gd name="T35" fmla="*/ 2147483647 h 116"/>
              <a:gd name="T36" fmla="*/ 2147483647 w 182"/>
              <a:gd name="T37" fmla="*/ 2147483647 h 116"/>
              <a:gd name="T38" fmla="*/ 2147483647 w 182"/>
              <a:gd name="T39" fmla="*/ 2147483647 h 116"/>
              <a:gd name="T40" fmla="*/ 2147483647 w 182"/>
              <a:gd name="T41" fmla="*/ 2147483647 h 116"/>
              <a:gd name="T42" fmla="*/ 2147483647 w 182"/>
              <a:gd name="T43" fmla="*/ 2147483647 h 116"/>
              <a:gd name="T44" fmla="*/ 2147483647 w 182"/>
              <a:gd name="T45" fmla="*/ 2147483647 h 116"/>
              <a:gd name="T46" fmla="*/ 2147483647 w 182"/>
              <a:gd name="T47" fmla="*/ 2147483647 h 116"/>
              <a:gd name="T48" fmla="*/ 2147483647 w 182"/>
              <a:gd name="T49" fmla="*/ 2147483647 h 116"/>
              <a:gd name="T50" fmla="*/ 2147483647 w 182"/>
              <a:gd name="T51" fmla="*/ 2147483647 h 116"/>
              <a:gd name="T52" fmla="*/ 2147483647 w 182"/>
              <a:gd name="T53" fmla="*/ 2147483647 h 116"/>
              <a:gd name="T54" fmla="*/ 2147483647 w 182"/>
              <a:gd name="T55" fmla="*/ 2147483647 h 116"/>
              <a:gd name="T56" fmla="*/ 2147483647 w 182"/>
              <a:gd name="T57" fmla="*/ 2147483647 h 116"/>
              <a:gd name="T58" fmla="*/ 2147483647 w 182"/>
              <a:gd name="T59" fmla="*/ 2147483647 h 116"/>
              <a:gd name="T60" fmla="*/ 2147483647 w 182"/>
              <a:gd name="T61" fmla="*/ 2147483647 h 116"/>
              <a:gd name="T62" fmla="*/ 2147483647 w 182"/>
              <a:gd name="T63" fmla="*/ 2147483647 h 116"/>
              <a:gd name="T64" fmla="*/ 2147483647 w 182"/>
              <a:gd name="T65" fmla="*/ 2147483647 h 116"/>
              <a:gd name="T66" fmla="*/ 2147483647 w 182"/>
              <a:gd name="T67" fmla="*/ 2147483647 h 116"/>
              <a:gd name="T68" fmla="*/ 2147483647 w 182"/>
              <a:gd name="T69" fmla="*/ 2147483647 h 116"/>
              <a:gd name="T70" fmla="*/ 2147483647 w 182"/>
              <a:gd name="T71" fmla="*/ 2147483647 h 116"/>
              <a:gd name="T72" fmla="*/ 2147483647 w 182"/>
              <a:gd name="T73" fmla="*/ 2147483647 h 116"/>
              <a:gd name="T74" fmla="*/ 2147483647 w 182"/>
              <a:gd name="T75" fmla="*/ 2147483647 h 116"/>
              <a:gd name="T76" fmla="*/ 2147483647 w 182"/>
              <a:gd name="T77" fmla="*/ 2147483647 h 11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82"/>
              <a:gd name="T118" fmla="*/ 0 h 116"/>
              <a:gd name="T119" fmla="*/ 182 w 182"/>
              <a:gd name="T120" fmla="*/ 116 h 11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82" h="116">
                <a:moveTo>
                  <a:pt x="124" y="116"/>
                </a:moveTo>
                <a:lnTo>
                  <a:pt x="116" y="110"/>
                </a:lnTo>
                <a:lnTo>
                  <a:pt x="108" y="100"/>
                </a:lnTo>
                <a:lnTo>
                  <a:pt x="102" y="104"/>
                </a:lnTo>
                <a:lnTo>
                  <a:pt x="104" y="110"/>
                </a:lnTo>
                <a:lnTo>
                  <a:pt x="96" y="112"/>
                </a:lnTo>
                <a:lnTo>
                  <a:pt x="84" y="116"/>
                </a:lnTo>
                <a:lnTo>
                  <a:pt x="66" y="110"/>
                </a:lnTo>
                <a:lnTo>
                  <a:pt x="64" y="100"/>
                </a:lnTo>
                <a:lnTo>
                  <a:pt x="78" y="102"/>
                </a:lnTo>
                <a:lnTo>
                  <a:pt x="76" y="98"/>
                </a:lnTo>
                <a:lnTo>
                  <a:pt x="62" y="96"/>
                </a:lnTo>
                <a:lnTo>
                  <a:pt x="56" y="98"/>
                </a:lnTo>
                <a:lnTo>
                  <a:pt x="40" y="86"/>
                </a:lnTo>
                <a:lnTo>
                  <a:pt x="52" y="82"/>
                </a:lnTo>
                <a:lnTo>
                  <a:pt x="70" y="82"/>
                </a:lnTo>
                <a:lnTo>
                  <a:pt x="84" y="82"/>
                </a:lnTo>
                <a:lnTo>
                  <a:pt x="96" y="80"/>
                </a:lnTo>
                <a:lnTo>
                  <a:pt x="90" y="74"/>
                </a:lnTo>
                <a:lnTo>
                  <a:pt x="78" y="72"/>
                </a:lnTo>
                <a:lnTo>
                  <a:pt x="62" y="72"/>
                </a:lnTo>
                <a:lnTo>
                  <a:pt x="50" y="74"/>
                </a:lnTo>
                <a:lnTo>
                  <a:pt x="34" y="72"/>
                </a:lnTo>
                <a:lnTo>
                  <a:pt x="24" y="74"/>
                </a:lnTo>
                <a:lnTo>
                  <a:pt x="6" y="54"/>
                </a:lnTo>
                <a:lnTo>
                  <a:pt x="0" y="44"/>
                </a:lnTo>
                <a:lnTo>
                  <a:pt x="8" y="44"/>
                </a:lnTo>
                <a:lnTo>
                  <a:pt x="14" y="48"/>
                </a:lnTo>
                <a:lnTo>
                  <a:pt x="30" y="50"/>
                </a:lnTo>
                <a:lnTo>
                  <a:pt x="36" y="42"/>
                </a:lnTo>
                <a:lnTo>
                  <a:pt x="24" y="40"/>
                </a:lnTo>
                <a:lnTo>
                  <a:pt x="16" y="38"/>
                </a:lnTo>
                <a:lnTo>
                  <a:pt x="14" y="28"/>
                </a:lnTo>
                <a:lnTo>
                  <a:pt x="24" y="28"/>
                </a:lnTo>
                <a:lnTo>
                  <a:pt x="36" y="30"/>
                </a:lnTo>
                <a:lnTo>
                  <a:pt x="42" y="26"/>
                </a:lnTo>
                <a:lnTo>
                  <a:pt x="34" y="22"/>
                </a:lnTo>
                <a:lnTo>
                  <a:pt x="24" y="18"/>
                </a:lnTo>
                <a:lnTo>
                  <a:pt x="26" y="10"/>
                </a:lnTo>
                <a:lnTo>
                  <a:pt x="34" y="10"/>
                </a:lnTo>
                <a:lnTo>
                  <a:pt x="42" y="12"/>
                </a:lnTo>
                <a:lnTo>
                  <a:pt x="58" y="10"/>
                </a:lnTo>
                <a:lnTo>
                  <a:pt x="56" y="6"/>
                </a:lnTo>
                <a:lnTo>
                  <a:pt x="42" y="4"/>
                </a:lnTo>
                <a:lnTo>
                  <a:pt x="46" y="0"/>
                </a:lnTo>
                <a:lnTo>
                  <a:pt x="70" y="2"/>
                </a:lnTo>
                <a:lnTo>
                  <a:pt x="98" y="30"/>
                </a:lnTo>
                <a:lnTo>
                  <a:pt x="118" y="34"/>
                </a:lnTo>
                <a:lnTo>
                  <a:pt x="118" y="42"/>
                </a:lnTo>
                <a:lnTo>
                  <a:pt x="126" y="48"/>
                </a:lnTo>
                <a:lnTo>
                  <a:pt x="130" y="38"/>
                </a:lnTo>
                <a:lnTo>
                  <a:pt x="138" y="34"/>
                </a:lnTo>
                <a:lnTo>
                  <a:pt x="144" y="36"/>
                </a:lnTo>
                <a:lnTo>
                  <a:pt x="142" y="46"/>
                </a:lnTo>
                <a:lnTo>
                  <a:pt x="150" y="52"/>
                </a:lnTo>
                <a:lnTo>
                  <a:pt x="152" y="58"/>
                </a:lnTo>
                <a:lnTo>
                  <a:pt x="150" y="68"/>
                </a:lnTo>
                <a:lnTo>
                  <a:pt x="164" y="66"/>
                </a:lnTo>
                <a:lnTo>
                  <a:pt x="172" y="68"/>
                </a:lnTo>
                <a:lnTo>
                  <a:pt x="176" y="68"/>
                </a:lnTo>
                <a:lnTo>
                  <a:pt x="182" y="74"/>
                </a:lnTo>
                <a:lnTo>
                  <a:pt x="178" y="80"/>
                </a:lnTo>
                <a:lnTo>
                  <a:pt x="172" y="84"/>
                </a:lnTo>
                <a:lnTo>
                  <a:pt x="162" y="82"/>
                </a:lnTo>
                <a:lnTo>
                  <a:pt x="156" y="84"/>
                </a:lnTo>
                <a:lnTo>
                  <a:pt x="140" y="98"/>
                </a:lnTo>
                <a:lnTo>
                  <a:pt x="140" y="92"/>
                </a:lnTo>
                <a:lnTo>
                  <a:pt x="144" y="82"/>
                </a:lnTo>
                <a:lnTo>
                  <a:pt x="138" y="82"/>
                </a:lnTo>
                <a:lnTo>
                  <a:pt x="134" y="92"/>
                </a:lnTo>
                <a:lnTo>
                  <a:pt x="134" y="96"/>
                </a:lnTo>
                <a:lnTo>
                  <a:pt x="136" y="102"/>
                </a:lnTo>
                <a:lnTo>
                  <a:pt x="136" y="106"/>
                </a:lnTo>
                <a:lnTo>
                  <a:pt x="136" y="108"/>
                </a:lnTo>
                <a:lnTo>
                  <a:pt x="134" y="110"/>
                </a:lnTo>
                <a:lnTo>
                  <a:pt x="128" y="106"/>
                </a:lnTo>
                <a:lnTo>
                  <a:pt x="126" y="104"/>
                </a:lnTo>
                <a:lnTo>
                  <a:pt x="124" y="11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9" name="Freeform 28">
            <a:extLst>
              <a:ext uri="{FF2B5EF4-FFF2-40B4-BE49-F238E27FC236}">
                <a16:creationId xmlns:a16="http://schemas.microsoft.com/office/drawing/2014/main" id="{0C1EB514-DB64-5BF6-1EE3-4D13DAB7B68C}"/>
              </a:ext>
            </a:extLst>
          </p:cNvPr>
          <p:cNvSpPr>
            <a:spLocks/>
          </p:cNvSpPr>
          <p:nvPr/>
        </p:nvSpPr>
        <p:spPr bwMode="auto">
          <a:xfrm>
            <a:off x="2089151" y="1638301"/>
            <a:ext cx="48684" cy="29633"/>
          </a:xfrm>
          <a:custGeom>
            <a:avLst/>
            <a:gdLst>
              <a:gd name="T0" fmla="*/ 2147483647 w 26"/>
              <a:gd name="T1" fmla="*/ 0 h 16"/>
              <a:gd name="T2" fmla="*/ 2147483647 w 26"/>
              <a:gd name="T3" fmla="*/ 0 h 16"/>
              <a:gd name="T4" fmla="*/ 2147483647 w 26"/>
              <a:gd name="T5" fmla="*/ 2147483647 h 16"/>
              <a:gd name="T6" fmla="*/ 2147483647 w 26"/>
              <a:gd name="T7" fmla="*/ 2147483647 h 16"/>
              <a:gd name="T8" fmla="*/ 2147483647 w 26"/>
              <a:gd name="T9" fmla="*/ 2147483647 h 16"/>
              <a:gd name="T10" fmla="*/ 2147483647 w 26"/>
              <a:gd name="T11" fmla="*/ 2147483647 h 16"/>
              <a:gd name="T12" fmla="*/ 2147483647 w 26"/>
              <a:gd name="T13" fmla="*/ 2147483647 h 16"/>
              <a:gd name="T14" fmla="*/ 0 w 26"/>
              <a:gd name="T15" fmla="*/ 2147483647 h 16"/>
              <a:gd name="T16" fmla="*/ 2147483647 w 26"/>
              <a:gd name="T17" fmla="*/ 0 h 1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6"/>
              <a:gd name="T28" fmla="*/ 0 h 16"/>
              <a:gd name="T29" fmla="*/ 26 w 26"/>
              <a:gd name="T30" fmla="*/ 16 h 1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6" h="16">
                <a:moveTo>
                  <a:pt x="8" y="0"/>
                </a:moveTo>
                <a:lnTo>
                  <a:pt x="18" y="0"/>
                </a:lnTo>
                <a:lnTo>
                  <a:pt x="26" y="6"/>
                </a:lnTo>
                <a:lnTo>
                  <a:pt x="26" y="16"/>
                </a:lnTo>
                <a:lnTo>
                  <a:pt x="18" y="16"/>
                </a:lnTo>
                <a:lnTo>
                  <a:pt x="14" y="12"/>
                </a:lnTo>
                <a:lnTo>
                  <a:pt x="4" y="12"/>
                </a:lnTo>
                <a:lnTo>
                  <a:pt x="0" y="4"/>
                </a:lnTo>
                <a:lnTo>
                  <a:pt x="8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0" name="Freeform 29">
            <a:extLst>
              <a:ext uri="{FF2B5EF4-FFF2-40B4-BE49-F238E27FC236}">
                <a16:creationId xmlns:a16="http://schemas.microsoft.com/office/drawing/2014/main" id="{AC69D78D-D2C0-BBB9-BE97-5E37B7C1EBCF}"/>
              </a:ext>
            </a:extLst>
          </p:cNvPr>
          <p:cNvSpPr>
            <a:spLocks/>
          </p:cNvSpPr>
          <p:nvPr/>
        </p:nvSpPr>
        <p:spPr bwMode="auto">
          <a:xfrm>
            <a:off x="2707217" y="2063751"/>
            <a:ext cx="135467" cy="59267"/>
          </a:xfrm>
          <a:custGeom>
            <a:avLst/>
            <a:gdLst>
              <a:gd name="T0" fmla="*/ 2147483647 w 70"/>
              <a:gd name="T1" fmla="*/ 0 h 28"/>
              <a:gd name="T2" fmla="*/ 2147483647 w 70"/>
              <a:gd name="T3" fmla="*/ 0 h 28"/>
              <a:gd name="T4" fmla="*/ 2147483647 w 70"/>
              <a:gd name="T5" fmla="*/ 2147483647 h 28"/>
              <a:gd name="T6" fmla="*/ 2147483647 w 70"/>
              <a:gd name="T7" fmla="*/ 2147483647 h 28"/>
              <a:gd name="T8" fmla="*/ 2147483647 w 70"/>
              <a:gd name="T9" fmla="*/ 2147483647 h 28"/>
              <a:gd name="T10" fmla="*/ 2147483647 w 70"/>
              <a:gd name="T11" fmla="*/ 2147483647 h 28"/>
              <a:gd name="T12" fmla="*/ 2147483647 w 70"/>
              <a:gd name="T13" fmla="*/ 2147483647 h 28"/>
              <a:gd name="T14" fmla="*/ 2147483647 w 70"/>
              <a:gd name="T15" fmla="*/ 2147483647 h 28"/>
              <a:gd name="T16" fmla="*/ 2147483647 w 70"/>
              <a:gd name="T17" fmla="*/ 2147483647 h 28"/>
              <a:gd name="T18" fmla="*/ 2147483647 w 70"/>
              <a:gd name="T19" fmla="*/ 2147483647 h 28"/>
              <a:gd name="T20" fmla="*/ 2147483647 w 70"/>
              <a:gd name="T21" fmla="*/ 2147483647 h 28"/>
              <a:gd name="T22" fmla="*/ 0 w 70"/>
              <a:gd name="T23" fmla="*/ 2147483647 h 28"/>
              <a:gd name="T24" fmla="*/ 0 w 70"/>
              <a:gd name="T25" fmla="*/ 0 h 28"/>
              <a:gd name="T26" fmla="*/ 2147483647 w 70"/>
              <a:gd name="T27" fmla="*/ 0 h 2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70"/>
              <a:gd name="T43" fmla="*/ 0 h 28"/>
              <a:gd name="T44" fmla="*/ 70 w 70"/>
              <a:gd name="T45" fmla="*/ 28 h 28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70" h="28">
                <a:moveTo>
                  <a:pt x="4" y="0"/>
                </a:moveTo>
                <a:lnTo>
                  <a:pt x="22" y="0"/>
                </a:lnTo>
                <a:lnTo>
                  <a:pt x="42" y="2"/>
                </a:lnTo>
                <a:lnTo>
                  <a:pt x="62" y="12"/>
                </a:lnTo>
                <a:lnTo>
                  <a:pt x="70" y="22"/>
                </a:lnTo>
                <a:lnTo>
                  <a:pt x="60" y="24"/>
                </a:lnTo>
                <a:lnTo>
                  <a:pt x="46" y="24"/>
                </a:lnTo>
                <a:lnTo>
                  <a:pt x="32" y="24"/>
                </a:lnTo>
                <a:lnTo>
                  <a:pt x="26" y="28"/>
                </a:lnTo>
                <a:lnTo>
                  <a:pt x="14" y="26"/>
                </a:lnTo>
                <a:lnTo>
                  <a:pt x="10" y="16"/>
                </a:lnTo>
                <a:lnTo>
                  <a:pt x="0" y="10"/>
                </a:lnTo>
                <a:lnTo>
                  <a:pt x="0" y="0"/>
                </a:lnTo>
                <a:lnTo>
                  <a:pt x="4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1" name="Freeform 30">
            <a:extLst>
              <a:ext uri="{FF2B5EF4-FFF2-40B4-BE49-F238E27FC236}">
                <a16:creationId xmlns:a16="http://schemas.microsoft.com/office/drawing/2014/main" id="{5FCECF22-E902-3B10-CDF8-C6A790524404}"/>
              </a:ext>
            </a:extLst>
          </p:cNvPr>
          <p:cNvSpPr>
            <a:spLocks/>
          </p:cNvSpPr>
          <p:nvPr/>
        </p:nvSpPr>
        <p:spPr bwMode="auto">
          <a:xfrm>
            <a:off x="2802466" y="2372785"/>
            <a:ext cx="78317" cy="48684"/>
          </a:xfrm>
          <a:custGeom>
            <a:avLst/>
            <a:gdLst>
              <a:gd name="T0" fmla="*/ 2147483647 w 36"/>
              <a:gd name="T1" fmla="*/ 2147483647 h 30"/>
              <a:gd name="T2" fmla="*/ 2147483647 w 36"/>
              <a:gd name="T3" fmla="*/ 2147483647 h 30"/>
              <a:gd name="T4" fmla="*/ 2147483647 w 36"/>
              <a:gd name="T5" fmla="*/ 2147483647 h 30"/>
              <a:gd name="T6" fmla="*/ 2147483647 w 36"/>
              <a:gd name="T7" fmla="*/ 2147483647 h 30"/>
              <a:gd name="T8" fmla="*/ 2147483647 w 36"/>
              <a:gd name="T9" fmla="*/ 2147483647 h 30"/>
              <a:gd name="T10" fmla="*/ 0 w 36"/>
              <a:gd name="T11" fmla="*/ 2147483647 h 30"/>
              <a:gd name="T12" fmla="*/ 2147483647 w 36"/>
              <a:gd name="T13" fmla="*/ 2147483647 h 30"/>
              <a:gd name="T14" fmla="*/ 2147483647 w 36"/>
              <a:gd name="T15" fmla="*/ 2147483647 h 30"/>
              <a:gd name="T16" fmla="*/ 2147483647 w 36"/>
              <a:gd name="T17" fmla="*/ 2147483647 h 30"/>
              <a:gd name="T18" fmla="*/ 2147483647 w 36"/>
              <a:gd name="T19" fmla="*/ 0 h 30"/>
              <a:gd name="T20" fmla="*/ 2147483647 w 36"/>
              <a:gd name="T21" fmla="*/ 2147483647 h 3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6"/>
              <a:gd name="T34" fmla="*/ 0 h 30"/>
              <a:gd name="T35" fmla="*/ 36 w 36"/>
              <a:gd name="T36" fmla="*/ 30 h 3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6" h="30">
                <a:moveTo>
                  <a:pt x="36" y="4"/>
                </a:moveTo>
                <a:lnTo>
                  <a:pt x="36" y="10"/>
                </a:lnTo>
                <a:lnTo>
                  <a:pt x="34" y="20"/>
                </a:lnTo>
                <a:lnTo>
                  <a:pt x="26" y="26"/>
                </a:lnTo>
                <a:lnTo>
                  <a:pt x="14" y="30"/>
                </a:lnTo>
                <a:lnTo>
                  <a:pt x="0" y="26"/>
                </a:lnTo>
                <a:lnTo>
                  <a:pt x="2" y="12"/>
                </a:lnTo>
                <a:lnTo>
                  <a:pt x="6" y="4"/>
                </a:lnTo>
                <a:lnTo>
                  <a:pt x="12" y="2"/>
                </a:lnTo>
                <a:lnTo>
                  <a:pt x="24" y="0"/>
                </a:lnTo>
                <a:lnTo>
                  <a:pt x="36" y="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2" name="Freeform 31">
            <a:extLst>
              <a:ext uri="{FF2B5EF4-FFF2-40B4-BE49-F238E27FC236}">
                <a16:creationId xmlns:a16="http://schemas.microsoft.com/office/drawing/2014/main" id="{2CDF849C-0747-55E9-2F34-099666D93A13}"/>
              </a:ext>
            </a:extLst>
          </p:cNvPr>
          <p:cNvSpPr>
            <a:spLocks/>
          </p:cNvSpPr>
          <p:nvPr/>
        </p:nvSpPr>
        <p:spPr bwMode="auto">
          <a:xfrm>
            <a:off x="2495551" y="2499784"/>
            <a:ext cx="220133" cy="135467"/>
          </a:xfrm>
          <a:custGeom>
            <a:avLst/>
            <a:gdLst>
              <a:gd name="T0" fmla="*/ 2147483647 w 110"/>
              <a:gd name="T1" fmla="*/ 2147483647 h 70"/>
              <a:gd name="T2" fmla="*/ 2147483647 w 110"/>
              <a:gd name="T3" fmla="*/ 2147483647 h 70"/>
              <a:gd name="T4" fmla="*/ 2147483647 w 110"/>
              <a:gd name="T5" fmla="*/ 0 h 70"/>
              <a:gd name="T6" fmla="*/ 2147483647 w 110"/>
              <a:gd name="T7" fmla="*/ 0 h 70"/>
              <a:gd name="T8" fmla="*/ 2147483647 w 110"/>
              <a:gd name="T9" fmla="*/ 2147483647 h 70"/>
              <a:gd name="T10" fmla="*/ 2147483647 w 110"/>
              <a:gd name="T11" fmla="*/ 2147483647 h 70"/>
              <a:gd name="T12" fmla="*/ 2147483647 w 110"/>
              <a:gd name="T13" fmla="*/ 2147483647 h 70"/>
              <a:gd name="T14" fmla="*/ 2147483647 w 110"/>
              <a:gd name="T15" fmla="*/ 2147483647 h 70"/>
              <a:gd name="T16" fmla="*/ 2147483647 w 110"/>
              <a:gd name="T17" fmla="*/ 2147483647 h 70"/>
              <a:gd name="T18" fmla="*/ 2147483647 w 110"/>
              <a:gd name="T19" fmla="*/ 2147483647 h 70"/>
              <a:gd name="T20" fmla="*/ 2147483647 w 110"/>
              <a:gd name="T21" fmla="*/ 2147483647 h 70"/>
              <a:gd name="T22" fmla="*/ 2147483647 w 110"/>
              <a:gd name="T23" fmla="*/ 2147483647 h 70"/>
              <a:gd name="T24" fmla="*/ 2147483647 w 110"/>
              <a:gd name="T25" fmla="*/ 2147483647 h 70"/>
              <a:gd name="T26" fmla="*/ 2147483647 w 110"/>
              <a:gd name="T27" fmla="*/ 2147483647 h 70"/>
              <a:gd name="T28" fmla="*/ 2147483647 w 110"/>
              <a:gd name="T29" fmla="*/ 2147483647 h 70"/>
              <a:gd name="T30" fmla="*/ 2147483647 w 110"/>
              <a:gd name="T31" fmla="*/ 2147483647 h 70"/>
              <a:gd name="T32" fmla="*/ 2147483647 w 110"/>
              <a:gd name="T33" fmla="*/ 2147483647 h 70"/>
              <a:gd name="T34" fmla="*/ 2147483647 w 110"/>
              <a:gd name="T35" fmla="*/ 2147483647 h 70"/>
              <a:gd name="T36" fmla="*/ 2147483647 w 110"/>
              <a:gd name="T37" fmla="*/ 2147483647 h 70"/>
              <a:gd name="T38" fmla="*/ 2147483647 w 110"/>
              <a:gd name="T39" fmla="*/ 2147483647 h 70"/>
              <a:gd name="T40" fmla="*/ 2147483647 w 110"/>
              <a:gd name="T41" fmla="*/ 2147483647 h 70"/>
              <a:gd name="T42" fmla="*/ 2147483647 w 110"/>
              <a:gd name="T43" fmla="*/ 2147483647 h 70"/>
              <a:gd name="T44" fmla="*/ 2147483647 w 110"/>
              <a:gd name="T45" fmla="*/ 2147483647 h 70"/>
              <a:gd name="T46" fmla="*/ 2147483647 w 110"/>
              <a:gd name="T47" fmla="*/ 2147483647 h 70"/>
              <a:gd name="T48" fmla="*/ 2147483647 w 110"/>
              <a:gd name="T49" fmla="*/ 2147483647 h 70"/>
              <a:gd name="T50" fmla="*/ 2147483647 w 110"/>
              <a:gd name="T51" fmla="*/ 2147483647 h 70"/>
              <a:gd name="T52" fmla="*/ 2147483647 w 110"/>
              <a:gd name="T53" fmla="*/ 2147483647 h 70"/>
              <a:gd name="T54" fmla="*/ 2147483647 w 110"/>
              <a:gd name="T55" fmla="*/ 2147483647 h 70"/>
              <a:gd name="T56" fmla="*/ 2147483647 w 110"/>
              <a:gd name="T57" fmla="*/ 2147483647 h 70"/>
              <a:gd name="T58" fmla="*/ 2147483647 w 110"/>
              <a:gd name="T59" fmla="*/ 2147483647 h 70"/>
              <a:gd name="T60" fmla="*/ 2147483647 w 110"/>
              <a:gd name="T61" fmla="*/ 2147483647 h 70"/>
              <a:gd name="T62" fmla="*/ 2147483647 w 110"/>
              <a:gd name="T63" fmla="*/ 2147483647 h 70"/>
              <a:gd name="T64" fmla="*/ 2147483647 w 110"/>
              <a:gd name="T65" fmla="*/ 2147483647 h 70"/>
              <a:gd name="T66" fmla="*/ 2147483647 w 110"/>
              <a:gd name="T67" fmla="*/ 2147483647 h 70"/>
              <a:gd name="T68" fmla="*/ 2147483647 w 110"/>
              <a:gd name="T69" fmla="*/ 2147483647 h 70"/>
              <a:gd name="T70" fmla="*/ 2147483647 w 110"/>
              <a:gd name="T71" fmla="*/ 2147483647 h 70"/>
              <a:gd name="T72" fmla="*/ 0 w 110"/>
              <a:gd name="T73" fmla="*/ 2147483647 h 70"/>
              <a:gd name="T74" fmla="*/ 2147483647 w 110"/>
              <a:gd name="T75" fmla="*/ 2147483647 h 70"/>
              <a:gd name="T76" fmla="*/ 2147483647 w 110"/>
              <a:gd name="T77" fmla="*/ 2147483647 h 70"/>
              <a:gd name="T78" fmla="*/ 2147483647 w 110"/>
              <a:gd name="T79" fmla="*/ 2147483647 h 70"/>
              <a:gd name="T80" fmla="*/ 2147483647 w 110"/>
              <a:gd name="T81" fmla="*/ 2147483647 h 70"/>
              <a:gd name="T82" fmla="*/ 2147483647 w 110"/>
              <a:gd name="T83" fmla="*/ 2147483647 h 70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10"/>
              <a:gd name="T127" fmla="*/ 0 h 70"/>
              <a:gd name="T128" fmla="*/ 110 w 110"/>
              <a:gd name="T129" fmla="*/ 70 h 70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10" h="70">
                <a:moveTo>
                  <a:pt x="18" y="16"/>
                </a:moveTo>
                <a:lnTo>
                  <a:pt x="18" y="6"/>
                </a:lnTo>
                <a:lnTo>
                  <a:pt x="28" y="0"/>
                </a:lnTo>
                <a:lnTo>
                  <a:pt x="40" y="0"/>
                </a:lnTo>
                <a:lnTo>
                  <a:pt x="40" y="8"/>
                </a:lnTo>
                <a:lnTo>
                  <a:pt x="42" y="12"/>
                </a:lnTo>
                <a:lnTo>
                  <a:pt x="52" y="14"/>
                </a:lnTo>
                <a:lnTo>
                  <a:pt x="54" y="16"/>
                </a:lnTo>
                <a:lnTo>
                  <a:pt x="56" y="20"/>
                </a:lnTo>
                <a:lnTo>
                  <a:pt x="62" y="22"/>
                </a:lnTo>
                <a:lnTo>
                  <a:pt x="70" y="30"/>
                </a:lnTo>
                <a:lnTo>
                  <a:pt x="84" y="32"/>
                </a:lnTo>
                <a:lnTo>
                  <a:pt x="86" y="38"/>
                </a:lnTo>
                <a:lnTo>
                  <a:pt x="88" y="46"/>
                </a:lnTo>
                <a:lnTo>
                  <a:pt x="98" y="46"/>
                </a:lnTo>
                <a:lnTo>
                  <a:pt x="108" y="48"/>
                </a:lnTo>
                <a:lnTo>
                  <a:pt x="110" y="52"/>
                </a:lnTo>
                <a:lnTo>
                  <a:pt x="110" y="56"/>
                </a:lnTo>
                <a:lnTo>
                  <a:pt x="108" y="56"/>
                </a:lnTo>
                <a:lnTo>
                  <a:pt x="106" y="60"/>
                </a:lnTo>
                <a:lnTo>
                  <a:pt x="102" y="60"/>
                </a:lnTo>
                <a:lnTo>
                  <a:pt x="100" y="62"/>
                </a:lnTo>
                <a:lnTo>
                  <a:pt x="90" y="60"/>
                </a:lnTo>
                <a:lnTo>
                  <a:pt x="84" y="58"/>
                </a:lnTo>
                <a:lnTo>
                  <a:pt x="76" y="52"/>
                </a:lnTo>
                <a:lnTo>
                  <a:pt x="68" y="46"/>
                </a:lnTo>
                <a:lnTo>
                  <a:pt x="64" y="42"/>
                </a:lnTo>
                <a:lnTo>
                  <a:pt x="60" y="44"/>
                </a:lnTo>
                <a:lnTo>
                  <a:pt x="58" y="48"/>
                </a:lnTo>
                <a:lnTo>
                  <a:pt x="52" y="56"/>
                </a:lnTo>
                <a:lnTo>
                  <a:pt x="40" y="68"/>
                </a:lnTo>
                <a:lnTo>
                  <a:pt x="24" y="70"/>
                </a:lnTo>
                <a:lnTo>
                  <a:pt x="26" y="56"/>
                </a:lnTo>
                <a:lnTo>
                  <a:pt x="14" y="56"/>
                </a:lnTo>
                <a:lnTo>
                  <a:pt x="10" y="56"/>
                </a:lnTo>
                <a:lnTo>
                  <a:pt x="6" y="62"/>
                </a:lnTo>
                <a:lnTo>
                  <a:pt x="0" y="56"/>
                </a:lnTo>
                <a:lnTo>
                  <a:pt x="6" y="48"/>
                </a:lnTo>
                <a:lnTo>
                  <a:pt x="16" y="38"/>
                </a:lnTo>
                <a:lnTo>
                  <a:pt x="16" y="26"/>
                </a:lnTo>
                <a:lnTo>
                  <a:pt x="18" y="22"/>
                </a:lnTo>
                <a:lnTo>
                  <a:pt x="18" y="1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3" name="Freeform 32">
            <a:extLst>
              <a:ext uri="{FF2B5EF4-FFF2-40B4-BE49-F238E27FC236}">
                <a16:creationId xmlns:a16="http://schemas.microsoft.com/office/drawing/2014/main" id="{FDBD2DFB-3778-10F9-7779-0506A8B151E6}"/>
              </a:ext>
            </a:extLst>
          </p:cNvPr>
          <p:cNvSpPr>
            <a:spLocks/>
          </p:cNvSpPr>
          <p:nvPr/>
        </p:nvSpPr>
        <p:spPr bwMode="auto">
          <a:xfrm>
            <a:off x="2116667" y="2288118"/>
            <a:ext cx="137584" cy="74084"/>
          </a:xfrm>
          <a:custGeom>
            <a:avLst/>
            <a:gdLst>
              <a:gd name="T0" fmla="*/ 2147483647 w 68"/>
              <a:gd name="T1" fmla="*/ 2147483647 h 36"/>
              <a:gd name="T2" fmla="*/ 0 w 68"/>
              <a:gd name="T3" fmla="*/ 2147483647 h 36"/>
              <a:gd name="T4" fmla="*/ 2147483647 w 68"/>
              <a:gd name="T5" fmla="*/ 2147483647 h 36"/>
              <a:gd name="T6" fmla="*/ 2147483647 w 68"/>
              <a:gd name="T7" fmla="*/ 2147483647 h 36"/>
              <a:gd name="T8" fmla="*/ 2147483647 w 68"/>
              <a:gd name="T9" fmla="*/ 0 h 36"/>
              <a:gd name="T10" fmla="*/ 2147483647 w 68"/>
              <a:gd name="T11" fmla="*/ 2147483647 h 36"/>
              <a:gd name="T12" fmla="*/ 2147483647 w 68"/>
              <a:gd name="T13" fmla="*/ 2147483647 h 36"/>
              <a:gd name="T14" fmla="*/ 2147483647 w 68"/>
              <a:gd name="T15" fmla="*/ 2147483647 h 36"/>
              <a:gd name="T16" fmla="*/ 2147483647 w 68"/>
              <a:gd name="T17" fmla="*/ 2147483647 h 36"/>
              <a:gd name="T18" fmla="*/ 2147483647 w 68"/>
              <a:gd name="T19" fmla="*/ 2147483647 h 36"/>
              <a:gd name="T20" fmla="*/ 2147483647 w 68"/>
              <a:gd name="T21" fmla="*/ 2147483647 h 36"/>
              <a:gd name="T22" fmla="*/ 2147483647 w 68"/>
              <a:gd name="T23" fmla="*/ 2147483647 h 36"/>
              <a:gd name="T24" fmla="*/ 2147483647 w 68"/>
              <a:gd name="T25" fmla="*/ 2147483647 h 36"/>
              <a:gd name="T26" fmla="*/ 2147483647 w 68"/>
              <a:gd name="T27" fmla="*/ 2147483647 h 36"/>
              <a:gd name="T28" fmla="*/ 2147483647 w 68"/>
              <a:gd name="T29" fmla="*/ 2147483647 h 36"/>
              <a:gd name="T30" fmla="*/ 2147483647 w 68"/>
              <a:gd name="T31" fmla="*/ 2147483647 h 36"/>
              <a:gd name="T32" fmla="*/ 2147483647 w 68"/>
              <a:gd name="T33" fmla="*/ 2147483647 h 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8"/>
              <a:gd name="T52" fmla="*/ 0 h 36"/>
              <a:gd name="T53" fmla="*/ 68 w 68"/>
              <a:gd name="T54" fmla="*/ 36 h 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8" h="36">
                <a:moveTo>
                  <a:pt x="6" y="26"/>
                </a:moveTo>
                <a:lnTo>
                  <a:pt x="0" y="24"/>
                </a:lnTo>
                <a:lnTo>
                  <a:pt x="10" y="16"/>
                </a:lnTo>
                <a:lnTo>
                  <a:pt x="18" y="10"/>
                </a:lnTo>
                <a:lnTo>
                  <a:pt x="20" y="0"/>
                </a:lnTo>
                <a:lnTo>
                  <a:pt x="28" y="2"/>
                </a:lnTo>
                <a:lnTo>
                  <a:pt x="38" y="6"/>
                </a:lnTo>
                <a:lnTo>
                  <a:pt x="48" y="14"/>
                </a:lnTo>
                <a:lnTo>
                  <a:pt x="60" y="18"/>
                </a:lnTo>
                <a:lnTo>
                  <a:pt x="66" y="24"/>
                </a:lnTo>
                <a:lnTo>
                  <a:pt x="68" y="32"/>
                </a:lnTo>
                <a:lnTo>
                  <a:pt x="64" y="34"/>
                </a:lnTo>
                <a:lnTo>
                  <a:pt x="56" y="36"/>
                </a:lnTo>
                <a:lnTo>
                  <a:pt x="44" y="36"/>
                </a:lnTo>
                <a:lnTo>
                  <a:pt x="28" y="34"/>
                </a:lnTo>
                <a:lnTo>
                  <a:pt x="18" y="30"/>
                </a:lnTo>
                <a:lnTo>
                  <a:pt x="6" y="2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4" name="Freeform 33">
            <a:extLst>
              <a:ext uri="{FF2B5EF4-FFF2-40B4-BE49-F238E27FC236}">
                <a16:creationId xmlns:a16="http://schemas.microsoft.com/office/drawing/2014/main" id="{972B4415-65A6-F05E-25C5-14D47972ABAA}"/>
              </a:ext>
            </a:extLst>
          </p:cNvPr>
          <p:cNvSpPr>
            <a:spLocks/>
          </p:cNvSpPr>
          <p:nvPr/>
        </p:nvSpPr>
        <p:spPr bwMode="auto">
          <a:xfrm>
            <a:off x="2417234" y="2053168"/>
            <a:ext cx="901700" cy="649817"/>
          </a:xfrm>
          <a:custGeom>
            <a:avLst/>
            <a:gdLst>
              <a:gd name="T0" fmla="*/ 2147483647 w 460"/>
              <a:gd name="T1" fmla="*/ 2147483647 h 328"/>
              <a:gd name="T2" fmla="*/ 2147483647 w 460"/>
              <a:gd name="T3" fmla="*/ 2147483647 h 328"/>
              <a:gd name="T4" fmla="*/ 2147483647 w 460"/>
              <a:gd name="T5" fmla="*/ 2147483647 h 328"/>
              <a:gd name="T6" fmla="*/ 2147483647 w 460"/>
              <a:gd name="T7" fmla="*/ 2147483647 h 328"/>
              <a:gd name="T8" fmla="*/ 2147483647 w 460"/>
              <a:gd name="T9" fmla="*/ 2147483647 h 328"/>
              <a:gd name="T10" fmla="*/ 2147483647 w 460"/>
              <a:gd name="T11" fmla="*/ 2147483647 h 328"/>
              <a:gd name="T12" fmla="*/ 2147483647 w 460"/>
              <a:gd name="T13" fmla="*/ 2147483647 h 328"/>
              <a:gd name="T14" fmla="*/ 2147483647 w 460"/>
              <a:gd name="T15" fmla="*/ 2147483647 h 328"/>
              <a:gd name="T16" fmla="*/ 2147483647 w 460"/>
              <a:gd name="T17" fmla="*/ 2147483647 h 328"/>
              <a:gd name="T18" fmla="*/ 2147483647 w 460"/>
              <a:gd name="T19" fmla="*/ 2147483647 h 328"/>
              <a:gd name="T20" fmla="*/ 2147483647 w 460"/>
              <a:gd name="T21" fmla="*/ 2147483647 h 328"/>
              <a:gd name="T22" fmla="*/ 2147483647 w 460"/>
              <a:gd name="T23" fmla="*/ 2147483647 h 328"/>
              <a:gd name="T24" fmla="*/ 2147483647 w 460"/>
              <a:gd name="T25" fmla="*/ 2147483647 h 328"/>
              <a:gd name="T26" fmla="*/ 2147483647 w 460"/>
              <a:gd name="T27" fmla="*/ 2147483647 h 328"/>
              <a:gd name="T28" fmla="*/ 2147483647 w 460"/>
              <a:gd name="T29" fmla="*/ 2147483647 h 328"/>
              <a:gd name="T30" fmla="*/ 2147483647 w 460"/>
              <a:gd name="T31" fmla="*/ 2147483647 h 328"/>
              <a:gd name="T32" fmla="*/ 2147483647 w 460"/>
              <a:gd name="T33" fmla="*/ 2147483647 h 328"/>
              <a:gd name="T34" fmla="*/ 2147483647 w 460"/>
              <a:gd name="T35" fmla="*/ 2147483647 h 328"/>
              <a:gd name="T36" fmla="*/ 2147483647 w 460"/>
              <a:gd name="T37" fmla="*/ 2147483647 h 328"/>
              <a:gd name="T38" fmla="*/ 2147483647 w 460"/>
              <a:gd name="T39" fmla="*/ 2147483647 h 328"/>
              <a:gd name="T40" fmla="*/ 2147483647 w 460"/>
              <a:gd name="T41" fmla="*/ 2147483647 h 328"/>
              <a:gd name="T42" fmla="*/ 2147483647 w 460"/>
              <a:gd name="T43" fmla="*/ 2147483647 h 328"/>
              <a:gd name="T44" fmla="*/ 2147483647 w 460"/>
              <a:gd name="T45" fmla="*/ 2147483647 h 328"/>
              <a:gd name="T46" fmla="*/ 2147483647 w 460"/>
              <a:gd name="T47" fmla="*/ 2147483647 h 328"/>
              <a:gd name="T48" fmla="*/ 2147483647 w 460"/>
              <a:gd name="T49" fmla="*/ 2147483647 h 328"/>
              <a:gd name="T50" fmla="*/ 2147483647 w 460"/>
              <a:gd name="T51" fmla="*/ 2147483647 h 328"/>
              <a:gd name="T52" fmla="*/ 2147483647 w 460"/>
              <a:gd name="T53" fmla="*/ 2147483647 h 328"/>
              <a:gd name="T54" fmla="*/ 2147483647 w 460"/>
              <a:gd name="T55" fmla="*/ 2147483647 h 328"/>
              <a:gd name="T56" fmla="*/ 2147483647 w 460"/>
              <a:gd name="T57" fmla="*/ 2147483647 h 328"/>
              <a:gd name="T58" fmla="*/ 2147483647 w 460"/>
              <a:gd name="T59" fmla="*/ 2147483647 h 328"/>
              <a:gd name="T60" fmla="*/ 2147483647 w 460"/>
              <a:gd name="T61" fmla="*/ 2147483647 h 328"/>
              <a:gd name="T62" fmla="*/ 2147483647 w 460"/>
              <a:gd name="T63" fmla="*/ 2147483647 h 328"/>
              <a:gd name="T64" fmla="*/ 2147483647 w 460"/>
              <a:gd name="T65" fmla="*/ 2147483647 h 328"/>
              <a:gd name="T66" fmla="*/ 2147483647 w 460"/>
              <a:gd name="T67" fmla="*/ 2147483647 h 328"/>
              <a:gd name="T68" fmla="*/ 2147483647 w 460"/>
              <a:gd name="T69" fmla="*/ 2147483647 h 328"/>
              <a:gd name="T70" fmla="*/ 2147483647 w 460"/>
              <a:gd name="T71" fmla="*/ 2147483647 h 328"/>
              <a:gd name="T72" fmla="*/ 2147483647 w 460"/>
              <a:gd name="T73" fmla="*/ 2147483647 h 328"/>
              <a:gd name="T74" fmla="*/ 2147483647 w 460"/>
              <a:gd name="T75" fmla="*/ 2147483647 h 328"/>
              <a:gd name="T76" fmla="*/ 2147483647 w 460"/>
              <a:gd name="T77" fmla="*/ 2147483647 h 328"/>
              <a:gd name="T78" fmla="*/ 2147483647 w 460"/>
              <a:gd name="T79" fmla="*/ 2147483647 h 328"/>
              <a:gd name="T80" fmla="*/ 2147483647 w 460"/>
              <a:gd name="T81" fmla="*/ 2147483647 h 328"/>
              <a:gd name="T82" fmla="*/ 2147483647 w 460"/>
              <a:gd name="T83" fmla="*/ 2147483647 h 328"/>
              <a:gd name="T84" fmla="*/ 2147483647 w 460"/>
              <a:gd name="T85" fmla="*/ 2147483647 h 328"/>
              <a:gd name="T86" fmla="*/ 2147483647 w 460"/>
              <a:gd name="T87" fmla="*/ 2147483647 h 328"/>
              <a:gd name="T88" fmla="*/ 2147483647 w 460"/>
              <a:gd name="T89" fmla="*/ 2147483647 h 328"/>
              <a:gd name="T90" fmla="*/ 2147483647 w 460"/>
              <a:gd name="T91" fmla="*/ 2147483647 h 328"/>
              <a:gd name="T92" fmla="*/ 2147483647 w 460"/>
              <a:gd name="T93" fmla="*/ 2147483647 h 328"/>
              <a:gd name="T94" fmla="*/ 0 w 460"/>
              <a:gd name="T95" fmla="*/ 2147483647 h 328"/>
              <a:gd name="T96" fmla="*/ 2147483647 w 460"/>
              <a:gd name="T97" fmla="*/ 2147483647 h 328"/>
              <a:gd name="T98" fmla="*/ 2147483647 w 460"/>
              <a:gd name="T99" fmla="*/ 2147483647 h 328"/>
              <a:gd name="T100" fmla="*/ 2147483647 w 460"/>
              <a:gd name="T101" fmla="*/ 2147483647 h 328"/>
              <a:gd name="T102" fmla="*/ 2147483647 w 460"/>
              <a:gd name="T103" fmla="*/ 2147483647 h 328"/>
              <a:gd name="T104" fmla="*/ 2147483647 w 460"/>
              <a:gd name="T105" fmla="*/ 2147483647 h 32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60"/>
              <a:gd name="T160" fmla="*/ 0 h 328"/>
              <a:gd name="T161" fmla="*/ 460 w 460"/>
              <a:gd name="T162" fmla="*/ 328 h 32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60" h="328">
                <a:moveTo>
                  <a:pt x="134" y="6"/>
                </a:moveTo>
                <a:lnTo>
                  <a:pt x="140" y="14"/>
                </a:lnTo>
                <a:lnTo>
                  <a:pt x="146" y="22"/>
                </a:lnTo>
                <a:lnTo>
                  <a:pt x="148" y="30"/>
                </a:lnTo>
                <a:lnTo>
                  <a:pt x="148" y="38"/>
                </a:lnTo>
                <a:lnTo>
                  <a:pt x="144" y="42"/>
                </a:lnTo>
                <a:lnTo>
                  <a:pt x="144" y="52"/>
                </a:lnTo>
                <a:lnTo>
                  <a:pt x="154" y="52"/>
                </a:lnTo>
                <a:lnTo>
                  <a:pt x="158" y="42"/>
                </a:lnTo>
                <a:lnTo>
                  <a:pt x="168" y="42"/>
                </a:lnTo>
                <a:lnTo>
                  <a:pt x="180" y="50"/>
                </a:lnTo>
                <a:lnTo>
                  <a:pt x="184" y="36"/>
                </a:lnTo>
                <a:lnTo>
                  <a:pt x="198" y="34"/>
                </a:lnTo>
                <a:lnTo>
                  <a:pt x="214" y="34"/>
                </a:lnTo>
                <a:lnTo>
                  <a:pt x="230" y="40"/>
                </a:lnTo>
                <a:lnTo>
                  <a:pt x="238" y="44"/>
                </a:lnTo>
                <a:lnTo>
                  <a:pt x="228" y="50"/>
                </a:lnTo>
                <a:lnTo>
                  <a:pt x="226" y="58"/>
                </a:lnTo>
                <a:lnTo>
                  <a:pt x="240" y="52"/>
                </a:lnTo>
                <a:lnTo>
                  <a:pt x="250" y="54"/>
                </a:lnTo>
                <a:lnTo>
                  <a:pt x="244" y="60"/>
                </a:lnTo>
                <a:lnTo>
                  <a:pt x="238" y="68"/>
                </a:lnTo>
                <a:lnTo>
                  <a:pt x="246" y="66"/>
                </a:lnTo>
                <a:lnTo>
                  <a:pt x="258" y="58"/>
                </a:lnTo>
                <a:lnTo>
                  <a:pt x="260" y="66"/>
                </a:lnTo>
                <a:lnTo>
                  <a:pt x="254" y="74"/>
                </a:lnTo>
                <a:lnTo>
                  <a:pt x="264" y="74"/>
                </a:lnTo>
                <a:lnTo>
                  <a:pt x="280" y="68"/>
                </a:lnTo>
                <a:lnTo>
                  <a:pt x="290" y="70"/>
                </a:lnTo>
                <a:lnTo>
                  <a:pt x="296" y="76"/>
                </a:lnTo>
                <a:lnTo>
                  <a:pt x="292" y="80"/>
                </a:lnTo>
                <a:lnTo>
                  <a:pt x="284" y="86"/>
                </a:lnTo>
                <a:lnTo>
                  <a:pt x="290" y="90"/>
                </a:lnTo>
                <a:lnTo>
                  <a:pt x="300" y="86"/>
                </a:lnTo>
                <a:lnTo>
                  <a:pt x="306" y="84"/>
                </a:lnTo>
                <a:lnTo>
                  <a:pt x="306" y="90"/>
                </a:lnTo>
                <a:lnTo>
                  <a:pt x="298" y="98"/>
                </a:lnTo>
                <a:lnTo>
                  <a:pt x="304" y="98"/>
                </a:lnTo>
                <a:lnTo>
                  <a:pt x="320" y="92"/>
                </a:lnTo>
                <a:lnTo>
                  <a:pt x="332" y="92"/>
                </a:lnTo>
                <a:lnTo>
                  <a:pt x="342" y="96"/>
                </a:lnTo>
                <a:lnTo>
                  <a:pt x="342" y="100"/>
                </a:lnTo>
                <a:lnTo>
                  <a:pt x="334" y="104"/>
                </a:lnTo>
                <a:lnTo>
                  <a:pt x="324" y="108"/>
                </a:lnTo>
                <a:lnTo>
                  <a:pt x="332" y="112"/>
                </a:lnTo>
                <a:lnTo>
                  <a:pt x="350" y="108"/>
                </a:lnTo>
                <a:lnTo>
                  <a:pt x="356" y="110"/>
                </a:lnTo>
                <a:lnTo>
                  <a:pt x="360" y="116"/>
                </a:lnTo>
                <a:lnTo>
                  <a:pt x="362" y="122"/>
                </a:lnTo>
                <a:lnTo>
                  <a:pt x="354" y="122"/>
                </a:lnTo>
                <a:lnTo>
                  <a:pt x="348" y="122"/>
                </a:lnTo>
                <a:lnTo>
                  <a:pt x="342" y="122"/>
                </a:lnTo>
                <a:lnTo>
                  <a:pt x="342" y="128"/>
                </a:lnTo>
                <a:lnTo>
                  <a:pt x="352" y="128"/>
                </a:lnTo>
                <a:lnTo>
                  <a:pt x="362" y="128"/>
                </a:lnTo>
                <a:lnTo>
                  <a:pt x="368" y="134"/>
                </a:lnTo>
                <a:lnTo>
                  <a:pt x="370" y="138"/>
                </a:lnTo>
                <a:lnTo>
                  <a:pt x="368" y="138"/>
                </a:lnTo>
                <a:lnTo>
                  <a:pt x="362" y="138"/>
                </a:lnTo>
                <a:lnTo>
                  <a:pt x="346" y="136"/>
                </a:lnTo>
                <a:lnTo>
                  <a:pt x="344" y="138"/>
                </a:lnTo>
                <a:lnTo>
                  <a:pt x="342" y="140"/>
                </a:lnTo>
                <a:lnTo>
                  <a:pt x="342" y="144"/>
                </a:lnTo>
                <a:lnTo>
                  <a:pt x="346" y="150"/>
                </a:lnTo>
                <a:lnTo>
                  <a:pt x="354" y="156"/>
                </a:lnTo>
                <a:lnTo>
                  <a:pt x="362" y="156"/>
                </a:lnTo>
                <a:lnTo>
                  <a:pt x="370" y="154"/>
                </a:lnTo>
                <a:lnTo>
                  <a:pt x="382" y="160"/>
                </a:lnTo>
                <a:lnTo>
                  <a:pt x="382" y="166"/>
                </a:lnTo>
                <a:lnTo>
                  <a:pt x="388" y="168"/>
                </a:lnTo>
                <a:lnTo>
                  <a:pt x="398" y="170"/>
                </a:lnTo>
                <a:lnTo>
                  <a:pt x="404" y="174"/>
                </a:lnTo>
                <a:lnTo>
                  <a:pt x="406" y="180"/>
                </a:lnTo>
                <a:lnTo>
                  <a:pt x="416" y="180"/>
                </a:lnTo>
                <a:lnTo>
                  <a:pt x="424" y="182"/>
                </a:lnTo>
                <a:lnTo>
                  <a:pt x="434" y="190"/>
                </a:lnTo>
                <a:lnTo>
                  <a:pt x="438" y="194"/>
                </a:lnTo>
                <a:lnTo>
                  <a:pt x="450" y="196"/>
                </a:lnTo>
                <a:lnTo>
                  <a:pt x="460" y="204"/>
                </a:lnTo>
                <a:lnTo>
                  <a:pt x="460" y="208"/>
                </a:lnTo>
                <a:lnTo>
                  <a:pt x="460" y="212"/>
                </a:lnTo>
                <a:lnTo>
                  <a:pt x="458" y="214"/>
                </a:lnTo>
                <a:lnTo>
                  <a:pt x="444" y="216"/>
                </a:lnTo>
                <a:lnTo>
                  <a:pt x="434" y="216"/>
                </a:lnTo>
                <a:lnTo>
                  <a:pt x="436" y="226"/>
                </a:lnTo>
                <a:lnTo>
                  <a:pt x="430" y="232"/>
                </a:lnTo>
                <a:lnTo>
                  <a:pt x="420" y="232"/>
                </a:lnTo>
                <a:lnTo>
                  <a:pt x="420" y="240"/>
                </a:lnTo>
                <a:lnTo>
                  <a:pt x="414" y="248"/>
                </a:lnTo>
                <a:lnTo>
                  <a:pt x="398" y="240"/>
                </a:lnTo>
                <a:lnTo>
                  <a:pt x="390" y="230"/>
                </a:lnTo>
                <a:lnTo>
                  <a:pt x="386" y="222"/>
                </a:lnTo>
                <a:lnTo>
                  <a:pt x="364" y="208"/>
                </a:lnTo>
                <a:lnTo>
                  <a:pt x="356" y="212"/>
                </a:lnTo>
                <a:lnTo>
                  <a:pt x="360" y="222"/>
                </a:lnTo>
                <a:lnTo>
                  <a:pt x="358" y="230"/>
                </a:lnTo>
                <a:lnTo>
                  <a:pt x="364" y="244"/>
                </a:lnTo>
                <a:lnTo>
                  <a:pt x="376" y="256"/>
                </a:lnTo>
                <a:lnTo>
                  <a:pt x="394" y="270"/>
                </a:lnTo>
                <a:lnTo>
                  <a:pt x="408" y="284"/>
                </a:lnTo>
                <a:lnTo>
                  <a:pt x="406" y="290"/>
                </a:lnTo>
                <a:lnTo>
                  <a:pt x="400" y="288"/>
                </a:lnTo>
                <a:lnTo>
                  <a:pt x="396" y="288"/>
                </a:lnTo>
                <a:lnTo>
                  <a:pt x="394" y="290"/>
                </a:lnTo>
                <a:lnTo>
                  <a:pt x="400" y="304"/>
                </a:lnTo>
                <a:lnTo>
                  <a:pt x="394" y="310"/>
                </a:lnTo>
                <a:lnTo>
                  <a:pt x="378" y="302"/>
                </a:lnTo>
                <a:lnTo>
                  <a:pt x="356" y="290"/>
                </a:lnTo>
                <a:lnTo>
                  <a:pt x="344" y="278"/>
                </a:lnTo>
                <a:lnTo>
                  <a:pt x="338" y="282"/>
                </a:lnTo>
                <a:lnTo>
                  <a:pt x="348" y="292"/>
                </a:lnTo>
                <a:lnTo>
                  <a:pt x="366" y="306"/>
                </a:lnTo>
                <a:lnTo>
                  <a:pt x="370" y="312"/>
                </a:lnTo>
                <a:lnTo>
                  <a:pt x="374" y="320"/>
                </a:lnTo>
                <a:lnTo>
                  <a:pt x="378" y="328"/>
                </a:lnTo>
                <a:lnTo>
                  <a:pt x="354" y="322"/>
                </a:lnTo>
                <a:lnTo>
                  <a:pt x="334" y="314"/>
                </a:lnTo>
                <a:lnTo>
                  <a:pt x="320" y="304"/>
                </a:lnTo>
                <a:lnTo>
                  <a:pt x="312" y="304"/>
                </a:lnTo>
                <a:lnTo>
                  <a:pt x="310" y="314"/>
                </a:lnTo>
                <a:lnTo>
                  <a:pt x="296" y="298"/>
                </a:lnTo>
                <a:lnTo>
                  <a:pt x="290" y="290"/>
                </a:lnTo>
                <a:lnTo>
                  <a:pt x="294" y="286"/>
                </a:lnTo>
                <a:lnTo>
                  <a:pt x="288" y="280"/>
                </a:lnTo>
                <a:lnTo>
                  <a:pt x="280" y="282"/>
                </a:lnTo>
                <a:lnTo>
                  <a:pt x="272" y="274"/>
                </a:lnTo>
                <a:lnTo>
                  <a:pt x="262" y="264"/>
                </a:lnTo>
                <a:lnTo>
                  <a:pt x="256" y="258"/>
                </a:lnTo>
                <a:lnTo>
                  <a:pt x="244" y="254"/>
                </a:lnTo>
                <a:lnTo>
                  <a:pt x="238" y="250"/>
                </a:lnTo>
                <a:lnTo>
                  <a:pt x="238" y="258"/>
                </a:lnTo>
                <a:lnTo>
                  <a:pt x="238" y="260"/>
                </a:lnTo>
                <a:lnTo>
                  <a:pt x="236" y="262"/>
                </a:lnTo>
                <a:lnTo>
                  <a:pt x="224" y="262"/>
                </a:lnTo>
                <a:lnTo>
                  <a:pt x="218" y="266"/>
                </a:lnTo>
                <a:lnTo>
                  <a:pt x="208" y="270"/>
                </a:lnTo>
                <a:lnTo>
                  <a:pt x="194" y="268"/>
                </a:lnTo>
                <a:lnTo>
                  <a:pt x="186" y="258"/>
                </a:lnTo>
                <a:lnTo>
                  <a:pt x="188" y="246"/>
                </a:lnTo>
                <a:lnTo>
                  <a:pt x="202" y="236"/>
                </a:lnTo>
                <a:lnTo>
                  <a:pt x="214" y="238"/>
                </a:lnTo>
                <a:lnTo>
                  <a:pt x="226" y="242"/>
                </a:lnTo>
                <a:lnTo>
                  <a:pt x="232" y="246"/>
                </a:lnTo>
                <a:lnTo>
                  <a:pt x="238" y="240"/>
                </a:lnTo>
                <a:lnTo>
                  <a:pt x="246" y="236"/>
                </a:lnTo>
                <a:lnTo>
                  <a:pt x="258" y="232"/>
                </a:lnTo>
                <a:lnTo>
                  <a:pt x="254" y="228"/>
                </a:lnTo>
                <a:lnTo>
                  <a:pt x="246" y="222"/>
                </a:lnTo>
                <a:lnTo>
                  <a:pt x="254" y="210"/>
                </a:lnTo>
                <a:lnTo>
                  <a:pt x="268" y="202"/>
                </a:lnTo>
                <a:lnTo>
                  <a:pt x="280" y="190"/>
                </a:lnTo>
                <a:lnTo>
                  <a:pt x="272" y="172"/>
                </a:lnTo>
                <a:lnTo>
                  <a:pt x="264" y="160"/>
                </a:lnTo>
                <a:lnTo>
                  <a:pt x="256" y="160"/>
                </a:lnTo>
                <a:lnTo>
                  <a:pt x="254" y="152"/>
                </a:lnTo>
                <a:lnTo>
                  <a:pt x="246" y="156"/>
                </a:lnTo>
                <a:lnTo>
                  <a:pt x="240" y="148"/>
                </a:lnTo>
                <a:lnTo>
                  <a:pt x="240" y="142"/>
                </a:lnTo>
                <a:lnTo>
                  <a:pt x="228" y="142"/>
                </a:lnTo>
                <a:lnTo>
                  <a:pt x="218" y="150"/>
                </a:lnTo>
                <a:lnTo>
                  <a:pt x="210" y="142"/>
                </a:lnTo>
                <a:lnTo>
                  <a:pt x="222" y="134"/>
                </a:lnTo>
                <a:lnTo>
                  <a:pt x="218" y="128"/>
                </a:lnTo>
                <a:lnTo>
                  <a:pt x="212" y="124"/>
                </a:lnTo>
                <a:lnTo>
                  <a:pt x="202" y="114"/>
                </a:lnTo>
                <a:lnTo>
                  <a:pt x="196" y="120"/>
                </a:lnTo>
                <a:lnTo>
                  <a:pt x="190" y="112"/>
                </a:lnTo>
                <a:lnTo>
                  <a:pt x="186" y="106"/>
                </a:lnTo>
                <a:lnTo>
                  <a:pt x="178" y="98"/>
                </a:lnTo>
                <a:lnTo>
                  <a:pt x="172" y="100"/>
                </a:lnTo>
                <a:lnTo>
                  <a:pt x="176" y="106"/>
                </a:lnTo>
                <a:lnTo>
                  <a:pt x="178" y="112"/>
                </a:lnTo>
                <a:lnTo>
                  <a:pt x="172" y="116"/>
                </a:lnTo>
                <a:lnTo>
                  <a:pt x="158" y="116"/>
                </a:lnTo>
                <a:lnTo>
                  <a:pt x="136" y="110"/>
                </a:lnTo>
                <a:lnTo>
                  <a:pt x="130" y="116"/>
                </a:lnTo>
                <a:lnTo>
                  <a:pt x="118" y="118"/>
                </a:lnTo>
                <a:lnTo>
                  <a:pt x="90" y="114"/>
                </a:lnTo>
                <a:lnTo>
                  <a:pt x="74" y="110"/>
                </a:lnTo>
                <a:lnTo>
                  <a:pt x="56" y="110"/>
                </a:lnTo>
                <a:lnTo>
                  <a:pt x="48" y="104"/>
                </a:lnTo>
                <a:lnTo>
                  <a:pt x="40" y="100"/>
                </a:lnTo>
                <a:lnTo>
                  <a:pt x="32" y="106"/>
                </a:lnTo>
                <a:lnTo>
                  <a:pt x="20" y="102"/>
                </a:lnTo>
                <a:lnTo>
                  <a:pt x="8" y="94"/>
                </a:lnTo>
                <a:lnTo>
                  <a:pt x="8" y="84"/>
                </a:lnTo>
                <a:lnTo>
                  <a:pt x="16" y="84"/>
                </a:lnTo>
                <a:lnTo>
                  <a:pt x="32" y="86"/>
                </a:lnTo>
                <a:lnTo>
                  <a:pt x="38" y="82"/>
                </a:lnTo>
                <a:lnTo>
                  <a:pt x="32" y="76"/>
                </a:lnTo>
                <a:lnTo>
                  <a:pt x="16" y="78"/>
                </a:lnTo>
                <a:lnTo>
                  <a:pt x="0" y="72"/>
                </a:lnTo>
                <a:lnTo>
                  <a:pt x="0" y="50"/>
                </a:lnTo>
                <a:lnTo>
                  <a:pt x="8" y="30"/>
                </a:lnTo>
                <a:lnTo>
                  <a:pt x="20" y="14"/>
                </a:lnTo>
                <a:lnTo>
                  <a:pt x="38" y="2"/>
                </a:lnTo>
                <a:lnTo>
                  <a:pt x="52" y="0"/>
                </a:lnTo>
                <a:lnTo>
                  <a:pt x="82" y="2"/>
                </a:lnTo>
                <a:lnTo>
                  <a:pt x="76" y="8"/>
                </a:lnTo>
                <a:lnTo>
                  <a:pt x="64" y="12"/>
                </a:lnTo>
                <a:lnTo>
                  <a:pt x="54" y="28"/>
                </a:lnTo>
                <a:lnTo>
                  <a:pt x="54" y="40"/>
                </a:lnTo>
                <a:lnTo>
                  <a:pt x="54" y="50"/>
                </a:lnTo>
                <a:lnTo>
                  <a:pt x="68" y="76"/>
                </a:lnTo>
                <a:lnTo>
                  <a:pt x="82" y="72"/>
                </a:lnTo>
                <a:lnTo>
                  <a:pt x="76" y="64"/>
                </a:lnTo>
                <a:lnTo>
                  <a:pt x="66" y="50"/>
                </a:lnTo>
                <a:lnTo>
                  <a:pt x="78" y="46"/>
                </a:lnTo>
                <a:lnTo>
                  <a:pt x="70" y="38"/>
                </a:lnTo>
                <a:lnTo>
                  <a:pt x="72" y="26"/>
                </a:lnTo>
                <a:lnTo>
                  <a:pt x="84" y="16"/>
                </a:lnTo>
                <a:lnTo>
                  <a:pt x="108" y="4"/>
                </a:lnTo>
                <a:lnTo>
                  <a:pt x="122" y="2"/>
                </a:lnTo>
                <a:lnTo>
                  <a:pt x="134" y="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5" name="Freeform 34">
            <a:extLst>
              <a:ext uri="{FF2B5EF4-FFF2-40B4-BE49-F238E27FC236}">
                <a16:creationId xmlns:a16="http://schemas.microsoft.com/office/drawing/2014/main" id="{C2C20502-E8A9-32DE-DFCF-396C2A9A5EBD}"/>
              </a:ext>
            </a:extLst>
          </p:cNvPr>
          <p:cNvSpPr>
            <a:spLocks/>
          </p:cNvSpPr>
          <p:nvPr/>
        </p:nvSpPr>
        <p:spPr bwMode="auto">
          <a:xfrm>
            <a:off x="2590799" y="2643718"/>
            <a:ext cx="69851" cy="40217"/>
          </a:xfrm>
          <a:custGeom>
            <a:avLst/>
            <a:gdLst>
              <a:gd name="T0" fmla="*/ 2147483647 w 36"/>
              <a:gd name="T1" fmla="*/ 0 h 22"/>
              <a:gd name="T2" fmla="*/ 2147483647 w 36"/>
              <a:gd name="T3" fmla="*/ 0 h 22"/>
              <a:gd name="T4" fmla="*/ 2147483647 w 36"/>
              <a:gd name="T5" fmla="*/ 2147483647 h 22"/>
              <a:gd name="T6" fmla="*/ 2147483647 w 36"/>
              <a:gd name="T7" fmla="*/ 2147483647 h 22"/>
              <a:gd name="T8" fmla="*/ 2147483647 w 36"/>
              <a:gd name="T9" fmla="*/ 2147483647 h 22"/>
              <a:gd name="T10" fmla="*/ 0 w 36"/>
              <a:gd name="T11" fmla="*/ 2147483647 h 22"/>
              <a:gd name="T12" fmla="*/ 2147483647 w 36"/>
              <a:gd name="T13" fmla="*/ 2147483647 h 22"/>
              <a:gd name="T14" fmla="*/ 2147483647 w 36"/>
              <a:gd name="T15" fmla="*/ 2147483647 h 22"/>
              <a:gd name="T16" fmla="*/ 2147483647 w 36"/>
              <a:gd name="T17" fmla="*/ 2147483647 h 22"/>
              <a:gd name="T18" fmla="*/ 2147483647 w 36"/>
              <a:gd name="T19" fmla="*/ 2147483647 h 22"/>
              <a:gd name="T20" fmla="*/ 2147483647 w 36"/>
              <a:gd name="T21" fmla="*/ 2147483647 h 22"/>
              <a:gd name="T22" fmla="*/ 2147483647 w 36"/>
              <a:gd name="T23" fmla="*/ 0 h 2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6"/>
              <a:gd name="T37" fmla="*/ 0 h 22"/>
              <a:gd name="T38" fmla="*/ 36 w 36"/>
              <a:gd name="T39" fmla="*/ 22 h 2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6" h="22">
                <a:moveTo>
                  <a:pt x="34" y="0"/>
                </a:moveTo>
                <a:lnTo>
                  <a:pt x="22" y="0"/>
                </a:lnTo>
                <a:lnTo>
                  <a:pt x="8" y="6"/>
                </a:lnTo>
                <a:lnTo>
                  <a:pt x="4" y="10"/>
                </a:lnTo>
                <a:lnTo>
                  <a:pt x="2" y="12"/>
                </a:lnTo>
                <a:lnTo>
                  <a:pt x="0" y="14"/>
                </a:lnTo>
                <a:lnTo>
                  <a:pt x="6" y="18"/>
                </a:lnTo>
                <a:lnTo>
                  <a:pt x="10" y="22"/>
                </a:lnTo>
                <a:lnTo>
                  <a:pt x="22" y="18"/>
                </a:lnTo>
                <a:lnTo>
                  <a:pt x="30" y="12"/>
                </a:lnTo>
                <a:lnTo>
                  <a:pt x="36" y="4"/>
                </a:lnTo>
                <a:lnTo>
                  <a:pt x="34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6" name="Freeform 35">
            <a:extLst>
              <a:ext uri="{FF2B5EF4-FFF2-40B4-BE49-F238E27FC236}">
                <a16:creationId xmlns:a16="http://schemas.microsoft.com/office/drawing/2014/main" id="{8718BF91-CBB4-993D-97F9-2E61400C28DF}"/>
              </a:ext>
            </a:extLst>
          </p:cNvPr>
          <p:cNvSpPr>
            <a:spLocks/>
          </p:cNvSpPr>
          <p:nvPr/>
        </p:nvSpPr>
        <p:spPr bwMode="auto">
          <a:xfrm>
            <a:off x="2715685" y="2673352"/>
            <a:ext cx="40217" cy="40217"/>
          </a:xfrm>
          <a:custGeom>
            <a:avLst/>
            <a:gdLst>
              <a:gd name="T0" fmla="*/ 2147483647 w 18"/>
              <a:gd name="T1" fmla="*/ 0 h 22"/>
              <a:gd name="T2" fmla="*/ 2147483647 w 18"/>
              <a:gd name="T3" fmla="*/ 2147483647 h 22"/>
              <a:gd name="T4" fmla="*/ 0 w 18"/>
              <a:gd name="T5" fmla="*/ 2147483647 h 22"/>
              <a:gd name="T6" fmla="*/ 2147483647 w 18"/>
              <a:gd name="T7" fmla="*/ 2147483647 h 22"/>
              <a:gd name="T8" fmla="*/ 2147483647 w 18"/>
              <a:gd name="T9" fmla="*/ 2147483647 h 22"/>
              <a:gd name="T10" fmla="*/ 2147483647 w 18"/>
              <a:gd name="T11" fmla="*/ 2147483647 h 22"/>
              <a:gd name="T12" fmla="*/ 2147483647 w 18"/>
              <a:gd name="T13" fmla="*/ 0 h 2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8"/>
              <a:gd name="T22" fmla="*/ 0 h 22"/>
              <a:gd name="T23" fmla="*/ 18 w 18"/>
              <a:gd name="T24" fmla="*/ 22 h 2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8" h="22">
                <a:moveTo>
                  <a:pt x="8" y="0"/>
                </a:moveTo>
                <a:lnTo>
                  <a:pt x="2" y="6"/>
                </a:lnTo>
                <a:lnTo>
                  <a:pt x="0" y="14"/>
                </a:lnTo>
                <a:lnTo>
                  <a:pt x="8" y="22"/>
                </a:lnTo>
                <a:lnTo>
                  <a:pt x="18" y="10"/>
                </a:lnTo>
                <a:lnTo>
                  <a:pt x="16" y="2"/>
                </a:lnTo>
                <a:lnTo>
                  <a:pt x="8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7" name="Freeform 37">
            <a:extLst>
              <a:ext uri="{FF2B5EF4-FFF2-40B4-BE49-F238E27FC236}">
                <a16:creationId xmlns:a16="http://schemas.microsoft.com/office/drawing/2014/main" id="{B7773A5C-9E00-BA4A-ED2E-8D7BF4B18BF9}"/>
              </a:ext>
            </a:extLst>
          </p:cNvPr>
          <p:cNvSpPr>
            <a:spLocks/>
          </p:cNvSpPr>
          <p:nvPr/>
        </p:nvSpPr>
        <p:spPr bwMode="auto">
          <a:xfrm>
            <a:off x="2891367" y="2372785"/>
            <a:ext cx="38100" cy="29633"/>
          </a:xfrm>
          <a:custGeom>
            <a:avLst/>
            <a:gdLst>
              <a:gd name="T0" fmla="*/ 2147483647 w 20"/>
              <a:gd name="T1" fmla="*/ 0 h 16"/>
              <a:gd name="T2" fmla="*/ 2147483647 w 20"/>
              <a:gd name="T3" fmla="*/ 2147483647 h 16"/>
              <a:gd name="T4" fmla="*/ 2147483647 w 20"/>
              <a:gd name="T5" fmla="*/ 2147483647 h 16"/>
              <a:gd name="T6" fmla="*/ 2147483647 w 20"/>
              <a:gd name="T7" fmla="*/ 2147483647 h 16"/>
              <a:gd name="T8" fmla="*/ 2147483647 w 20"/>
              <a:gd name="T9" fmla="*/ 2147483647 h 16"/>
              <a:gd name="T10" fmla="*/ 0 w 20"/>
              <a:gd name="T11" fmla="*/ 2147483647 h 16"/>
              <a:gd name="T12" fmla="*/ 0 w 20"/>
              <a:gd name="T13" fmla="*/ 2147483647 h 16"/>
              <a:gd name="T14" fmla="*/ 2147483647 w 20"/>
              <a:gd name="T15" fmla="*/ 0 h 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"/>
              <a:gd name="T25" fmla="*/ 0 h 16"/>
              <a:gd name="T26" fmla="*/ 20 w 20"/>
              <a:gd name="T27" fmla="*/ 16 h 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" h="16">
                <a:moveTo>
                  <a:pt x="8" y="0"/>
                </a:moveTo>
                <a:lnTo>
                  <a:pt x="16" y="6"/>
                </a:lnTo>
                <a:lnTo>
                  <a:pt x="20" y="12"/>
                </a:lnTo>
                <a:lnTo>
                  <a:pt x="16" y="16"/>
                </a:lnTo>
                <a:lnTo>
                  <a:pt x="6" y="14"/>
                </a:lnTo>
                <a:lnTo>
                  <a:pt x="0" y="10"/>
                </a:lnTo>
                <a:lnTo>
                  <a:pt x="0" y="2"/>
                </a:lnTo>
                <a:lnTo>
                  <a:pt x="8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8" name="Freeform 38">
            <a:extLst>
              <a:ext uri="{FF2B5EF4-FFF2-40B4-BE49-F238E27FC236}">
                <a16:creationId xmlns:a16="http://schemas.microsoft.com/office/drawing/2014/main" id="{84664D23-C953-4D7C-F383-DB16FDA8B56A}"/>
              </a:ext>
            </a:extLst>
          </p:cNvPr>
          <p:cNvSpPr>
            <a:spLocks/>
          </p:cNvSpPr>
          <p:nvPr/>
        </p:nvSpPr>
        <p:spPr bwMode="auto">
          <a:xfrm>
            <a:off x="3219451" y="3223685"/>
            <a:ext cx="78317" cy="38100"/>
          </a:xfrm>
          <a:custGeom>
            <a:avLst/>
            <a:gdLst>
              <a:gd name="T0" fmla="*/ 0 w 38"/>
              <a:gd name="T1" fmla="*/ 2147483647 h 18"/>
              <a:gd name="T2" fmla="*/ 2147483647 w 38"/>
              <a:gd name="T3" fmla="*/ 2147483647 h 18"/>
              <a:gd name="T4" fmla="*/ 2147483647 w 38"/>
              <a:gd name="T5" fmla="*/ 2147483647 h 18"/>
              <a:gd name="T6" fmla="*/ 2147483647 w 38"/>
              <a:gd name="T7" fmla="*/ 2147483647 h 18"/>
              <a:gd name="T8" fmla="*/ 2147483647 w 38"/>
              <a:gd name="T9" fmla="*/ 2147483647 h 18"/>
              <a:gd name="T10" fmla="*/ 2147483647 w 38"/>
              <a:gd name="T11" fmla="*/ 2147483647 h 18"/>
              <a:gd name="T12" fmla="*/ 2147483647 w 38"/>
              <a:gd name="T13" fmla="*/ 2147483647 h 18"/>
              <a:gd name="T14" fmla="*/ 2147483647 w 38"/>
              <a:gd name="T15" fmla="*/ 0 h 18"/>
              <a:gd name="T16" fmla="*/ 2147483647 w 38"/>
              <a:gd name="T17" fmla="*/ 0 h 18"/>
              <a:gd name="T18" fmla="*/ 0 w 38"/>
              <a:gd name="T19" fmla="*/ 2147483647 h 1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8"/>
              <a:gd name="T31" fmla="*/ 0 h 18"/>
              <a:gd name="T32" fmla="*/ 38 w 38"/>
              <a:gd name="T33" fmla="*/ 18 h 1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8" h="18">
                <a:moveTo>
                  <a:pt x="0" y="2"/>
                </a:moveTo>
                <a:lnTo>
                  <a:pt x="8" y="8"/>
                </a:lnTo>
                <a:lnTo>
                  <a:pt x="18" y="14"/>
                </a:lnTo>
                <a:lnTo>
                  <a:pt x="34" y="18"/>
                </a:lnTo>
                <a:lnTo>
                  <a:pt x="38" y="12"/>
                </a:lnTo>
                <a:lnTo>
                  <a:pt x="30" y="6"/>
                </a:lnTo>
                <a:lnTo>
                  <a:pt x="22" y="2"/>
                </a:lnTo>
                <a:lnTo>
                  <a:pt x="14" y="0"/>
                </a:lnTo>
                <a:lnTo>
                  <a:pt x="8" y="0"/>
                </a:lnTo>
                <a:lnTo>
                  <a:pt x="0" y="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9" name="Freeform 39">
            <a:extLst>
              <a:ext uri="{FF2B5EF4-FFF2-40B4-BE49-F238E27FC236}">
                <a16:creationId xmlns:a16="http://schemas.microsoft.com/office/drawing/2014/main" id="{1F61B320-E439-5CB9-5017-1BD9403A442B}"/>
              </a:ext>
            </a:extLst>
          </p:cNvPr>
          <p:cNvSpPr>
            <a:spLocks/>
          </p:cNvSpPr>
          <p:nvPr/>
        </p:nvSpPr>
        <p:spPr bwMode="auto">
          <a:xfrm>
            <a:off x="1227667" y="3185584"/>
            <a:ext cx="135467" cy="95251"/>
          </a:xfrm>
          <a:custGeom>
            <a:avLst/>
            <a:gdLst>
              <a:gd name="T0" fmla="*/ 0 w 72"/>
              <a:gd name="T1" fmla="*/ 0 h 50"/>
              <a:gd name="T2" fmla="*/ 2147483647 w 72"/>
              <a:gd name="T3" fmla="*/ 2147483647 h 50"/>
              <a:gd name="T4" fmla="*/ 2147483647 w 72"/>
              <a:gd name="T5" fmla="*/ 2147483647 h 50"/>
              <a:gd name="T6" fmla="*/ 2147483647 w 72"/>
              <a:gd name="T7" fmla="*/ 2147483647 h 50"/>
              <a:gd name="T8" fmla="*/ 2147483647 w 72"/>
              <a:gd name="T9" fmla="*/ 2147483647 h 50"/>
              <a:gd name="T10" fmla="*/ 2147483647 w 72"/>
              <a:gd name="T11" fmla="*/ 2147483647 h 50"/>
              <a:gd name="T12" fmla="*/ 2147483647 w 72"/>
              <a:gd name="T13" fmla="*/ 2147483647 h 50"/>
              <a:gd name="T14" fmla="*/ 2147483647 w 72"/>
              <a:gd name="T15" fmla="*/ 2147483647 h 50"/>
              <a:gd name="T16" fmla="*/ 2147483647 w 72"/>
              <a:gd name="T17" fmla="*/ 2147483647 h 50"/>
              <a:gd name="T18" fmla="*/ 2147483647 w 72"/>
              <a:gd name="T19" fmla="*/ 2147483647 h 50"/>
              <a:gd name="T20" fmla="*/ 2147483647 w 72"/>
              <a:gd name="T21" fmla="*/ 2147483647 h 50"/>
              <a:gd name="T22" fmla="*/ 2147483647 w 72"/>
              <a:gd name="T23" fmla="*/ 2147483647 h 50"/>
              <a:gd name="T24" fmla="*/ 2147483647 w 72"/>
              <a:gd name="T25" fmla="*/ 2147483647 h 50"/>
              <a:gd name="T26" fmla="*/ 2147483647 w 72"/>
              <a:gd name="T27" fmla="*/ 2147483647 h 50"/>
              <a:gd name="T28" fmla="*/ 2147483647 w 72"/>
              <a:gd name="T29" fmla="*/ 2147483647 h 50"/>
              <a:gd name="T30" fmla="*/ 2147483647 w 72"/>
              <a:gd name="T31" fmla="*/ 2147483647 h 50"/>
              <a:gd name="T32" fmla="*/ 2147483647 w 72"/>
              <a:gd name="T33" fmla="*/ 2147483647 h 50"/>
              <a:gd name="T34" fmla="*/ 2147483647 w 72"/>
              <a:gd name="T35" fmla="*/ 2147483647 h 50"/>
              <a:gd name="T36" fmla="*/ 2147483647 w 72"/>
              <a:gd name="T37" fmla="*/ 2147483647 h 50"/>
              <a:gd name="T38" fmla="*/ 2147483647 w 72"/>
              <a:gd name="T39" fmla="*/ 2147483647 h 50"/>
              <a:gd name="T40" fmla="*/ 2147483647 w 72"/>
              <a:gd name="T41" fmla="*/ 2147483647 h 50"/>
              <a:gd name="T42" fmla="*/ 0 w 72"/>
              <a:gd name="T43" fmla="*/ 2147483647 h 50"/>
              <a:gd name="T44" fmla="*/ 0 w 72"/>
              <a:gd name="T45" fmla="*/ 0 h 5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72"/>
              <a:gd name="T70" fmla="*/ 0 h 50"/>
              <a:gd name="T71" fmla="*/ 72 w 72"/>
              <a:gd name="T72" fmla="*/ 50 h 5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72" h="50">
                <a:moveTo>
                  <a:pt x="0" y="0"/>
                </a:moveTo>
                <a:lnTo>
                  <a:pt x="12" y="2"/>
                </a:lnTo>
                <a:lnTo>
                  <a:pt x="24" y="6"/>
                </a:lnTo>
                <a:lnTo>
                  <a:pt x="32" y="10"/>
                </a:lnTo>
                <a:lnTo>
                  <a:pt x="42" y="16"/>
                </a:lnTo>
                <a:lnTo>
                  <a:pt x="50" y="26"/>
                </a:lnTo>
                <a:lnTo>
                  <a:pt x="56" y="30"/>
                </a:lnTo>
                <a:lnTo>
                  <a:pt x="66" y="36"/>
                </a:lnTo>
                <a:lnTo>
                  <a:pt x="70" y="42"/>
                </a:lnTo>
                <a:lnTo>
                  <a:pt x="72" y="46"/>
                </a:lnTo>
                <a:lnTo>
                  <a:pt x="66" y="48"/>
                </a:lnTo>
                <a:lnTo>
                  <a:pt x="56" y="50"/>
                </a:lnTo>
                <a:lnTo>
                  <a:pt x="46" y="46"/>
                </a:lnTo>
                <a:lnTo>
                  <a:pt x="46" y="38"/>
                </a:lnTo>
                <a:lnTo>
                  <a:pt x="40" y="38"/>
                </a:lnTo>
                <a:lnTo>
                  <a:pt x="34" y="32"/>
                </a:lnTo>
                <a:lnTo>
                  <a:pt x="28" y="24"/>
                </a:lnTo>
                <a:lnTo>
                  <a:pt x="22" y="24"/>
                </a:lnTo>
                <a:lnTo>
                  <a:pt x="20" y="18"/>
                </a:lnTo>
                <a:lnTo>
                  <a:pt x="14" y="18"/>
                </a:lnTo>
                <a:lnTo>
                  <a:pt x="6" y="14"/>
                </a:lnTo>
                <a:lnTo>
                  <a:pt x="0" y="10"/>
                </a:lnTo>
                <a:lnTo>
                  <a:pt x="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0" name="Freeform 40">
            <a:extLst>
              <a:ext uri="{FF2B5EF4-FFF2-40B4-BE49-F238E27FC236}">
                <a16:creationId xmlns:a16="http://schemas.microsoft.com/office/drawing/2014/main" id="{6C4E9E51-1A6C-4000-490F-B7F2F6D03DED}"/>
              </a:ext>
            </a:extLst>
          </p:cNvPr>
          <p:cNvSpPr>
            <a:spLocks/>
          </p:cNvSpPr>
          <p:nvPr/>
        </p:nvSpPr>
        <p:spPr bwMode="auto">
          <a:xfrm>
            <a:off x="-1" y="2199217"/>
            <a:ext cx="1170517" cy="812800"/>
          </a:xfrm>
          <a:custGeom>
            <a:avLst/>
            <a:gdLst>
              <a:gd name="T0" fmla="*/ 2147483647 w 594"/>
              <a:gd name="T1" fmla="*/ 2147483647 h 414"/>
              <a:gd name="T2" fmla="*/ 2147483647 w 594"/>
              <a:gd name="T3" fmla="*/ 2147483647 h 414"/>
              <a:gd name="T4" fmla="*/ 2147483647 w 594"/>
              <a:gd name="T5" fmla="*/ 2147483647 h 414"/>
              <a:gd name="T6" fmla="*/ 2147483647 w 594"/>
              <a:gd name="T7" fmla="*/ 2147483647 h 414"/>
              <a:gd name="T8" fmla="*/ 2147483647 w 594"/>
              <a:gd name="T9" fmla="*/ 2147483647 h 414"/>
              <a:gd name="T10" fmla="*/ 2147483647 w 594"/>
              <a:gd name="T11" fmla="*/ 2147483647 h 414"/>
              <a:gd name="T12" fmla="*/ 2147483647 w 594"/>
              <a:gd name="T13" fmla="*/ 2147483647 h 414"/>
              <a:gd name="T14" fmla="*/ 2147483647 w 594"/>
              <a:gd name="T15" fmla="*/ 2147483647 h 414"/>
              <a:gd name="T16" fmla="*/ 2147483647 w 594"/>
              <a:gd name="T17" fmla="*/ 2147483647 h 414"/>
              <a:gd name="T18" fmla="*/ 2147483647 w 594"/>
              <a:gd name="T19" fmla="*/ 2147483647 h 414"/>
              <a:gd name="T20" fmla="*/ 2147483647 w 594"/>
              <a:gd name="T21" fmla="*/ 2147483647 h 414"/>
              <a:gd name="T22" fmla="*/ 2147483647 w 594"/>
              <a:gd name="T23" fmla="*/ 2147483647 h 414"/>
              <a:gd name="T24" fmla="*/ 2147483647 w 594"/>
              <a:gd name="T25" fmla="*/ 2147483647 h 414"/>
              <a:gd name="T26" fmla="*/ 2147483647 w 594"/>
              <a:gd name="T27" fmla="*/ 2147483647 h 414"/>
              <a:gd name="T28" fmla="*/ 2147483647 w 594"/>
              <a:gd name="T29" fmla="*/ 2147483647 h 414"/>
              <a:gd name="T30" fmla="*/ 2147483647 w 594"/>
              <a:gd name="T31" fmla="*/ 2147483647 h 414"/>
              <a:gd name="T32" fmla="*/ 2147483647 w 594"/>
              <a:gd name="T33" fmla="*/ 2147483647 h 414"/>
              <a:gd name="T34" fmla="*/ 2147483647 w 594"/>
              <a:gd name="T35" fmla="*/ 2147483647 h 414"/>
              <a:gd name="T36" fmla="*/ 2147483647 w 594"/>
              <a:gd name="T37" fmla="*/ 2147483647 h 414"/>
              <a:gd name="T38" fmla="*/ 2147483647 w 594"/>
              <a:gd name="T39" fmla="*/ 2147483647 h 414"/>
              <a:gd name="T40" fmla="*/ 2147483647 w 594"/>
              <a:gd name="T41" fmla="*/ 2147483647 h 414"/>
              <a:gd name="T42" fmla="*/ 2147483647 w 594"/>
              <a:gd name="T43" fmla="*/ 2147483647 h 414"/>
              <a:gd name="T44" fmla="*/ 2147483647 w 594"/>
              <a:gd name="T45" fmla="*/ 2147483647 h 414"/>
              <a:gd name="T46" fmla="*/ 2147483647 w 594"/>
              <a:gd name="T47" fmla="*/ 2147483647 h 414"/>
              <a:gd name="T48" fmla="*/ 2147483647 w 594"/>
              <a:gd name="T49" fmla="*/ 2147483647 h 414"/>
              <a:gd name="T50" fmla="*/ 2147483647 w 594"/>
              <a:gd name="T51" fmla="*/ 2147483647 h 414"/>
              <a:gd name="T52" fmla="*/ 2147483647 w 594"/>
              <a:gd name="T53" fmla="*/ 2147483647 h 414"/>
              <a:gd name="T54" fmla="*/ 2147483647 w 594"/>
              <a:gd name="T55" fmla="*/ 2147483647 h 414"/>
              <a:gd name="T56" fmla="*/ 2147483647 w 594"/>
              <a:gd name="T57" fmla="*/ 2147483647 h 414"/>
              <a:gd name="T58" fmla="*/ 2147483647 w 594"/>
              <a:gd name="T59" fmla="*/ 2147483647 h 414"/>
              <a:gd name="T60" fmla="*/ 2147483647 w 594"/>
              <a:gd name="T61" fmla="*/ 2147483647 h 414"/>
              <a:gd name="T62" fmla="*/ 2147483647 w 594"/>
              <a:gd name="T63" fmla="*/ 2147483647 h 414"/>
              <a:gd name="T64" fmla="*/ 2147483647 w 594"/>
              <a:gd name="T65" fmla="*/ 2147483647 h 414"/>
              <a:gd name="T66" fmla="*/ 2147483647 w 594"/>
              <a:gd name="T67" fmla="*/ 2147483647 h 414"/>
              <a:gd name="T68" fmla="*/ 2147483647 w 594"/>
              <a:gd name="T69" fmla="*/ 2147483647 h 414"/>
              <a:gd name="T70" fmla="*/ 2147483647 w 594"/>
              <a:gd name="T71" fmla="*/ 2147483647 h 414"/>
              <a:gd name="T72" fmla="*/ 2147483647 w 594"/>
              <a:gd name="T73" fmla="*/ 2147483647 h 414"/>
              <a:gd name="T74" fmla="*/ 2147483647 w 594"/>
              <a:gd name="T75" fmla="*/ 2147483647 h 414"/>
              <a:gd name="T76" fmla="*/ 2147483647 w 594"/>
              <a:gd name="T77" fmla="*/ 2147483647 h 414"/>
              <a:gd name="T78" fmla="*/ 2147483647 w 594"/>
              <a:gd name="T79" fmla="*/ 2147483647 h 414"/>
              <a:gd name="T80" fmla="*/ 2147483647 w 594"/>
              <a:gd name="T81" fmla="*/ 2147483647 h 414"/>
              <a:gd name="T82" fmla="*/ 2147483647 w 594"/>
              <a:gd name="T83" fmla="*/ 2147483647 h 414"/>
              <a:gd name="T84" fmla="*/ 2147483647 w 594"/>
              <a:gd name="T85" fmla="*/ 2147483647 h 414"/>
              <a:gd name="T86" fmla="*/ 2147483647 w 594"/>
              <a:gd name="T87" fmla="*/ 2147483647 h 414"/>
              <a:gd name="T88" fmla="*/ 2147483647 w 594"/>
              <a:gd name="T89" fmla="*/ 2147483647 h 414"/>
              <a:gd name="T90" fmla="*/ 2147483647 w 594"/>
              <a:gd name="T91" fmla="*/ 2147483647 h 414"/>
              <a:gd name="T92" fmla="*/ 2147483647 w 594"/>
              <a:gd name="T93" fmla="*/ 2147483647 h 414"/>
              <a:gd name="T94" fmla="*/ 2147483647 w 594"/>
              <a:gd name="T95" fmla="*/ 2147483647 h 414"/>
              <a:gd name="T96" fmla="*/ 2147483647 w 594"/>
              <a:gd name="T97" fmla="*/ 2147483647 h 414"/>
              <a:gd name="T98" fmla="*/ 2147483647 w 594"/>
              <a:gd name="T99" fmla="*/ 2147483647 h 414"/>
              <a:gd name="T100" fmla="*/ 2147483647 w 594"/>
              <a:gd name="T101" fmla="*/ 2147483647 h 414"/>
              <a:gd name="T102" fmla="*/ 2147483647 w 594"/>
              <a:gd name="T103" fmla="*/ 2147483647 h 414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594"/>
              <a:gd name="T157" fmla="*/ 0 h 414"/>
              <a:gd name="T158" fmla="*/ 594 w 594"/>
              <a:gd name="T159" fmla="*/ 414 h 414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594" h="414">
                <a:moveTo>
                  <a:pt x="568" y="384"/>
                </a:moveTo>
                <a:lnTo>
                  <a:pt x="552" y="370"/>
                </a:lnTo>
                <a:lnTo>
                  <a:pt x="542" y="362"/>
                </a:lnTo>
                <a:lnTo>
                  <a:pt x="540" y="354"/>
                </a:lnTo>
                <a:lnTo>
                  <a:pt x="530" y="342"/>
                </a:lnTo>
                <a:lnTo>
                  <a:pt x="522" y="336"/>
                </a:lnTo>
                <a:lnTo>
                  <a:pt x="518" y="330"/>
                </a:lnTo>
                <a:lnTo>
                  <a:pt x="510" y="318"/>
                </a:lnTo>
                <a:lnTo>
                  <a:pt x="506" y="322"/>
                </a:lnTo>
                <a:lnTo>
                  <a:pt x="510" y="334"/>
                </a:lnTo>
                <a:lnTo>
                  <a:pt x="506" y="338"/>
                </a:lnTo>
                <a:lnTo>
                  <a:pt x="500" y="332"/>
                </a:lnTo>
                <a:lnTo>
                  <a:pt x="496" y="328"/>
                </a:lnTo>
                <a:lnTo>
                  <a:pt x="492" y="336"/>
                </a:lnTo>
                <a:lnTo>
                  <a:pt x="480" y="332"/>
                </a:lnTo>
                <a:lnTo>
                  <a:pt x="464" y="324"/>
                </a:lnTo>
                <a:lnTo>
                  <a:pt x="440" y="310"/>
                </a:lnTo>
                <a:lnTo>
                  <a:pt x="438" y="302"/>
                </a:lnTo>
                <a:lnTo>
                  <a:pt x="426" y="304"/>
                </a:lnTo>
                <a:lnTo>
                  <a:pt x="414" y="298"/>
                </a:lnTo>
                <a:lnTo>
                  <a:pt x="400" y="296"/>
                </a:lnTo>
                <a:lnTo>
                  <a:pt x="378" y="296"/>
                </a:lnTo>
                <a:lnTo>
                  <a:pt x="368" y="296"/>
                </a:lnTo>
                <a:lnTo>
                  <a:pt x="362" y="288"/>
                </a:lnTo>
                <a:lnTo>
                  <a:pt x="348" y="286"/>
                </a:lnTo>
                <a:lnTo>
                  <a:pt x="344" y="280"/>
                </a:lnTo>
                <a:lnTo>
                  <a:pt x="332" y="274"/>
                </a:lnTo>
                <a:lnTo>
                  <a:pt x="318" y="272"/>
                </a:lnTo>
                <a:lnTo>
                  <a:pt x="306" y="272"/>
                </a:lnTo>
                <a:lnTo>
                  <a:pt x="306" y="280"/>
                </a:lnTo>
                <a:lnTo>
                  <a:pt x="310" y="286"/>
                </a:lnTo>
                <a:lnTo>
                  <a:pt x="314" y="294"/>
                </a:lnTo>
                <a:lnTo>
                  <a:pt x="310" y="296"/>
                </a:lnTo>
                <a:lnTo>
                  <a:pt x="294" y="296"/>
                </a:lnTo>
                <a:lnTo>
                  <a:pt x="286" y="298"/>
                </a:lnTo>
                <a:lnTo>
                  <a:pt x="278" y="304"/>
                </a:lnTo>
                <a:lnTo>
                  <a:pt x="268" y="312"/>
                </a:lnTo>
                <a:lnTo>
                  <a:pt x="256" y="316"/>
                </a:lnTo>
                <a:lnTo>
                  <a:pt x="250" y="308"/>
                </a:lnTo>
                <a:lnTo>
                  <a:pt x="252" y="298"/>
                </a:lnTo>
                <a:lnTo>
                  <a:pt x="256" y="290"/>
                </a:lnTo>
                <a:lnTo>
                  <a:pt x="258" y="280"/>
                </a:lnTo>
                <a:lnTo>
                  <a:pt x="262" y="276"/>
                </a:lnTo>
                <a:lnTo>
                  <a:pt x="270" y="274"/>
                </a:lnTo>
                <a:lnTo>
                  <a:pt x="280" y="272"/>
                </a:lnTo>
                <a:lnTo>
                  <a:pt x="284" y="264"/>
                </a:lnTo>
                <a:lnTo>
                  <a:pt x="286" y="260"/>
                </a:lnTo>
                <a:lnTo>
                  <a:pt x="274" y="266"/>
                </a:lnTo>
                <a:lnTo>
                  <a:pt x="264" y="268"/>
                </a:lnTo>
                <a:lnTo>
                  <a:pt x="244" y="282"/>
                </a:lnTo>
                <a:lnTo>
                  <a:pt x="236" y="290"/>
                </a:lnTo>
                <a:lnTo>
                  <a:pt x="236" y="298"/>
                </a:lnTo>
                <a:lnTo>
                  <a:pt x="230" y="304"/>
                </a:lnTo>
                <a:lnTo>
                  <a:pt x="220" y="306"/>
                </a:lnTo>
                <a:lnTo>
                  <a:pt x="216" y="314"/>
                </a:lnTo>
                <a:lnTo>
                  <a:pt x="222" y="322"/>
                </a:lnTo>
                <a:lnTo>
                  <a:pt x="224" y="326"/>
                </a:lnTo>
                <a:lnTo>
                  <a:pt x="218" y="332"/>
                </a:lnTo>
                <a:lnTo>
                  <a:pt x="208" y="340"/>
                </a:lnTo>
                <a:lnTo>
                  <a:pt x="196" y="348"/>
                </a:lnTo>
                <a:lnTo>
                  <a:pt x="176" y="360"/>
                </a:lnTo>
                <a:lnTo>
                  <a:pt x="154" y="372"/>
                </a:lnTo>
                <a:lnTo>
                  <a:pt x="148" y="378"/>
                </a:lnTo>
                <a:lnTo>
                  <a:pt x="146" y="384"/>
                </a:lnTo>
                <a:lnTo>
                  <a:pt x="134" y="390"/>
                </a:lnTo>
                <a:lnTo>
                  <a:pt x="130" y="394"/>
                </a:lnTo>
                <a:lnTo>
                  <a:pt x="116" y="394"/>
                </a:lnTo>
                <a:lnTo>
                  <a:pt x="112" y="398"/>
                </a:lnTo>
                <a:lnTo>
                  <a:pt x="104" y="402"/>
                </a:lnTo>
                <a:lnTo>
                  <a:pt x="98" y="398"/>
                </a:lnTo>
                <a:lnTo>
                  <a:pt x="94" y="400"/>
                </a:lnTo>
                <a:lnTo>
                  <a:pt x="90" y="408"/>
                </a:lnTo>
                <a:lnTo>
                  <a:pt x="84" y="412"/>
                </a:lnTo>
                <a:lnTo>
                  <a:pt x="76" y="410"/>
                </a:lnTo>
                <a:lnTo>
                  <a:pt x="78" y="402"/>
                </a:lnTo>
                <a:lnTo>
                  <a:pt x="84" y="394"/>
                </a:lnTo>
                <a:lnTo>
                  <a:pt x="90" y="390"/>
                </a:lnTo>
                <a:lnTo>
                  <a:pt x="100" y="388"/>
                </a:lnTo>
                <a:lnTo>
                  <a:pt x="110" y="388"/>
                </a:lnTo>
                <a:lnTo>
                  <a:pt x="114" y="382"/>
                </a:lnTo>
                <a:lnTo>
                  <a:pt x="124" y="378"/>
                </a:lnTo>
                <a:lnTo>
                  <a:pt x="140" y="366"/>
                </a:lnTo>
                <a:lnTo>
                  <a:pt x="150" y="356"/>
                </a:lnTo>
                <a:lnTo>
                  <a:pt x="156" y="354"/>
                </a:lnTo>
                <a:lnTo>
                  <a:pt x="160" y="342"/>
                </a:lnTo>
                <a:lnTo>
                  <a:pt x="160" y="332"/>
                </a:lnTo>
                <a:lnTo>
                  <a:pt x="168" y="328"/>
                </a:lnTo>
                <a:lnTo>
                  <a:pt x="170" y="320"/>
                </a:lnTo>
                <a:lnTo>
                  <a:pt x="160" y="322"/>
                </a:lnTo>
                <a:lnTo>
                  <a:pt x="148" y="328"/>
                </a:lnTo>
                <a:lnTo>
                  <a:pt x="142" y="322"/>
                </a:lnTo>
                <a:lnTo>
                  <a:pt x="138" y="328"/>
                </a:lnTo>
                <a:lnTo>
                  <a:pt x="134" y="330"/>
                </a:lnTo>
                <a:lnTo>
                  <a:pt x="126" y="322"/>
                </a:lnTo>
                <a:lnTo>
                  <a:pt x="110" y="320"/>
                </a:lnTo>
                <a:lnTo>
                  <a:pt x="100" y="328"/>
                </a:lnTo>
                <a:lnTo>
                  <a:pt x="90" y="330"/>
                </a:lnTo>
                <a:lnTo>
                  <a:pt x="88" y="304"/>
                </a:lnTo>
                <a:lnTo>
                  <a:pt x="86" y="296"/>
                </a:lnTo>
                <a:lnTo>
                  <a:pt x="86" y="286"/>
                </a:lnTo>
                <a:lnTo>
                  <a:pt x="80" y="286"/>
                </a:lnTo>
                <a:lnTo>
                  <a:pt x="78" y="296"/>
                </a:lnTo>
                <a:lnTo>
                  <a:pt x="74" y="300"/>
                </a:lnTo>
                <a:lnTo>
                  <a:pt x="56" y="300"/>
                </a:lnTo>
                <a:lnTo>
                  <a:pt x="48" y="292"/>
                </a:lnTo>
                <a:lnTo>
                  <a:pt x="40" y="280"/>
                </a:lnTo>
                <a:lnTo>
                  <a:pt x="42" y="274"/>
                </a:lnTo>
                <a:lnTo>
                  <a:pt x="48" y="274"/>
                </a:lnTo>
                <a:lnTo>
                  <a:pt x="40" y="268"/>
                </a:lnTo>
                <a:lnTo>
                  <a:pt x="40" y="260"/>
                </a:lnTo>
                <a:lnTo>
                  <a:pt x="36" y="268"/>
                </a:lnTo>
                <a:lnTo>
                  <a:pt x="24" y="258"/>
                </a:lnTo>
                <a:lnTo>
                  <a:pt x="30" y="246"/>
                </a:lnTo>
                <a:lnTo>
                  <a:pt x="34" y="242"/>
                </a:lnTo>
                <a:lnTo>
                  <a:pt x="46" y="234"/>
                </a:lnTo>
                <a:lnTo>
                  <a:pt x="46" y="226"/>
                </a:lnTo>
                <a:lnTo>
                  <a:pt x="50" y="220"/>
                </a:lnTo>
                <a:lnTo>
                  <a:pt x="58" y="220"/>
                </a:lnTo>
                <a:lnTo>
                  <a:pt x="72" y="222"/>
                </a:lnTo>
                <a:lnTo>
                  <a:pt x="80" y="214"/>
                </a:lnTo>
                <a:lnTo>
                  <a:pt x="88" y="210"/>
                </a:lnTo>
                <a:lnTo>
                  <a:pt x="110" y="208"/>
                </a:lnTo>
                <a:lnTo>
                  <a:pt x="108" y="194"/>
                </a:lnTo>
                <a:lnTo>
                  <a:pt x="102" y="184"/>
                </a:lnTo>
                <a:lnTo>
                  <a:pt x="108" y="178"/>
                </a:lnTo>
                <a:lnTo>
                  <a:pt x="104" y="174"/>
                </a:lnTo>
                <a:lnTo>
                  <a:pt x="94" y="174"/>
                </a:lnTo>
                <a:lnTo>
                  <a:pt x="86" y="180"/>
                </a:lnTo>
                <a:lnTo>
                  <a:pt x="76" y="186"/>
                </a:lnTo>
                <a:lnTo>
                  <a:pt x="22" y="184"/>
                </a:lnTo>
                <a:lnTo>
                  <a:pt x="14" y="176"/>
                </a:lnTo>
                <a:lnTo>
                  <a:pt x="20" y="168"/>
                </a:lnTo>
                <a:lnTo>
                  <a:pt x="20" y="164"/>
                </a:lnTo>
                <a:lnTo>
                  <a:pt x="4" y="164"/>
                </a:lnTo>
                <a:lnTo>
                  <a:pt x="0" y="156"/>
                </a:lnTo>
                <a:lnTo>
                  <a:pt x="10" y="150"/>
                </a:lnTo>
                <a:lnTo>
                  <a:pt x="22" y="140"/>
                </a:lnTo>
                <a:lnTo>
                  <a:pt x="36" y="136"/>
                </a:lnTo>
                <a:lnTo>
                  <a:pt x="52" y="130"/>
                </a:lnTo>
                <a:lnTo>
                  <a:pt x="60" y="132"/>
                </a:lnTo>
                <a:lnTo>
                  <a:pt x="62" y="140"/>
                </a:lnTo>
                <a:lnTo>
                  <a:pt x="72" y="146"/>
                </a:lnTo>
                <a:lnTo>
                  <a:pt x="88" y="144"/>
                </a:lnTo>
                <a:lnTo>
                  <a:pt x="100" y="142"/>
                </a:lnTo>
                <a:lnTo>
                  <a:pt x="114" y="136"/>
                </a:lnTo>
                <a:lnTo>
                  <a:pt x="118" y="130"/>
                </a:lnTo>
                <a:lnTo>
                  <a:pt x="108" y="128"/>
                </a:lnTo>
                <a:lnTo>
                  <a:pt x="102" y="132"/>
                </a:lnTo>
                <a:lnTo>
                  <a:pt x="88" y="130"/>
                </a:lnTo>
                <a:lnTo>
                  <a:pt x="88" y="122"/>
                </a:lnTo>
                <a:lnTo>
                  <a:pt x="92" y="118"/>
                </a:lnTo>
                <a:lnTo>
                  <a:pt x="84" y="116"/>
                </a:lnTo>
                <a:lnTo>
                  <a:pt x="66" y="120"/>
                </a:lnTo>
                <a:lnTo>
                  <a:pt x="60" y="108"/>
                </a:lnTo>
                <a:lnTo>
                  <a:pt x="50" y="100"/>
                </a:lnTo>
                <a:lnTo>
                  <a:pt x="44" y="94"/>
                </a:lnTo>
                <a:lnTo>
                  <a:pt x="38" y="90"/>
                </a:lnTo>
                <a:lnTo>
                  <a:pt x="26" y="90"/>
                </a:lnTo>
                <a:lnTo>
                  <a:pt x="20" y="82"/>
                </a:lnTo>
                <a:lnTo>
                  <a:pt x="22" y="68"/>
                </a:lnTo>
                <a:lnTo>
                  <a:pt x="58" y="64"/>
                </a:lnTo>
                <a:lnTo>
                  <a:pt x="70" y="54"/>
                </a:lnTo>
                <a:lnTo>
                  <a:pt x="74" y="42"/>
                </a:lnTo>
                <a:lnTo>
                  <a:pt x="88" y="28"/>
                </a:lnTo>
                <a:lnTo>
                  <a:pt x="104" y="28"/>
                </a:lnTo>
                <a:lnTo>
                  <a:pt x="120" y="20"/>
                </a:lnTo>
                <a:lnTo>
                  <a:pt x="128" y="20"/>
                </a:lnTo>
                <a:lnTo>
                  <a:pt x="132" y="12"/>
                </a:lnTo>
                <a:lnTo>
                  <a:pt x="158" y="10"/>
                </a:lnTo>
                <a:lnTo>
                  <a:pt x="176" y="0"/>
                </a:lnTo>
                <a:lnTo>
                  <a:pt x="190" y="2"/>
                </a:lnTo>
                <a:lnTo>
                  <a:pt x="186" y="8"/>
                </a:lnTo>
                <a:lnTo>
                  <a:pt x="190" y="14"/>
                </a:lnTo>
                <a:lnTo>
                  <a:pt x="204" y="8"/>
                </a:lnTo>
                <a:lnTo>
                  <a:pt x="212" y="12"/>
                </a:lnTo>
                <a:lnTo>
                  <a:pt x="244" y="16"/>
                </a:lnTo>
                <a:lnTo>
                  <a:pt x="244" y="22"/>
                </a:lnTo>
                <a:lnTo>
                  <a:pt x="268" y="24"/>
                </a:lnTo>
                <a:lnTo>
                  <a:pt x="296" y="24"/>
                </a:lnTo>
                <a:lnTo>
                  <a:pt x="318" y="30"/>
                </a:lnTo>
                <a:lnTo>
                  <a:pt x="344" y="36"/>
                </a:lnTo>
                <a:lnTo>
                  <a:pt x="364" y="40"/>
                </a:lnTo>
                <a:lnTo>
                  <a:pt x="394" y="36"/>
                </a:lnTo>
                <a:lnTo>
                  <a:pt x="400" y="40"/>
                </a:lnTo>
                <a:lnTo>
                  <a:pt x="420" y="48"/>
                </a:lnTo>
                <a:lnTo>
                  <a:pt x="420" y="288"/>
                </a:lnTo>
                <a:lnTo>
                  <a:pt x="430" y="292"/>
                </a:lnTo>
                <a:lnTo>
                  <a:pt x="438" y="288"/>
                </a:lnTo>
                <a:lnTo>
                  <a:pt x="446" y="286"/>
                </a:lnTo>
                <a:lnTo>
                  <a:pt x="454" y="296"/>
                </a:lnTo>
                <a:lnTo>
                  <a:pt x="470" y="308"/>
                </a:lnTo>
                <a:lnTo>
                  <a:pt x="478" y="316"/>
                </a:lnTo>
                <a:lnTo>
                  <a:pt x="488" y="314"/>
                </a:lnTo>
                <a:lnTo>
                  <a:pt x="490" y="308"/>
                </a:lnTo>
                <a:lnTo>
                  <a:pt x="498" y="304"/>
                </a:lnTo>
                <a:lnTo>
                  <a:pt x="508" y="300"/>
                </a:lnTo>
                <a:lnTo>
                  <a:pt x="520" y="312"/>
                </a:lnTo>
                <a:lnTo>
                  <a:pt x="530" y="322"/>
                </a:lnTo>
                <a:lnTo>
                  <a:pt x="546" y="338"/>
                </a:lnTo>
                <a:lnTo>
                  <a:pt x="556" y="358"/>
                </a:lnTo>
                <a:lnTo>
                  <a:pt x="566" y="370"/>
                </a:lnTo>
                <a:lnTo>
                  <a:pt x="578" y="378"/>
                </a:lnTo>
                <a:lnTo>
                  <a:pt x="592" y="386"/>
                </a:lnTo>
                <a:lnTo>
                  <a:pt x="594" y="394"/>
                </a:lnTo>
                <a:lnTo>
                  <a:pt x="590" y="410"/>
                </a:lnTo>
                <a:lnTo>
                  <a:pt x="576" y="414"/>
                </a:lnTo>
                <a:lnTo>
                  <a:pt x="580" y="404"/>
                </a:lnTo>
                <a:lnTo>
                  <a:pt x="582" y="394"/>
                </a:lnTo>
                <a:lnTo>
                  <a:pt x="576" y="392"/>
                </a:lnTo>
                <a:lnTo>
                  <a:pt x="570" y="386"/>
                </a:lnTo>
                <a:lnTo>
                  <a:pt x="568" y="38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1" name="Freeform 41">
            <a:extLst>
              <a:ext uri="{FF2B5EF4-FFF2-40B4-BE49-F238E27FC236}">
                <a16:creationId xmlns:a16="http://schemas.microsoft.com/office/drawing/2014/main" id="{ADD416C6-8C8F-23AA-4042-15833FB614E5}"/>
              </a:ext>
            </a:extLst>
          </p:cNvPr>
          <p:cNvSpPr>
            <a:spLocks/>
          </p:cNvSpPr>
          <p:nvPr/>
        </p:nvSpPr>
        <p:spPr bwMode="auto">
          <a:xfrm>
            <a:off x="406399" y="2876551"/>
            <a:ext cx="78317" cy="48684"/>
          </a:xfrm>
          <a:custGeom>
            <a:avLst/>
            <a:gdLst>
              <a:gd name="T0" fmla="*/ 2147483647 w 38"/>
              <a:gd name="T1" fmla="*/ 2147483647 h 26"/>
              <a:gd name="T2" fmla="*/ 2147483647 w 38"/>
              <a:gd name="T3" fmla="*/ 2147483647 h 26"/>
              <a:gd name="T4" fmla="*/ 2147483647 w 38"/>
              <a:gd name="T5" fmla="*/ 2147483647 h 26"/>
              <a:gd name="T6" fmla="*/ 2147483647 w 38"/>
              <a:gd name="T7" fmla="*/ 2147483647 h 26"/>
              <a:gd name="T8" fmla="*/ 2147483647 w 38"/>
              <a:gd name="T9" fmla="*/ 2147483647 h 26"/>
              <a:gd name="T10" fmla="*/ 2147483647 w 38"/>
              <a:gd name="T11" fmla="*/ 2147483647 h 26"/>
              <a:gd name="T12" fmla="*/ 0 w 38"/>
              <a:gd name="T13" fmla="*/ 2147483647 h 26"/>
              <a:gd name="T14" fmla="*/ 2147483647 w 38"/>
              <a:gd name="T15" fmla="*/ 2147483647 h 26"/>
              <a:gd name="T16" fmla="*/ 2147483647 w 38"/>
              <a:gd name="T17" fmla="*/ 2147483647 h 26"/>
              <a:gd name="T18" fmla="*/ 2147483647 w 38"/>
              <a:gd name="T19" fmla="*/ 2147483647 h 26"/>
              <a:gd name="T20" fmla="*/ 2147483647 w 38"/>
              <a:gd name="T21" fmla="*/ 2147483647 h 26"/>
              <a:gd name="T22" fmla="*/ 2147483647 w 38"/>
              <a:gd name="T23" fmla="*/ 2147483647 h 26"/>
              <a:gd name="T24" fmla="*/ 2147483647 w 38"/>
              <a:gd name="T25" fmla="*/ 0 h 26"/>
              <a:gd name="T26" fmla="*/ 2147483647 w 38"/>
              <a:gd name="T27" fmla="*/ 2147483647 h 2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8"/>
              <a:gd name="T43" fmla="*/ 0 h 26"/>
              <a:gd name="T44" fmla="*/ 38 w 38"/>
              <a:gd name="T45" fmla="*/ 26 h 2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8" h="26">
                <a:moveTo>
                  <a:pt x="28" y="2"/>
                </a:moveTo>
                <a:lnTo>
                  <a:pt x="20" y="4"/>
                </a:lnTo>
                <a:lnTo>
                  <a:pt x="14" y="6"/>
                </a:lnTo>
                <a:lnTo>
                  <a:pt x="14" y="14"/>
                </a:lnTo>
                <a:lnTo>
                  <a:pt x="8" y="12"/>
                </a:lnTo>
                <a:lnTo>
                  <a:pt x="4" y="8"/>
                </a:lnTo>
                <a:lnTo>
                  <a:pt x="0" y="12"/>
                </a:lnTo>
                <a:lnTo>
                  <a:pt x="2" y="20"/>
                </a:lnTo>
                <a:lnTo>
                  <a:pt x="8" y="26"/>
                </a:lnTo>
                <a:lnTo>
                  <a:pt x="26" y="24"/>
                </a:lnTo>
                <a:lnTo>
                  <a:pt x="32" y="16"/>
                </a:lnTo>
                <a:lnTo>
                  <a:pt x="38" y="10"/>
                </a:lnTo>
                <a:lnTo>
                  <a:pt x="34" y="0"/>
                </a:lnTo>
                <a:lnTo>
                  <a:pt x="28" y="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2" name="Freeform 42">
            <a:extLst>
              <a:ext uri="{FF2B5EF4-FFF2-40B4-BE49-F238E27FC236}">
                <a16:creationId xmlns:a16="http://schemas.microsoft.com/office/drawing/2014/main" id="{3BD09FD9-A162-A9B2-E3D1-63E3D38C3993}"/>
              </a:ext>
            </a:extLst>
          </p:cNvPr>
          <p:cNvSpPr>
            <a:spLocks/>
          </p:cNvSpPr>
          <p:nvPr/>
        </p:nvSpPr>
        <p:spPr bwMode="auto">
          <a:xfrm>
            <a:off x="10585" y="2768601"/>
            <a:ext cx="57151" cy="29633"/>
          </a:xfrm>
          <a:custGeom>
            <a:avLst/>
            <a:gdLst>
              <a:gd name="T0" fmla="*/ 2147483647 w 26"/>
              <a:gd name="T1" fmla="*/ 0 h 16"/>
              <a:gd name="T2" fmla="*/ 2147483647 w 26"/>
              <a:gd name="T3" fmla="*/ 2147483647 h 16"/>
              <a:gd name="T4" fmla="*/ 2147483647 w 26"/>
              <a:gd name="T5" fmla="*/ 2147483647 h 16"/>
              <a:gd name="T6" fmla="*/ 2147483647 w 26"/>
              <a:gd name="T7" fmla="*/ 2147483647 h 16"/>
              <a:gd name="T8" fmla="*/ 2147483647 w 26"/>
              <a:gd name="T9" fmla="*/ 2147483647 h 16"/>
              <a:gd name="T10" fmla="*/ 2147483647 w 26"/>
              <a:gd name="T11" fmla="*/ 2147483647 h 16"/>
              <a:gd name="T12" fmla="*/ 2147483647 w 26"/>
              <a:gd name="T13" fmla="*/ 2147483647 h 16"/>
              <a:gd name="T14" fmla="*/ 0 w 26"/>
              <a:gd name="T15" fmla="*/ 2147483647 h 16"/>
              <a:gd name="T16" fmla="*/ 2147483647 w 26"/>
              <a:gd name="T17" fmla="*/ 0 h 16"/>
              <a:gd name="T18" fmla="*/ 2147483647 w 26"/>
              <a:gd name="T19" fmla="*/ 0 h 16"/>
              <a:gd name="T20" fmla="*/ 2147483647 w 26"/>
              <a:gd name="T21" fmla="*/ 0 h 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6"/>
              <a:gd name="T34" fmla="*/ 0 h 16"/>
              <a:gd name="T35" fmla="*/ 26 w 26"/>
              <a:gd name="T36" fmla="*/ 16 h 1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6" h="16">
                <a:moveTo>
                  <a:pt x="22" y="0"/>
                </a:moveTo>
                <a:lnTo>
                  <a:pt x="26" y="4"/>
                </a:lnTo>
                <a:lnTo>
                  <a:pt x="26" y="8"/>
                </a:lnTo>
                <a:lnTo>
                  <a:pt x="22" y="16"/>
                </a:lnTo>
                <a:lnTo>
                  <a:pt x="14" y="14"/>
                </a:lnTo>
                <a:lnTo>
                  <a:pt x="10" y="16"/>
                </a:lnTo>
                <a:lnTo>
                  <a:pt x="4" y="10"/>
                </a:lnTo>
                <a:lnTo>
                  <a:pt x="0" y="6"/>
                </a:lnTo>
                <a:lnTo>
                  <a:pt x="2" y="0"/>
                </a:lnTo>
                <a:lnTo>
                  <a:pt x="8" y="0"/>
                </a:lnTo>
                <a:lnTo>
                  <a:pt x="22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3" name="Freeform 43">
            <a:extLst>
              <a:ext uri="{FF2B5EF4-FFF2-40B4-BE49-F238E27FC236}">
                <a16:creationId xmlns:a16="http://schemas.microsoft.com/office/drawing/2014/main" id="{66FFF1D8-421B-FB1E-F8F9-B7B31071FE4B}"/>
              </a:ext>
            </a:extLst>
          </p:cNvPr>
          <p:cNvSpPr>
            <a:spLocks/>
          </p:cNvSpPr>
          <p:nvPr/>
        </p:nvSpPr>
        <p:spPr bwMode="auto">
          <a:xfrm>
            <a:off x="977901" y="2865967"/>
            <a:ext cx="38100" cy="78317"/>
          </a:xfrm>
          <a:custGeom>
            <a:avLst/>
            <a:gdLst>
              <a:gd name="T0" fmla="*/ 0 w 24"/>
              <a:gd name="T1" fmla="*/ 0 h 40"/>
              <a:gd name="T2" fmla="*/ 2147483647 w 24"/>
              <a:gd name="T3" fmla="*/ 2147483647 h 40"/>
              <a:gd name="T4" fmla="*/ 2147483647 w 24"/>
              <a:gd name="T5" fmla="*/ 2147483647 h 40"/>
              <a:gd name="T6" fmla="*/ 2147483647 w 24"/>
              <a:gd name="T7" fmla="*/ 2147483647 h 40"/>
              <a:gd name="T8" fmla="*/ 2147483647 w 24"/>
              <a:gd name="T9" fmla="*/ 2147483647 h 40"/>
              <a:gd name="T10" fmla="*/ 2147483647 w 24"/>
              <a:gd name="T11" fmla="*/ 2147483647 h 40"/>
              <a:gd name="T12" fmla="*/ 2147483647 w 24"/>
              <a:gd name="T13" fmla="*/ 2147483647 h 40"/>
              <a:gd name="T14" fmla="*/ 2147483647 w 24"/>
              <a:gd name="T15" fmla="*/ 2147483647 h 40"/>
              <a:gd name="T16" fmla="*/ 2147483647 w 24"/>
              <a:gd name="T17" fmla="*/ 2147483647 h 40"/>
              <a:gd name="T18" fmla="*/ 0 w 24"/>
              <a:gd name="T19" fmla="*/ 2147483647 h 40"/>
              <a:gd name="T20" fmla="*/ 0 w 24"/>
              <a:gd name="T21" fmla="*/ 0 h 4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4"/>
              <a:gd name="T34" fmla="*/ 0 h 40"/>
              <a:gd name="T35" fmla="*/ 24 w 24"/>
              <a:gd name="T36" fmla="*/ 40 h 4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4" h="40">
                <a:moveTo>
                  <a:pt x="0" y="0"/>
                </a:moveTo>
                <a:lnTo>
                  <a:pt x="10" y="2"/>
                </a:lnTo>
                <a:lnTo>
                  <a:pt x="16" y="6"/>
                </a:lnTo>
                <a:lnTo>
                  <a:pt x="18" y="20"/>
                </a:lnTo>
                <a:lnTo>
                  <a:pt x="24" y="30"/>
                </a:lnTo>
                <a:lnTo>
                  <a:pt x="24" y="40"/>
                </a:lnTo>
                <a:lnTo>
                  <a:pt x="16" y="32"/>
                </a:lnTo>
                <a:lnTo>
                  <a:pt x="8" y="22"/>
                </a:lnTo>
                <a:lnTo>
                  <a:pt x="4" y="16"/>
                </a:lnTo>
                <a:lnTo>
                  <a:pt x="0" y="8"/>
                </a:lnTo>
                <a:lnTo>
                  <a:pt x="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4" name="Freeform 44">
            <a:extLst>
              <a:ext uri="{FF2B5EF4-FFF2-40B4-BE49-F238E27FC236}">
                <a16:creationId xmlns:a16="http://schemas.microsoft.com/office/drawing/2014/main" id="{A05DB3D5-E538-540F-C838-5A682A57D34A}"/>
              </a:ext>
            </a:extLst>
          </p:cNvPr>
          <p:cNvSpPr>
            <a:spLocks/>
          </p:cNvSpPr>
          <p:nvPr/>
        </p:nvSpPr>
        <p:spPr bwMode="auto">
          <a:xfrm>
            <a:off x="1062567" y="2944284"/>
            <a:ext cx="38100" cy="76200"/>
          </a:xfrm>
          <a:custGeom>
            <a:avLst/>
            <a:gdLst>
              <a:gd name="T0" fmla="*/ 0 w 22"/>
              <a:gd name="T1" fmla="*/ 2147483647 h 38"/>
              <a:gd name="T2" fmla="*/ 0 w 22"/>
              <a:gd name="T3" fmla="*/ 0 h 38"/>
              <a:gd name="T4" fmla="*/ 2147483647 w 22"/>
              <a:gd name="T5" fmla="*/ 2147483647 h 38"/>
              <a:gd name="T6" fmla="*/ 2147483647 w 22"/>
              <a:gd name="T7" fmla="*/ 2147483647 h 38"/>
              <a:gd name="T8" fmla="*/ 2147483647 w 22"/>
              <a:gd name="T9" fmla="*/ 2147483647 h 38"/>
              <a:gd name="T10" fmla="*/ 2147483647 w 22"/>
              <a:gd name="T11" fmla="*/ 2147483647 h 38"/>
              <a:gd name="T12" fmla="*/ 2147483647 w 22"/>
              <a:gd name="T13" fmla="*/ 2147483647 h 38"/>
              <a:gd name="T14" fmla="*/ 2147483647 w 22"/>
              <a:gd name="T15" fmla="*/ 2147483647 h 38"/>
              <a:gd name="T16" fmla="*/ 2147483647 w 22"/>
              <a:gd name="T17" fmla="*/ 2147483647 h 38"/>
              <a:gd name="T18" fmla="*/ 2147483647 w 22"/>
              <a:gd name="T19" fmla="*/ 2147483647 h 38"/>
              <a:gd name="T20" fmla="*/ 0 w 22"/>
              <a:gd name="T21" fmla="*/ 2147483647 h 3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2"/>
              <a:gd name="T34" fmla="*/ 0 h 38"/>
              <a:gd name="T35" fmla="*/ 22 w 22"/>
              <a:gd name="T36" fmla="*/ 38 h 3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2" h="38">
                <a:moveTo>
                  <a:pt x="0" y="8"/>
                </a:moveTo>
                <a:lnTo>
                  <a:pt x="0" y="0"/>
                </a:lnTo>
                <a:lnTo>
                  <a:pt x="8" y="2"/>
                </a:lnTo>
                <a:lnTo>
                  <a:pt x="14" y="14"/>
                </a:lnTo>
                <a:lnTo>
                  <a:pt x="22" y="24"/>
                </a:lnTo>
                <a:lnTo>
                  <a:pt x="22" y="32"/>
                </a:lnTo>
                <a:lnTo>
                  <a:pt x="18" y="38"/>
                </a:lnTo>
                <a:lnTo>
                  <a:pt x="12" y="30"/>
                </a:lnTo>
                <a:lnTo>
                  <a:pt x="6" y="24"/>
                </a:lnTo>
                <a:lnTo>
                  <a:pt x="4" y="16"/>
                </a:lnTo>
                <a:lnTo>
                  <a:pt x="0" y="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5" name="Freeform 45">
            <a:extLst>
              <a:ext uri="{FF2B5EF4-FFF2-40B4-BE49-F238E27FC236}">
                <a16:creationId xmlns:a16="http://schemas.microsoft.com/office/drawing/2014/main" id="{2E83613E-F84E-4268-C410-D01F736BB14B}"/>
              </a:ext>
            </a:extLst>
          </p:cNvPr>
          <p:cNvSpPr>
            <a:spLocks/>
          </p:cNvSpPr>
          <p:nvPr/>
        </p:nvSpPr>
        <p:spPr bwMode="auto">
          <a:xfrm>
            <a:off x="1073151" y="3050118"/>
            <a:ext cx="48684" cy="67733"/>
          </a:xfrm>
          <a:custGeom>
            <a:avLst/>
            <a:gdLst>
              <a:gd name="T0" fmla="*/ 0 w 26"/>
              <a:gd name="T1" fmla="*/ 0 h 34"/>
              <a:gd name="T2" fmla="*/ 2147483647 w 26"/>
              <a:gd name="T3" fmla="*/ 2147483647 h 34"/>
              <a:gd name="T4" fmla="*/ 2147483647 w 26"/>
              <a:gd name="T5" fmla="*/ 2147483647 h 34"/>
              <a:gd name="T6" fmla="*/ 2147483647 w 26"/>
              <a:gd name="T7" fmla="*/ 2147483647 h 34"/>
              <a:gd name="T8" fmla="*/ 2147483647 w 26"/>
              <a:gd name="T9" fmla="*/ 2147483647 h 34"/>
              <a:gd name="T10" fmla="*/ 2147483647 w 26"/>
              <a:gd name="T11" fmla="*/ 2147483647 h 34"/>
              <a:gd name="T12" fmla="*/ 2147483647 w 26"/>
              <a:gd name="T13" fmla="*/ 2147483647 h 34"/>
              <a:gd name="T14" fmla="*/ 2147483647 w 26"/>
              <a:gd name="T15" fmla="*/ 2147483647 h 34"/>
              <a:gd name="T16" fmla="*/ 2147483647 w 26"/>
              <a:gd name="T17" fmla="*/ 2147483647 h 34"/>
              <a:gd name="T18" fmla="*/ 2147483647 w 26"/>
              <a:gd name="T19" fmla="*/ 2147483647 h 34"/>
              <a:gd name="T20" fmla="*/ 0 w 26"/>
              <a:gd name="T21" fmla="*/ 0 h 3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6"/>
              <a:gd name="T34" fmla="*/ 0 h 34"/>
              <a:gd name="T35" fmla="*/ 26 w 26"/>
              <a:gd name="T36" fmla="*/ 34 h 3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6" h="34">
                <a:moveTo>
                  <a:pt x="0" y="0"/>
                </a:moveTo>
                <a:lnTo>
                  <a:pt x="10" y="4"/>
                </a:lnTo>
                <a:lnTo>
                  <a:pt x="18" y="4"/>
                </a:lnTo>
                <a:lnTo>
                  <a:pt x="20" y="8"/>
                </a:lnTo>
                <a:lnTo>
                  <a:pt x="18" y="16"/>
                </a:lnTo>
                <a:lnTo>
                  <a:pt x="22" y="22"/>
                </a:lnTo>
                <a:lnTo>
                  <a:pt x="26" y="34"/>
                </a:lnTo>
                <a:lnTo>
                  <a:pt x="18" y="32"/>
                </a:lnTo>
                <a:lnTo>
                  <a:pt x="8" y="20"/>
                </a:lnTo>
                <a:lnTo>
                  <a:pt x="2" y="12"/>
                </a:lnTo>
                <a:lnTo>
                  <a:pt x="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6" name="Freeform 46">
            <a:extLst>
              <a:ext uri="{FF2B5EF4-FFF2-40B4-BE49-F238E27FC236}">
                <a16:creationId xmlns:a16="http://schemas.microsoft.com/office/drawing/2014/main" id="{7F6A081B-9DA3-DF3A-0B0C-93E58685349B}"/>
              </a:ext>
            </a:extLst>
          </p:cNvPr>
          <p:cNvSpPr>
            <a:spLocks/>
          </p:cNvSpPr>
          <p:nvPr/>
        </p:nvSpPr>
        <p:spPr bwMode="auto">
          <a:xfrm>
            <a:off x="78318" y="3001434"/>
            <a:ext cx="57151" cy="40217"/>
          </a:xfrm>
          <a:custGeom>
            <a:avLst/>
            <a:gdLst>
              <a:gd name="T0" fmla="*/ 2147483647 w 32"/>
              <a:gd name="T1" fmla="*/ 2147483647 h 20"/>
              <a:gd name="T2" fmla="*/ 2147483647 w 32"/>
              <a:gd name="T3" fmla="*/ 2147483647 h 20"/>
              <a:gd name="T4" fmla="*/ 2147483647 w 32"/>
              <a:gd name="T5" fmla="*/ 2147483647 h 20"/>
              <a:gd name="T6" fmla="*/ 2147483647 w 32"/>
              <a:gd name="T7" fmla="*/ 2147483647 h 20"/>
              <a:gd name="T8" fmla="*/ 2147483647 w 32"/>
              <a:gd name="T9" fmla="*/ 2147483647 h 20"/>
              <a:gd name="T10" fmla="*/ 0 w 32"/>
              <a:gd name="T11" fmla="*/ 2147483647 h 20"/>
              <a:gd name="T12" fmla="*/ 2147483647 w 32"/>
              <a:gd name="T13" fmla="*/ 2147483647 h 20"/>
              <a:gd name="T14" fmla="*/ 2147483647 w 32"/>
              <a:gd name="T15" fmla="*/ 2147483647 h 20"/>
              <a:gd name="T16" fmla="*/ 2147483647 w 32"/>
              <a:gd name="T17" fmla="*/ 0 h 20"/>
              <a:gd name="T18" fmla="*/ 2147483647 w 32"/>
              <a:gd name="T19" fmla="*/ 2147483647 h 2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2"/>
              <a:gd name="T31" fmla="*/ 0 h 20"/>
              <a:gd name="T32" fmla="*/ 32 w 32"/>
              <a:gd name="T33" fmla="*/ 20 h 2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2" h="20">
                <a:moveTo>
                  <a:pt x="32" y="4"/>
                </a:moveTo>
                <a:lnTo>
                  <a:pt x="28" y="10"/>
                </a:lnTo>
                <a:lnTo>
                  <a:pt x="22" y="12"/>
                </a:lnTo>
                <a:lnTo>
                  <a:pt x="12" y="14"/>
                </a:lnTo>
                <a:lnTo>
                  <a:pt x="6" y="20"/>
                </a:lnTo>
                <a:lnTo>
                  <a:pt x="0" y="18"/>
                </a:lnTo>
                <a:lnTo>
                  <a:pt x="6" y="8"/>
                </a:lnTo>
                <a:lnTo>
                  <a:pt x="14" y="4"/>
                </a:lnTo>
                <a:lnTo>
                  <a:pt x="26" y="0"/>
                </a:lnTo>
                <a:lnTo>
                  <a:pt x="32" y="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7" name="Freeform 47">
            <a:extLst>
              <a:ext uri="{FF2B5EF4-FFF2-40B4-BE49-F238E27FC236}">
                <a16:creationId xmlns:a16="http://schemas.microsoft.com/office/drawing/2014/main" id="{1AEBDD07-3131-2A31-F61D-998FDDC5E88A}"/>
              </a:ext>
            </a:extLst>
          </p:cNvPr>
          <p:cNvSpPr>
            <a:spLocks/>
          </p:cNvSpPr>
          <p:nvPr/>
        </p:nvSpPr>
        <p:spPr bwMode="auto">
          <a:xfrm>
            <a:off x="1016001" y="2865967"/>
            <a:ext cx="29633" cy="59267"/>
          </a:xfrm>
          <a:custGeom>
            <a:avLst/>
            <a:gdLst>
              <a:gd name="T0" fmla="*/ 0 w 16"/>
              <a:gd name="T1" fmla="*/ 0 h 30"/>
              <a:gd name="T2" fmla="*/ 2147483647 w 16"/>
              <a:gd name="T3" fmla="*/ 2147483647 h 30"/>
              <a:gd name="T4" fmla="*/ 2147483647 w 16"/>
              <a:gd name="T5" fmla="*/ 2147483647 h 30"/>
              <a:gd name="T6" fmla="*/ 2147483647 w 16"/>
              <a:gd name="T7" fmla="*/ 2147483647 h 30"/>
              <a:gd name="T8" fmla="*/ 2147483647 w 16"/>
              <a:gd name="T9" fmla="*/ 2147483647 h 30"/>
              <a:gd name="T10" fmla="*/ 2147483647 w 16"/>
              <a:gd name="T11" fmla="*/ 2147483647 h 30"/>
              <a:gd name="T12" fmla="*/ 2147483647 w 16"/>
              <a:gd name="T13" fmla="*/ 2147483647 h 30"/>
              <a:gd name="T14" fmla="*/ 0 w 16"/>
              <a:gd name="T15" fmla="*/ 2147483647 h 30"/>
              <a:gd name="T16" fmla="*/ 0 w 16"/>
              <a:gd name="T17" fmla="*/ 0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6"/>
              <a:gd name="T28" fmla="*/ 0 h 30"/>
              <a:gd name="T29" fmla="*/ 16 w 16"/>
              <a:gd name="T30" fmla="*/ 30 h 3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6" h="30">
                <a:moveTo>
                  <a:pt x="0" y="0"/>
                </a:moveTo>
                <a:lnTo>
                  <a:pt x="10" y="4"/>
                </a:lnTo>
                <a:lnTo>
                  <a:pt x="16" y="16"/>
                </a:lnTo>
                <a:lnTo>
                  <a:pt x="14" y="24"/>
                </a:lnTo>
                <a:lnTo>
                  <a:pt x="10" y="30"/>
                </a:lnTo>
                <a:lnTo>
                  <a:pt x="4" y="22"/>
                </a:lnTo>
                <a:lnTo>
                  <a:pt x="4" y="16"/>
                </a:lnTo>
                <a:lnTo>
                  <a:pt x="0" y="8"/>
                </a:lnTo>
                <a:lnTo>
                  <a:pt x="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8" name="Freeform 48">
            <a:extLst>
              <a:ext uri="{FF2B5EF4-FFF2-40B4-BE49-F238E27FC236}">
                <a16:creationId xmlns:a16="http://schemas.microsoft.com/office/drawing/2014/main" id="{D8C65322-B42F-A049-9EB9-30DCAF3A9211}"/>
              </a:ext>
            </a:extLst>
          </p:cNvPr>
          <p:cNvSpPr>
            <a:spLocks/>
          </p:cNvSpPr>
          <p:nvPr/>
        </p:nvSpPr>
        <p:spPr bwMode="auto">
          <a:xfrm>
            <a:off x="1100668" y="2963334"/>
            <a:ext cx="29633" cy="48684"/>
          </a:xfrm>
          <a:custGeom>
            <a:avLst/>
            <a:gdLst>
              <a:gd name="T0" fmla="*/ 0 w 14"/>
              <a:gd name="T1" fmla="*/ 0 h 20"/>
              <a:gd name="T2" fmla="*/ 2147483647 w 14"/>
              <a:gd name="T3" fmla="*/ 2147483647 h 20"/>
              <a:gd name="T4" fmla="*/ 2147483647 w 14"/>
              <a:gd name="T5" fmla="*/ 2147483647 h 20"/>
              <a:gd name="T6" fmla="*/ 2147483647 w 14"/>
              <a:gd name="T7" fmla="*/ 2147483647 h 20"/>
              <a:gd name="T8" fmla="*/ 2147483647 w 14"/>
              <a:gd name="T9" fmla="*/ 2147483647 h 20"/>
              <a:gd name="T10" fmla="*/ 0 w 14"/>
              <a:gd name="T11" fmla="*/ 2147483647 h 20"/>
              <a:gd name="T12" fmla="*/ 0 w 14"/>
              <a:gd name="T13" fmla="*/ 0 h 2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"/>
              <a:gd name="T22" fmla="*/ 0 h 20"/>
              <a:gd name="T23" fmla="*/ 14 w 14"/>
              <a:gd name="T24" fmla="*/ 20 h 2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" h="20">
                <a:moveTo>
                  <a:pt x="0" y="0"/>
                </a:moveTo>
                <a:lnTo>
                  <a:pt x="6" y="4"/>
                </a:lnTo>
                <a:lnTo>
                  <a:pt x="14" y="6"/>
                </a:lnTo>
                <a:lnTo>
                  <a:pt x="12" y="16"/>
                </a:lnTo>
                <a:lnTo>
                  <a:pt x="6" y="20"/>
                </a:lnTo>
                <a:lnTo>
                  <a:pt x="0" y="12"/>
                </a:lnTo>
                <a:lnTo>
                  <a:pt x="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9" name="Freeform 49">
            <a:extLst>
              <a:ext uri="{FF2B5EF4-FFF2-40B4-BE49-F238E27FC236}">
                <a16:creationId xmlns:a16="http://schemas.microsoft.com/office/drawing/2014/main" id="{200CC597-CB82-5F3E-830C-FAE600818FF5}"/>
              </a:ext>
            </a:extLst>
          </p:cNvPr>
          <p:cNvSpPr>
            <a:spLocks/>
          </p:cNvSpPr>
          <p:nvPr/>
        </p:nvSpPr>
        <p:spPr bwMode="auto">
          <a:xfrm>
            <a:off x="1016001" y="2865967"/>
            <a:ext cx="29633" cy="59267"/>
          </a:xfrm>
          <a:custGeom>
            <a:avLst/>
            <a:gdLst>
              <a:gd name="T0" fmla="*/ 0 w 16"/>
              <a:gd name="T1" fmla="*/ 0 h 30"/>
              <a:gd name="T2" fmla="*/ 2147483647 w 16"/>
              <a:gd name="T3" fmla="*/ 2147483647 h 30"/>
              <a:gd name="T4" fmla="*/ 2147483647 w 16"/>
              <a:gd name="T5" fmla="*/ 2147483647 h 30"/>
              <a:gd name="T6" fmla="*/ 2147483647 w 16"/>
              <a:gd name="T7" fmla="*/ 2147483647 h 30"/>
              <a:gd name="T8" fmla="*/ 2147483647 w 16"/>
              <a:gd name="T9" fmla="*/ 2147483647 h 30"/>
              <a:gd name="T10" fmla="*/ 2147483647 w 16"/>
              <a:gd name="T11" fmla="*/ 2147483647 h 30"/>
              <a:gd name="T12" fmla="*/ 2147483647 w 16"/>
              <a:gd name="T13" fmla="*/ 2147483647 h 30"/>
              <a:gd name="T14" fmla="*/ 0 w 16"/>
              <a:gd name="T15" fmla="*/ 2147483647 h 30"/>
              <a:gd name="T16" fmla="*/ 0 w 16"/>
              <a:gd name="T17" fmla="*/ 0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6"/>
              <a:gd name="T28" fmla="*/ 0 h 30"/>
              <a:gd name="T29" fmla="*/ 16 w 16"/>
              <a:gd name="T30" fmla="*/ 30 h 3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6" h="30">
                <a:moveTo>
                  <a:pt x="0" y="0"/>
                </a:moveTo>
                <a:lnTo>
                  <a:pt x="10" y="4"/>
                </a:lnTo>
                <a:lnTo>
                  <a:pt x="16" y="16"/>
                </a:lnTo>
                <a:lnTo>
                  <a:pt x="14" y="24"/>
                </a:lnTo>
                <a:lnTo>
                  <a:pt x="10" y="30"/>
                </a:lnTo>
                <a:lnTo>
                  <a:pt x="4" y="22"/>
                </a:lnTo>
                <a:lnTo>
                  <a:pt x="4" y="16"/>
                </a:lnTo>
                <a:lnTo>
                  <a:pt x="0" y="8"/>
                </a:lnTo>
                <a:lnTo>
                  <a:pt x="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70" name="Freeform 50">
            <a:extLst>
              <a:ext uri="{FF2B5EF4-FFF2-40B4-BE49-F238E27FC236}">
                <a16:creationId xmlns:a16="http://schemas.microsoft.com/office/drawing/2014/main" id="{DB6CCB67-9D09-6F6D-470A-B6B579F246F1}"/>
              </a:ext>
            </a:extLst>
          </p:cNvPr>
          <p:cNvSpPr>
            <a:spLocks/>
          </p:cNvSpPr>
          <p:nvPr/>
        </p:nvSpPr>
        <p:spPr bwMode="auto">
          <a:xfrm>
            <a:off x="1100668" y="2963334"/>
            <a:ext cx="29633" cy="48684"/>
          </a:xfrm>
          <a:custGeom>
            <a:avLst/>
            <a:gdLst>
              <a:gd name="T0" fmla="*/ 0 w 14"/>
              <a:gd name="T1" fmla="*/ 0 h 20"/>
              <a:gd name="T2" fmla="*/ 2147483647 w 14"/>
              <a:gd name="T3" fmla="*/ 2147483647 h 20"/>
              <a:gd name="T4" fmla="*/ 2147483647 w 14"/>
              <a:gd name="T5" fmla="*/ 2147483647 h 20"/>
              <a:gd name="T6" fmla="*/ 2147483647 w 14"/>
              <a:gd name="T7" fmla="*/ 2147483647 h 20"/>
              <a:gd name="T8" fmla="*/ 2147483647 w 14"/>
              <a:gd name="T9" fmla="*/ 2147483647 h 20"/>
              <a:gd name="T10" fmla="*/ 0 w 14"/>
              <a:gd name="T11" fmla="*/ 2147483647 h 20"/>
              <a:gd name="T12" fmla="*/ 0 w 14"/>
              <a:gd name="T13" fmla="*/ 0 h 2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"/>
              <a:gd name="T22" fmla="*/ 0 h 20"/>
              <a:gd name="T23" fmla="*/ 14 w 14"/>
              <a:gd name="T24" fmla="*/ 20 h 2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" h="20">
                <a:moveTo>
                  <a:pt x="0" y="0"/>
                </a:moveTo>
                <a:lnTo>
                  <a:pt x="6" y="4"/>
                </a:lnTo>
                <a:lnTo>
                  <a:pt x="14" y="6"/>
                </a:lnTo>
                <a:lnTo>
                  <a:pt x="12" y="16"/>
                </a:lnTo>
                <a:lnTo>
                  <a:pt x="6" y="20"/>
                </a:lnTo>
                <a:lnTo>
                  <a:pt x="0" y="12"/>
                </a:lnTo>
                <a:lnTo>
                  <a:pt x="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71" name="Freeform 51">
            <a:extLst>
              <a:ext uri="{FF2B5EF4-FFF2-40B4-BE49-F238E27FC236}">
                <a16:creationId xmlns:a16="http://schemas.microsoft.com/office/drawing/2014/main" id="{80E6287C-79B4-DD82-B9B9-8F4F0C12FFA3}"/>
              </a:ext>
            </a:extLst>
          </p:cNvPr>
          <p:cNvSpPr>
            <a:spLocks/>
          </p:cNvSpPr>
          <p:nvPr/>
        </p:nvSpPr>
        <p:spPr bwMode="auto">
          <a:xfrm>
            <a:off x="1045634" y="2925233"/>
            <a:ext cx="27517" cy="19051"/>
          </a:xfrm>
          <a:custGeom>
            <a:avLst/>
            <a:gdLst>
              <a:gd name="T0" fmla="*/ 2147483647 w 14"/>
              <a:gd name="T1" fmla="*/ 0 h 14"/>
              <a:gd name="T2" fmla="*/ 2147483647 w 14"/>
              <a:gd name="T3" fmla="*/ 0 h 14"/>
              <a:gd name="T4" fmla="*/ 2147483647 w 14"/>
              <a:gd name="T5" fmla="*/ 2147483647 h 14"/>
              <a:gd name="T6" fmla="*/ 2147483647 w 14"/>
              <a:gd name="T7" fmla="*/ 2147483647 h 14"/>
              <a:gd name="T8" fmla="*/ 2147483647 w 14"/>
              <a:gd name="T9" fmla="*/ 2147483647 h 14"/>
              <a:gd name="T10" fmla="*/ 0 w 14"/>
              <a:gd name="T11" fmla="*/ 2147483647 h 14"/>
              <a:gd name="T12" fmla="*/ 2147483647 w 14"/>
              <a:gd name="T13" fmla="*/ 0 h 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"/>
              <a:gd name="T22" fmla="*/ 0 h 14"/>
              <a:gd name="T23" fmla="*/ 14 w 14"/>
              <a:gd name="T24" fmla="*/ 14 h 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" h="14">
                <a:moveTo>
                  <a:pt x="4" y="0"/>
                </a:moveTo>
                <a:lnTo>
                  <a:pt x="8" y="0"/>
                </a:lnTo>
                <a:lnTo>
                  <a:pt x="14" y="6"/>
                </a:lnTo>
                <a:lnTo>
                  <a:pt x="8" y="10"/>
                </a:lnTo>
                <a:lnTo>
                  <a:pt x="2" y="14"/>
                </a:lnTo>
                <a:lnTo>
                  <a:pt x="0" y="6"/>
                </a:lnTo>
                <a:lnTo>
                  <a:pt x="4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72" name="Freeform 52">
            <a:extLst>
              <a:ext uri="{FF2B5EF4-FFF2-40B4-BE49-F238E27FC236}">
                <a16:creationId xmlns:a16="http://schemas.microsoft.com/office/drawing/2014/main" id="{F01A7030-51D8-36A4-54AF-41BB01504A7D}"/>
              </a:ext>
            </a:extLst>
          </p:cNvPr>
          <p:cNvSpPr>
            <a:spLocks/>
          </p:cNvSpPr>
          <p:nvPr/>
        </p:nvSpPr>
        <p:spPr bwMode="auto">
          <a:xfrm>
            <a:off x="1335617" y="3242734"/>
            <a:ext cx="1786467" cy="880533"/>
          </a:xfrm>
          <a:custGeom>
            <a:avLst/>
            <a:gdLst>
              <a:gd name="T0" fmla="*/ 2147483647 w 912"/>
              <a:gd name="T1" fmla="*/ 2147483647 h 448"/>
              <a:gd name="T2" fmla="*/ 2147483647 w 912"/>
              <a:gd name="T3" fmla="*/ 2147483647 h 448"/>
              <a:gd name="T4" fmla="*/ 2147483647 w 912"/>
              <a:gd name="T5" fmla="*/ 2147483647 h 448"/>
              <a:gd name="T6" fmla="*/ 2147483647 w 912"/>
              <a:gd name="T7" fmla="*/ 2147483647 h 448"/>
              <a:gd name="T8" fmla="*/ 2147483647 w 912"/>
              <a:gd name="T9" fmla="*/ 2147483647 h 448"/>
              <a:gd name="T10" fmla="*/ 2147483647 w 912"/>
              <a:gd name="T11" fmla="*/ 2147483647 h 448"/>
              <a:gd name="T12" fmla="*/ 2147483647 w 912"/>
              <a:gd name="T13" fmla="*/ 2147483647 h 448"/>
              <a:gd name="T14" fmla="*/ 2147483647 w 912"/>
              <a:gd name="T15" fmla="*/ 2147483647 h 448"/>
              <a:gd name="T16" fmla="*/ 2147483647 w 912"/>
              <a:gd name="T17" fmla="*/ 2147483647 h 448"/>
              <a:gd name="T18" fmla="*/ 2147483647 w 912"/>
              <a:gd name="T19" fmla="*/ 2147483647 h 448"/>
              <a:gd name="T20" fmla="*/ 2147483647 w 912"/>
              <a:gd name="T21" fmla="*/ 2147483647 h 448"/>
              <a:gd name="T22" fmla="*/ 2147483647 w 912"/>
              <a:gd name="T23" fmla="*/ 2147483647 h 448"/>
              <a:gd name="T24" fmla="*/ 2147483647 w 912"/>
              <a:gd name="T25" fmla="*/ 2147483647 h 448"/>
              <a:gd name="T26" fmla="*/ 2147483647 w 912"/>
              <a:gd name="T27" fmla="*/ 2147483647 h 448"/>
              <a:gd name="T28" fmla="*/ 2147483647 w 912"/>
              <a:gd name="T29" fmla="*/ 2147483647 h 448"/>
              <a:gd name="T30" fmla="*/ 2147483647 w 912"/>
              <a:gd name="T31" fmla="*/ 2147483647 h 448"/>
              <a:gd name="T32" fmla="*/ 2147483647 w 912"/>
              <a:gd name="T33" fmla="*/ 2147483647 h 448"/>
              <a:gd name="T34" fmla="*/ 2147483647 w 912"/>
              <a:gd name="T35" fmla="*/ 2147483647 h 448"/>
              <a:gd name="T36" fmla="*/ 2147483647 w 912"/>
              <a:gd name="T37" fmla="*/ 2147483647 h 448"/>
              <a:gd name="T38" fmla="*/ 2147483647 w 912"/>
              <a:gd name="T39" fmla="*/ 2147483647 h 448"/>
              <a:gd name="T40" fmla="*/ 2147483647 w 912"/>
              <a:gd name="T41" fmla="*/ 2147483647 h 448"/>
              <a:gd name="T42" fmla="*/ 2147483647 w 912"/>
              <a:gd name="T43" fmla="*/ 2147483647 h 448"/>
              <a:gd name="T44" fmla="*/ 2147483647 w 912"/>
              <a:gd name="T45" fmla="*/ 2147483647 h 448"/>
              <a:gd name="T46" fmla="*/ 2147483647 w 912"/>
              <a:gd name="T47" fmla="*/ 2147483647 h 448"/>
              <a:gd name="T48" fmla="*/ 2147483647 w 912"/>
              <a:gd name="T49" fmla="*/ 2147483647 h 448"/>
              <a:gd name="T50" fmla="*/ 2147483647 w 912"/>
              <a:gd name="T51" fmla="*/ 2147483647 h 448"/>
              <a:gd name="T52" fmla="*/ 2147483647 w 912"/>
              <a:gd name="T53" fmla="*/ 2147483647 h 448"/>
              <a:gd name="T54" fmla="*/ 2147483647 w 912"/>
              <a:gd name="T55" fmla="*/ 2147483647 h 448"/>
              <a:gd name="T56" fmla="*/ 2147483647 w 912"/>
              <a:gd name="T57" fmla="*/ 2147483647 h 448"/>
              <a:gd name="T58" fmla="*/ 2147483647 w 912"/>
              <a:gd name="T59" fmla="*/ 2147483647 h 448"/>
              <a:gd name="T60" fmla="*/ 2147483647 w 912"/>
              <a:gd name="T61" fmla="*/ 2147483647 h 448"/>
              <a:gd name="T62" fmla="*/ 2147483647 w 912"/>
              <a:gd name="T63" fmla="*/ 2147483647 h 448"/>
              <a:gd name="T64" fmla="*/ 2147483647 w 912"/>
              <a:gd name="T65" fmla="*/ 2147483647 h 448"/>
              <a:gd name="T66" fmla="*/ 2147483647 w 912"/>
              <a:gd name="T67" fmla="*/ 2147483647 h 448"/>
              <a:gd name="T68" fmla="*/ 2147483647 w 912"/>
              <a:gd name="T69" fmla="*/ 2147483647 h 448"/>
              <a:gd name="T70" fmla="*/ 2147483647 w 912"/>
              <a:gd name="T71" fmla="*/ 2147483647 h 448"/>
              <a:gd name="T72" fmla="*/ 2147483647 w 912"/>
              <a:gd name="T73" fmla="*/ 2147483647 h 448"/>
              <a:gd name="T74" fmla="*/ 2147483647 w 912"/>
              <a:gd name="T75" fmla="*/ 2147483647 h 448"/>
              <a:gd name="T76" fmla="*/ 2147483647 w 912"/>
              <a:gd name="T77" fmla="*/ 2147483647 h 448"/>
              <a:gd name="T78" fmla="*/ 2147483647 w 912"/>
              <a:gd name="T79" fmla="*/ 2147483647 h 448"/>
              <a:gd name="T80" fmla="*/ 2147483647 w 912"/>
              <a:gd name="T81" fmla="*/ 2147483647 h 448"/>
              <a:gd name="T82" fmla="*/ 2147483647 w 912"/>
              <a:gd name="T83" fmla="*/ 2147483647 h 448"/>
              <a:gd name="T84" fmla="*/ 2147483647 w 912"/>
              <a:gd name="T85" fmla="*/ 2147483647 h 448"/>
              <a:gd name="T86" fmla="*/ 2147483647 w 912"/>
              <a:gd name="T87" fmla="*/ 2147483647 h 448"/>
              <a:gd name="T88" fmla="*/ 2147483647 w 912"/>
              <a:gd name="T89" fmla="*/ 2147483647 h 448"/>
              <a:gd name="T90" fmla="*/ 2147483647 w 912"/>
              <a:gd name="T91" fmla="*/ 2147483647 h 448"/>
              <a:gd name="T92" fmla="*/ 2147483647 w 912"/>
              <a:gd name="T93" fmla="*/ 2147483647 h 448"/>
              <a:gd name="T94" fmla="*/ 2147483647 w 912"/>
              <a:gd name="T95" fmla="*/ 2147483647 h 448"/>
              <a:gd name="T96" fmla="*/ 2147483647 w 912"/>
              <a:gd name="T97" fmla="*/ 2147483647 h 448"/>
              <a:gd name="T98" fmla="*/ 2147483647 w 912"/>
              <a:gd name="T99" fmla="*/ 2147483647 h 448"/>
              <a:gd name="T100" fmla="*/ 2147483647 w 912"/>
              <a:gd name="T101" fmla="*/ 2147483647 h 448"/>
              <a:gd name="T102" fmla="*/ 2147483647 w 912"/>
              <a:gd name="T103" fmla="*/ 2147483647 h 448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912"/>
              <a:gd name="T157" fmla="*/ 0 h 448"/>
              <a:gd name="T158" fmla="*/ 912 w 912"/>
              <a:gd name="T159" fmla="*/ 448 h 448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912" h="448">
                <a:moveTo>
                  <a:pt x="4" y="38"/>
                </a:moveTo>
                <a:lnTo>
                  <a:pt x="0" y="28"/>
                </a:lnTo>
                <a:lnTo>
                  <a:pt x="8" y="24"/>
                </a:lnTo>
                <a:lnTo>
                  <a:pt x="18" y="28"/>
                </a:lnTo>
                <a:lnTo>
                  <a:pt x="24" y="30"/>
                </a:lnTo>
                <a:lnTo>
                  <a:pt x="26" y="38"/>
                </a:lnTo>
                <a:lnTo>
                  <a:pt x="28" y="44"/>
                </a:lnTo>
                <a:lnTo>
                  <a:pt x="34" y="38"/>
                </a:lnTo>
                <a:lnTo>
                  <a:pt x="36" y="28"/>
                </a:lnTo>
                <a:lnTo>
                  <a:pt x="30" y="20"/>
                </a:lnTo>
                <a:lnTo>
                  <a:pt x="30" y="8"/>
                </a:lnTo>
                <a:lnTo>
                  <a:pt x="460" y="8"/>
                </a:lnTo>
                <a:lnTo>
                  <a:pt x="462" y="0"/>
                </a:lnTo>
                <a:lnTo>
                  <a:pt x="470" y="0"/>
                </a:lnTo>
                <a:lnTo>
                  <a:pt x="472" y="8"/>
                </a:lnTo>
                <a:lnTo>
                  <a:pt x="476" y="12"/>
                </a:lnTo>
                <a:lnTo>
                  <a:pt x="488" y="16"/>
                </a:lnTo>
                <a:lnTo>
                  <a:pt x="512" y="20"/>
                </a:lnTo>
                <a:lnTo>
                  <a:pt x="526" y="24"/>
                </a:lnTo>
                <a:lnTo>
                  <a:pt x="550" y="28"/>
                </a:lnTo>
                <a:lnTo>
                  <a:pt x="548" y="32"/>
                </a:lnTo>
                <a:lnTo>
                  <a:pt x="536" y="36"/>
                </a:lnTo>
                <a:lnTo>
                  <a:pt x="528" y="40"/>
                </a:lnTo>
                <a:lnTo>
                  <a:pt x="520" y="48"/>
                </a:lnTo>
                <a:lnTo>
                  <a:pt x="516" y="52"/>
                </a:lnTo>
                <a:lnTo>
                  <a:pt x="526" y="56"/>
                </a:lnTo>
                <a:lnTo>
                  <a:pt x="540" y="56"/>
                </a:lnTo>
                <a:lnTo>
                  <a:pt x="552" y="56"/>
                </a:lnTo>
                <a:lnTo>
                  <a:pt x="558" y="52"/>
                </a:lnTo>
                <a:lnTo>
                  <a:pt x="562" y="48"/>
                </a:lnTo>
                <a:lnTo>
                  <a:pt x="570" y="42"/>
                </a:lnTo>
                <a:lnTo>
                  <a:pt x="574" y="48"/>
                </a:lnTo>
                <a:lnTo>
                  <a:pt x="584" y="54"/>
                </a:lnTo>
                <a:lnTo>
                  <a:pt x="594" y="58"/>
                </a:lnTo>
                <a:lnTo>
                  <a:pt x="604" y="56"/>
                </a:lnTo>
                <a:lnTo>
                  <a:pt x="612" y="56"/>
                </a:lnTo>
                <a:lnTo>
                  <a:pt x="622" y="54"/>
                </a:lnTo>
                <a:lnTo>
                  <a:pt x="628" y="58"/>
                </a:lnTo>
                <a:lnTo>
                  <a:pt x="636" y="64"/>
                </a:lnTo>
                <a:lnTo>
                  <a:pt x="636" y="68"/>
                </a:lnTo>
                <a:lnTo>
                  <a:pt x="628" y="64"/>
                </a:lnTo>
                <a:lnTo>
                  <a:pt x="618" y="64"/>
                </a:lnTo>
                <a:lnTo>
                  <a:pt x="610" y="70"/>
                </a:lnTo>
                <a:lnTo>
                  <a:pt x="604" y="72"/>
                </a:lnTo>
                <a:lnTo>
                  <a:pt x="600" y="68"/>
                </a:lnTo>
                <a:lnTo>
                  <a:pt x="596" y="72"/>
                </a:lnTo>
                <a:lnTo>
                  <a:pt x="588" y="80"/>
                </a:lnTo>
                <a:lnTo>
                  <a:pt x="578" y="88"/>
                </a:lnTo>
                <a:lnTo>
                  <a:pt x="580" y="96"/>
                </a:lnTo>
                <a:lnTo>
                  <a:pt x="588" y="94"/>
                </a:lnTo>
                <a:lnTo>
                  <a:pt x="592" y="86"/>
                </a:lnTo>
                <a:lnTo>
                  <a:pt x="584" y="104"/>
                </a:lnTo>
                <a:lnTo>
                  <a:pt x="580" y="128"/>
                </a:lnTo>
                <a:lnTo>
                  <a:pt x="580" y="140"/>
                </a:lnTo>
                <a:lnTo>
                  <a:pt x="584" y="154"/>
                </a:lnTo>
                <a:lnTo>
                  <a:pt x="594" y="152"/>
                </a:lnTo>
                <a:lnTo>
                  <a:pt x="604" y="144"/>
                </a:lnTo>
                <a:lnTo>
                  <a:pt x="608" y="134"/>
                </a:lnTo>
                <a:lnTo>
                  <a:pt x="608" y="122"/>
                </a:lnTo>
                <a:lnTo>
                  <a:pt x="608" y="112"/>
                </a:lnTo>
                <a:lnTo>
                  <a:pt x="608" y="100"/>
                </a:lnTo>
                <a:lnTo>
                  <a:pt x="608" y="92"/>
                </a:lnTo>
                <a:lnTo>
                  <a:pt x="610" y="88"/>
                </a:lnTo>
                <a:lnTo>
                  <a:pt x="616" y="88"/>
                </a:lnTo>
                <a:lnTo>
                  <a:pt x="620" y="84"/>
                </a:lnTo>
                <a:lnTo>
                  <a:pt x="624" y="78"/>
                </a:lnTo>
                <a:lnTo>
                  <a:pt x="632" y="76"/>
                </a:lnTo>
                <a:lnTo>
                  <a:pt x="640" y="80"/>
                </a:lnTo>
                <a:lnTo>
                  <a:pt x="650" y="82"/>
                </a:lnTo>
                <a:lnTo>
                  <a:pt x="654" y="90"/>
                </a:lnTo>
                <a:lnTo>
                  <a:pt x="652" y="100"/>
                </a:lnTo>
                <a:lnTo>
                  <a:pt x="648" y="108"/>
                </a:lnTo>
                <a:lnTo>
                  <a:pt x="644" y="112"/>
                </a:lnTo>
                <a:lnTo>
                  <a:pt x="646" y="116"/>
                </a:lnTo>
                <a:lnTo>
                  <a:pt x="652" y="112"/>
                </a:lnTo>
                <a:lnTo>
                  <a:pt x="658" y="108"/>
                </a:lnTo>
                <a:lnTo>
                  <a:pt x="664" y="110"/>
                </a:lnTo>
                <a:lnTo>
                  <a:pt x="664" y="120"/>
                </a:lnTo>
                <a:lnTo>
                  <a:pt x="662" y="126"/>
                </a:lnTo>
                <a:lnTo>
                  <a:pt x="662" y="134"/>
                </a:lnTo>
                <a:lnTo>
                  <a:pt x="656" y="140"/>
                </a:lnTo>
                <a:lnTo>
                  <a:pt x="652" y="148"/>
                </a:lnTo>
                <a:lnTo>
                  <a:pt x="660" y="154"/>
                </a:lnTo>
                <a:lnTo>
                  <a:pt x="678" y="154"/>
                </a:lnTo>
                <a:lnTo>
                  <a:pt x="690" y="148"/>
                </a:lnTo>
                <a:lnTo>
                  <a:pt x="702" y="144"/>
                </a:lnTo>
                <a:lnTo>
                  <a:pt x="714" y="138"/>
                </a:lnTo>
                <a:lnTo>
                  <a:pt x="720" y="136"/>
                </a:lnTo>
                <a:lnTo>
                  <a:pt x="722" y="130"/>
                </a:lnTo>
                <a:lnTo>
                  <a:pt x="720" y="124"/>
                </a:lnTo>
                <a:lnTo>
                  <a:pt x="722" y="120"/>
                </a:lnTo>
                <a:lnTo>
                  <a:pt x="744" y="122"/>
                </a:lnTo>
                <a:lnTo>
                  <a:pt x="756" y="120"/>
                </a:lnTo>
                <a:lnTo>
                  <a:pt x="766" y="112"/>
                </a:lnTo>
                <a:lnTo>
                  <a:pt x="766" y="100"/>
                </a:lnTo>
                <a:lnTo>
                  <a:pt x="774" y="94"/>
                </a:lnTo>
                <a:lnTo>
                  <a:pt x="782" y="88"/>
                </a:lnTo>
                <a:lnTo>
                  <a:pt x="840" y="88"/>
                </a:lnTo>
                <a:lnTo>
                  <a:pt x="852" y="82"/>
                </a:lnTo>
                <a:lnTo>
                  <a:pt x="858" y="74"/>
                </a:lnTo>
                <a:lnTo>
                  <a:pt x="862" y="58"/>
                </a:lnTo>
                <a:lnTo>
                  <a:pt x="870" y="44"/>
                </a:lnTo>
                <a:lnTo>
                  <a:pt x="878" y="36"/>
                </a:lnTo>
                <a:lnTo>
                  <a:pt x="886" y="40"/>
                </a:lnTo>
                <a:lnTo>
                  <a:pt x="900" y="44"/>
                </a:lnTo>
                <a:lnTo>
                  <a:pt x="902" y="52"/>
                </a:lnTo>
                <a:lnTo>
                  <a:pt x="900" y="68"/>
                </a:lnTo>
                <a:lnTo>
                  <a:pt x="902" y="76"/>
                </a:lnTo>
                <a:lnTo>
                  <a:pt x="908" y="82"/>
                </a:lnTo>
                <a:lnTo>
                  <a:pt x="912" y="90"/>
                </a:lnTo>
                <a:lnTo>
                  <a:pt x="908" y="96"/>
                </a:lnTo>
                <a:lnTo>
                  <a:pt x="896" y="96"/>
                </a:lnTo>
                <a:lnTo>
                  <a:pt x="884" y="98"/>
                </a:lnTo>
                <a:lnTo>
                  <a:pt x="874" y="104"/>
                </a:lnTo>
                <a:lnTo>
                  <a:pt x="864" y="110"/>
                </a:lnTo>
                <a:lnTo>
                  <a:pt x="858" y="124"/>
                </a:lnTo>
                <a:lnTo>
                  <a:pt x="850" y="134"/>
                </a:lnTo>
                <a:lnTo>
                  <a:pt x="850" y="142"/>
                </a:lnTo>
                <a:lnTo>
                  <a:pt x="854" y="146"/>
                </a:lnTo>
                <a:lnTo>
                  <a:pt x="862" y="148"/>
                </a:lnTo>
                <a:lnTo>
                  <a:pt x="854" y="154"/>
                </a:lnTo>
                <a:lnTo>
                  <a:pt x="848" y="154"/>
                </a:lnTo>
                <a:lnTo>
                  <a:pt x="838" y="158"/>
                </a:lnTo>
                <a:lnTo>
                  <a:pt x="822" y="162"/>
                </a:lnTo>
                <a:lnTo>
                  <a:pt x="804" y="166"/>
                </a:lnTo>
                <a:lnTo>
                  <a:pt x="800" y="170"/>
                </a:lnTo>
                <a:lnTo>
                  <a:pt x="802" y="182"/>
                </a:lnTo>
                <a:lnTo>
                  <a:pt x="796" y="190"/>
                </a:lnTo>
                <a:lnTo>
                  <a:pt x="790" y="200"/>
                </a:lnTo>
                <a:lnTo>
                  <a:pt x="782" y="198"/>
                </a:lnTo>
                <a:lnTo>
                  <a:pt x="786" y="210"/>
                </a:lnTo>
                <a:lnTo>
                  <a:pt x="782" y="218"/>
                </a:lnTo>
                <a:lnTo>
                  <a:pt x="774" y="228"/>
                </a:lnTo>
                <a:lnTo>
                  <a:pt x="770" y="234"/>
                </a:lnTo>
                <a:lnTo>
                  <a:pt x="770" y="220"/>
                </a:lnTo>
                <a:lnTo>
                  <a:pt x="766" y="208"/>
                </a:lnTo>
                <a:lnTo>
                  <a:pt x="768" y="198"/>
                </a:lnTo>
                <a:lnTo>
                  <a:pt x="764" y="194"/>
                </a:lnTo>
                <a:lnTo>
                  <a:pt x="762" y="202"/>
                </a:lnTo>
                <a:lnTo>
                  <a:pt x="760" y="214"/>
                </a:lnTo>
                <a:lnTo>
                  <a:pt x="754" y="212"/>
                </a:lnTo>
                <a:lnTo>
                  <a:pt x="750" y="214"/>
                </a:lnTo>
                <a:lnTo>
                  <a:pt x="758" y="222"/>
                </a:lnTo>
                <a:lnTo>
                  <a:pt x="764" y="228"/>
                </a:lnTo>
                <a:lnTo>
                  <a:pt x="762" y="234"/>
                </a:lnTo>
                <a:lnTo>
                  <a:pt x="764" y="244"/>
                </a:lnTo>
                <a:lnTo>
                  <a:pt x="770" y="246"/>
                </a:lnTo>
                <a:lnTo>
                  <a:pt x="774" y="256"/>
                </a:lnTo>
                <a:lnTo>
                  <a:pt x="770" y="264"/>
                </a:lnTo>
                <a:lnTo>
                  <a:pt x="762" y="270"/>
                </a:lnTo>
                <a:lnTo>
                  <a:pt x="762" y="278"/>
                </a:lnTo>
                <a:lnTo>
                  <a:pt x="752" y="280"/>
                </a:lnTo>
                <a:lnTo>
                  <a:pt x="738" y="292"/>
                </a:lnTo>
                <a:lnTo>
                  <a:pt x="734" y="296"/>
                </a:lnTo>
                <a:lnTo>
                  <a:pt x="724" y="298"/>
                </a:lnTo>
                <a:lnTo>
                  <a:pt x="714" y="314"/>
                </a:lnTo>
                <a:lnTo>
                  <a:pt x="702" y="318"/>
                </a:lnTo>
                <a:lnTo>
                  <a:pt x="696" y="326"/>
                </a:lnTo>
                <a:lnTo>
                  <a:pt x="686" y="338"/>
                </a:lnTo>
                <a:lnTo>
                  <a:pt x="682" y="350"/>
                </a:lnTo>
                <a:lnTo>
                  <a:pt x="686" y="364"/>
                </a:lnTo>
                <a:lnTo>
                  <a:pt x="692" y="378"/>
                </a:lnTo>
                <a:lnTo>
                  <a:pt x="696" y="392"/>
                </a:lnTo>
                <a:lnTo>
                  <a:pt x="702" y="406"/>
                </a:lnTo>
                <a:lnTo>
                  <a:pt x="704" y="424"/>
                </a:lnTo>
                <a:lnTo>
                  <a:pt x="704" y="440"/>
                </a:lnTo>
                <a:lnTo>
                  <a:pt x="702" y="448"/>
                </a:lnTo>
                <a:lnTo>
                  <a:pt x="694" y="448"/>
                </a:lnTo>
                <a:lnTo>
                  <a:pt x="686" y="440"/>
                </a:lnTo>
                <a:lnTo>
                  <a:pt x="680" y="428"/>
                </a:lnTo>
                <a:lnTo>
                  <a:pt x="672" y="422"/>
                </a:lnTo>
                <a:lnTo>
                  <a:pt x="664" y="416"/>
                </a:lnTo>
                <a:lnTo>
                  <a:pt x="662" y="404"/>
                </a:lnTo>
                <a:lnTo>
                  <a:pt x="662" y="392"/>
                </a:lnTo>
                <a:lnTo>
                  <a:pt x="664" y="382"/>
                </a:lnTo>
                <a:lnTo>
                  <a:pt x="656" y="374"/>
                </a:lnTo>
                <a:lnTo>
                  <a:pt x="650" y="366"/>
                </a:lnTo>
                <a:lnTo>
                  <a:pt x="640" y="362"/>
                </a:lnTo>
                <a:lnTo>
                  <a:pt x="634" y="364"/>
                </a:lnTo>
                <a:lnTo>
                  <a:pt x="626" y="372"/>
                </a:lnTo>
                <a:lnTo>
                  <a:pt x="618" y="362"/>
                </a:lnTo>
                <a:lnTo>
                  <a:pt x="606" y="360"/>
                </a:lnTo>
                <a:lnTo>
                  <a:pt x="592" y="358"/>
                </a:lnTo>
                <a:lnTo>
                  <a:pt x="582" y="354"/>
                </a:lnTo>
                <a:lnTo>
                  <a:pt x="566" y="354"/>
                </a:lnTo>
                <a:lnTo>
                  <a:pt x="552" y="356"/>
                </a:lnTo>
                <a:lnTo>
                  <a:pt x="542" y="358"/>
                </a:lnTo>
                <a:lnTo>
                  <a:pt x="548" y="364"/>
                </a:lnTo>
                <a:lnTo>
                  <a:pt x="554" y="368"/>
                </a:lnTo>
                <a:lnTo>
                  <a:pt x="560" y="374"/>
                </a:lnTo>
                <a:lnTo>
                  <a:pt x="552" y="376"/>
                </a:lnTo>
                <a:lnTo>
                  <a:pt x="544" y="376"/>
                </a:lnTo>
                <a:lnTo>
                  <a:pt x="534" y="378"/>
                </a:lnTo>
                <a:lnTo>
                  <a:pt x="526" y="372"/>
                </a:lnTo>
                <a:lnTo>
                  <a:pt x="516" y="368"/>
                </a:lnTo>
                <a:lnTo>
                  <a:pt x="512" y="370"/>
                </a:lnTo>
                <a:lnTo>
                  <a:pt x="508" y="372"/>
                </a:lnTo>
                <a:lnTo>
                  <a:pt x="498" y="366"/>
                </a:lnTo>
                <a:lnTo>
                  <a:pt x="488" y="366"/>
                </a:lnTo>
                <a:lnTo>
                  <a:pt x="484" y="372"/>
                </a:lnTo>
                <a:lnTo>
                  <a:pt x="476" y="374"/>
                </a:lnTo>
                <a:lnTo>
                  <a:pt x="470" y="370"/>
                </a:lnTo>
                <a:lnTo>
                  <a:pt x="466" y="378"/>
                </a:lnTo>
                <a:lnTo>
                  <a:pt x="460" y="384"/>
                </a:lnTo>
                <a:lnTo>
                  <a:pt x="454" y="388"/>
                </a:lnTo>
                <a:lnTo>
                  <a:pt x="442" y="388"/>
                </a:lnTo>
                <a:lnTo>
                  <a:pt x="438" y="394"/>
                </a:lnTo>
                <a:lnTo>
                  <a:pt x="432" y="400"/>
                </a:lnTo>
                <a:lnTo>
                  <a:pt x="428" y="408"/>
                </a:lnTo>
                <a:lnTo>
                  <a:pt x="430" y="420"/>
                </a:lnTo>
                <a:lnTo>
                  <a:pt x="434" y="432"/>
                </a:lnTo>
                <a:lnTo>
                  <a:pt x="422" y="430"/>
                </a:lnTo>
                <a:lnTo>
                  <a:pt x="406" y="424"/>
                </a:lnTo>
                <a:lnTo>
                  <a:pt x="398" y="412"/>
                </a:lnTo>
                <a:lnTo>
                  <a:pt x="390" y="400"/>
                </a:lnTo>
                <a:lnTo>
                  <a:pt x="380" y="388"/>
                </a:lnTo>
                <a:lnTo>
                  <a:pt x="374" y="374"/>
                </a:lnTo>
                <a:lnTo>
                  <a:pt x="360" y="368"/>
                </a:lnTo>
                <a:lnTo>
                  <a:pt x="352" y="364"/>
                </a:lnTo>
                <a:lnTo>
                  <a:pt x="344" y="368"/>
                </a:lnTo>
                <a:lnTo>
                  <a:pt x="342" y="378"/>
                </a:lnTo>
                <a:lnTo>
                  <a:pt x="330" y="380"/>
                </a:lnTo>
                <a:lnTo>
                  <a:pt x="314" y="370"/>
                </a:lnTo>
                <a:lnTo>
                  <a:pt x="312" y="354"/>
                </a:lnTo>
                <a:lnTo>
                  <a:pt x="302" y="346"/>
                </a:lnTo>
                <a:lnTo>
                  <a:pt x="282" y="330"/>
                </a:lnTo>
                <a:lnTo>
                  <a:pt x="262" y="334"/>
                </a:lnTo>
                <a:lnTo>
                  <a:pt x="254" y="340"/>
                </a:lnTo>
                <a:lnTo>
                  <a:pt x="208" y="340"/>
                </a:lnTo>
                <a:lnTo>
                  <a:pt x="192" y="334"/>
                </a:lnTo>
                <a:lnTo>
                  <a:pt x="166" y="322"/>
                </a:lnTo>
                <a:lnTo>
                  <a:pt x="148" y="316"/>
                </a:lnTo>
                <a:lnTo>
                  <a:pt x="116" y="318"/>
                </a:lnTo>
                <a:lnTo>
                  <a:pt x="112" y="306"/>
                </a:lnTo>
                <a:lnTo>
                  <a:pt x="104" y="298"/>
                </a:lnTo>
                <a:lnTo>
                  <a:pt x="98" y="294"/>
                </a:lnTo>
                <a:lnTo>
                  <a:pt x="84" y="290"/>
                </a:lnTo>
                <a:lnTo>
                  <a:pt x="74" y="282"/>
                </a:lnTo>
                <a:lnTo>
                  <a:pt x="60" y="286"/>
                </a:lnTo>
                <a:lnTo>
                  <a:pt x="58" y="272"/>
                </a:lnTo>
                <a:lnTo>
                  <a:pt x="48" y="258"/>
                </a:lnTo>
                <a:lnTo>
                  <a:pt x="38" y="248"/>
                </a:lnTo>
                <a:lnTo>
                  <a:pt x="42" y="242"/>
                </a:lnTo>
                <a:lnTo>
                  <a:pt x="36" y="238"/>
                </a:lnTo>
                <a:lnTo>
                  <a:pt x="32" y="228"/>
                </a:lnTo>
                <a:lnTo>
                  <a:pt x="38" y="218"/>
                </a:lnTo>
                <a:lnTo>
                  <a:pt x="26" y="218"/>
                </a:lnTo>
                <a:lnTo>
                  <a:pt x="18" y="210"/>
                </a:lnTo>
                <a:lnTo>
                  <a:pt x="10" y="198"/>
                </a:lnTo>
                <a:lnTo>
                  <a:pt x="10" y="186"/>
                </a:lnTo>
                <a:lnTo>
                  <a:pt x="2" y="178"/>
                </a:lnTo>
                <a:lnTo>
                  <a:pt x="2" y="170"/>
                </a:lnTo>
                <a:lnTo>
                  <a:pt x="6" y="148"/>
                </a:lnTo>
                <a:lnTo>
                  <a:pt x="2" y="122"/>
                </a:lnTo>
                <a:lnTo>
                  <a:pt x="6" y="112"/>
                </a:lnTo>
                <a:lnTo>
                  <a:pt x="10" y="64"/>
                </a:lnTo>
                <a:lnTo>
                  <a:pt x="16" y="64"/>
                </a:lnTo>
                <a:lnTo>
                  <a:pt x="10" y="54"/>
                </a:lnTo>
                <a:lnTo>
                  <a:pt x="6" y="48"/>
                </a:lnTo>
                <a:lnTo>
                  <a:pt x="8" y="42"/>
                </a:lnTo>
                <a:lnTo>
                  <a:pt x="4" y="38"/>
                </a:lnTo>
                <a:close/>
              </a:path>
            </a:pathLst>
          </a:custGeom>
          <a:solidFill>
            <a:srgbClr val="C0C0C0">
              <a:alpha val="50195"/>
            </a:srgbClr>
          </a:solidFill>
          <a:ln w="8001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73" name="Freeform 53">
            <a:extLst>
              <a:ext uri="{FF2B5EF4-FFF2-40B4-BE49-F238E27FC236}">
                <a16:creationId xmlns:a16="http://schemas.microsoft.com/office/drawing/2014/main" id="{9D201727-66DD-42CF-A7D5-15DD46CC0E6A}"/>
              </a:ext>
            </a:extLst>
          </p:cNvPr>
          <p:cNvSpPr>
            <a:spLocks/>
          </p:cNvSpPr>
          <p:nvPr/>
        </p:nvSpPr>
        <p:spPr bwMode="auto">
          <a:xfrm>
            <a:off x="2338918" y="4364567"/>
            <a:ext cx="116417" cy="124884"/>
          </a:xfrm>
          <a:custGeom>
            <a:avLst/>
            <a:gdLst>
              <a:gd name="T0" fmla="*/ 2147483647 w 58"/>
              <a:gd name="T1" fmla="*/ 2147483647 h 64"/>
              <a:gd name="T2" fmla="*/ 2147483647 w 58"/>
              <a:gd name="T3" fmla="*/ 2147483647 h 64"/>
              <a:gd name="T4" fmla="*/ 2147483647 w 58"/>
              <a:gd name="T5" fmla="*/ 2147483647 h 64"/>
              <a:gd name="T6" fmla="*/ 2147483647 w 58"/>
              <a:gd name="T7" fmla="*/ 2147483647 h 64"/>
              <a:gd name="T8" fmla="*/ 2147483647 w 58"/>
              <a:gd name="T9" fmla="*/ 2147483647 h 64"/>
              <a:gd name="T10" fmla="*/ 2147483647 w 58"/>
              <a:gd name="T11" fmla="*/ 2147483647 h 64"/>
              <a:gd name="T12" fmla="*/ 2147483647 w 58"/>
              <a:gd name="T13" fmla="*/ 2147483647 h 64"/>
              <a:gd name="T14" fmla="*/ 2147483647 w 58"/>
              <a:gd name="T15" fmla="*/ 0 h 64"/>
              <a:gd name="T16" fmla="*/ 2147483647 w 58"/>
              <a:gd name="T17" fmla="*/ 2147483647 h 64"/>
              <a:gd name="T18" fmla="*/ 2147483647 w 58"/>
              <a:gd name="T19" fmla="*/ 2147483647 h 64"/>
              <a:gd name="T20" fmla="*/ 2147483647 w 58"/>
              <a:gd name="T21" fmla="*/ 2147483647 h 64"/>
              <a:gd name="T22" fmla="*/ 2147483647 w 58"/>
              <a:gd name="T23" fmla="*/ 2147483647 h 64"/>
              <a:gd name="T24" fmla="*/ 2147483647 w 58"/>
              <a:gd name="T25" fmla="*/ 2147483647 h 64"/>
              <a:gd name="T26" fmla="*/ 2147483647 w 58"/>
              <a:gd name="T27" fmla="*/ 2147483647 h 64"/>
              <a:gd name="T28" fmla="*/ 2147483647 w 58"/>
              <a:gd name="T29" fmla="*/ 2147483647 h 64"/>
              <a:gd name="T30" fmla="*/ 2147483647 w 58"/>
              <a:gd name="T31" fmla="*/ 2147483647 h 64"/>
              <a:gd name="T32" fmla="*/ 2147483647 w 58"/>
              <a:gd name="T33" fmla="*/ 2147483647 h 64"/>
              <a:gd name="T34" fmla="*/ 2147483647 w 58"/>
              <a:gd name="T35" fmla="*/ 2147483647 h 64"/>
              <a:gd name="T36" fmla="*/ 0 w 58"/>
              <a:gd name="T37" fmla="*/ 2147483647 h 64"/>
              <a:gd name="T38" fmla="*/ 2147483647 w 58"/>
              <a:gd name="T39" fmla="*/ 2147483647 h 64"/>
              <a:gd name="T40" fmla="*/ 2147483647 w 58"/>
              <a:gd name="T41" fmla="*/ 2147483647 h 64"/>
              <a:gd name="T42" fmla="*/ 2147483647 w 58"/>
              <a:gd name="T43" fmla="*/ 2147483647 h 64"/>
              <a:gd name="T44" fmla="*/ 2147483647 w 58"/>
              <a:gd name="T45" fmla="*/ 2147483647 h 6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58"/>
              <a:gd name="T70" fmla="*/ 0 h 64"/>
              <a:gd name="T71" fmla="*/ 58 w 58"/>
              <a:gd name="T72" fmla="*/ 64 h 6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58" h="64">
                <a:moveTo>
                  <a:pt x="34" y="64"/>
                </a:moveTo>
                <a:lnTo>
                  <a:pt x="42" y="56"/>
                </a:lnTo>
                <a:lnTo>
                  <a:pt x="48" y="50"/>
                </a:lnTo>
                <a:lnTo>
                  <a:pt x="52" y="46"/>
                </a:lnTo>
                <a:lnTo>
                  <a:pt x="58" y="38"/>
                </a:lnTo>
                <a:lnTo>
                  <a:pt x="54" y="34"/>
                </a:lnTo>
                <a:lnTo>
                  <a:pt x="48" y="34"/>
                </a:lnTo>
                <a:lnTo>
                  <a:pt x="48" y="0"/>
                </a:lnTo>
                <a:lnTo>
                  <a:pt x="18" y="2"/>
                </a:lnTo>
                <a:lnTo>
                  <a:pt x="16" y="6"/>
                </a:lnTo>
                <a:lnTo>
                  <a:pt x="18" y="14"/>
                </a:lnTo>
                <a:lnTo>
                  <a:pt x="26" y="20"/>
                </a:lnTo>
                <a:lnTo>
                  <a:pt x="30" y="26"/>
                </a:lnTo>
                <a:lnTo>
                  <a:pt x="26" y="28"/>
                </a:lnTo>
                <a:lnTo>
                  <a:pt x="14" y="30"/>
                </a:lnTo>
                <a:lnTo>
                  <a:pt x="10" y="28"/>
                </a:lnTo>
                <a:lnTo>
                  <a:pt x="4" y="36"/>
                </a:lnTo>
                <a:lnTo>
                  <a:pt x="2" y="42"/>
                </a:lnTo>
                <a:lnTo>
                  <a:pt x="0" y="54"/>
                </a:lnTo>
                <a:lnTo>
                  <a:pt x="6" y="58"/>
                </a:lnTo>
                <a:lnTo>
                  <a:pt x="12" y="62"/>
                </a:lnTo>
                <a:lnTo>
                  <a:pt x="22" y="64"/>
                </a:lnTo>
                <a:lnTo>
                  <a:pt x="34" y="6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74" name="Freeform 54">
            <a:extLst>
              <a:ext uri="{FF2B5EF4-FFF2-40B4-BE49-F238E27FC236}">
                <a16:creationId xmlns:a16="http://schemas.microsoft.com/office/drawing/2014/main" id="{2C1262F0-E4E6-1A5A-93FB-1250FCD1AC1C}"/>
              </a:ext>
            </a:extLst>
          </p:cNvPr>
          <p:cNvSpPr>
            <a:spLocks/>
          </p:cNvSpPr>
          <p:nvPr/>
        </p:nvSpPr>
        <p:spPr bwMode="auto">
          <a:xfrm>
            <a:off x="2436284" y="4334933"/>
            <a:ext cx="19051" cy="86784"/>
          </a:xfrm>
          <a:custGeom>
            <a:avLst/>
            <a:gdLst>
              <a:gd name="T0" fmla="*/ 2147483647 w 12"/>
              <a:gd name="T1" fmla="*/ 0 h 44"/>
              <a:gd name="T2" fmla="*/ 2147483647 w 12"/>
              <a:gd name="T3" fmla="*/ 2147483647 h 44"/>
              <a:gd name="T4" fmla="*/ 2147483647 w 12"/>
              <a:gd name="T5" fmla="*/ 2147483647 h 44"/>
              <a:gd name="T6" fmla="*/ 2147483647 w 12"/>
              <a:gd name="T7" fmla="*/ 2147483647 h 44"/>
              <a:gd name="T8" fmla="*/ 2147483647 w 12"/>
              <a:gd name="T9" fmla="*/ 2147483647 h 44"/>
              <a:gd name="T10" fmla="*/ 2147483647 w 12"/>
              <a:gd name="T11" fmla="*/ 2147483647 h 44"/>
              <a:gd name="T12" fmla="*/ 0 w 12"/>
              <a:gd name="T13" fmla="*/ 2147483647 h 44"/>
              <a:gd name="T14" fmla="*/ 0 w 12"/>
              <a:gd name="T15" fmla="*/ 2147483647 h 44"/>
              <a:gd name="T16" fmla="*/ 2147483647 w 12"/>
              <a:gd name="T17" fmla="*/ 2147483647 h 44"/>
              <a:gd name="T18" fmla="*/ 2147483647 w 12"/>
              <a:gd name="T19" fmla="*/ 0 h 4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2"/>
              <a:gd name="T31" fmla="*/ 0 h 44"/>
              <a:gd name="T32" fmla="*/ 12 w 12"/>
              <a:gd name="T33" fmla="*/ 44 h 44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2" h="44">
                <a:moveTo>
                  <a:pt x="10" y="0"/>
                </a:moveTo>
                <a:lnTo>
                  <a:pt x="12" y="6"/>
                </a:lnTo>
                <a:lnTo>
                  <a:pt x="10" y="12"/>
                </a:lnTo>
                <a:lnTo>
                  <a:pt x="10" y="26"/>
                </a:lnTo>
                <a:lnTo>
                  <a:pt x="10" y="34"/>
                </a:lnTo>
                <a:lnTo>
                  <a:pt x="6" y="38"/>
                </a:lnTo>
                <a:lnTo>
                  <a:pt x="0" y="44"/>
                </a:lnTo>
                <a:lnTo>
                  <a:pt x="0" y="10"/>
                </a:lnTo>
                <a:lnTo>
                  <a:pt x="6" y="4"/>
                </a:lnTo>
                <a:lnTo>
                  <a:pt x="1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75" name="Freeform 55">
            <a:extLst>
              <a:ext uri="{FF2B5EF4-FFF2-40B4-BE49-F238E27FC236}">
                <a16:creationId xmlns:a16="http://schemas.microsoft.com/office/drawing/2014/main" id="{070010F0-4509-FF8F-D261-1A11278E01B3}"/>
              </a:ext>
            </a:extLst>
          </p:cNvPr>
          <p:cNvSpPr>
            <a:spLocks/>
          </p:cNvSpPr>
          <p:nvPr/>
        </p:nvSpPr>
        <p:spPr bwMode="auto">
          <a:xfrm>
            <a:off x="2417234" y="4508501"/>
            <a:ext cx="57151" cy="48684"/>
          </a:xfrm>
          <a:custGeom>
            <a:avLst/>
            <a:gdLst>
              <a:gd name="T0" fmla="*/ 0 w 34"/>
              <a:gd name="T1" fmla="*/ 2147483647 h 22"/>
              <a:gd name="T2" fmla="*/ 2147483647 w 34"/>
              <a:gd name="T3" fmla="*/ 0 h 22"/>
              <a:gd name="T4" fmla="*/ 2147483647 w 34"/>
              <a:gd name="T5" fmla="*/ 2147483647 h 22"/>
              <a:gd name="T6" fmla="*/ 2147483647 w 34"/>
              <a:gd name="T7" fmla="*/ 2147483647 h 22"/>
              <a:gd name="T8" fmla="*/ 2147483647 w 34"/>
              <a:gd name="T9" fmla="*/ 2147483647 h 22"/>
              <a:gd name="T10" fmla="*/ 2147483647 w 34"/>
              <a:gd name="T11" fmla="*/ 2147483647 h 22"/>
              <a:gd name="T12" fmla="*/ 2147483647 w 34"/>
              <a:gd name="T13" fmla="*/ 2147483647 h 22"/>
              <a:gd name="T14" fmla="*/ 2147483647 w 34"/>
              <a:gd name="T15" fmla="*/ 2147483647 h 22"/>
              <a:gd name="T16" fmla="*/ 2147483647 w 34"/>
              <a:gd name="T17" fmla="*/ 2147483647 h 22"/>
              <a:gd name="T18" fmla="*/ 2147483647 w 34"/>
              <a:gd name="T19" fmla="*/ 2147483647 h 22"/>
              <a:gd name="T20" fmla="*/ 0 w 34"/>
              <a:gd name="T21" fmla="*/ 2147483647 h 2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4"/>
              <a:gd name="T34" fmla="*/ 0 h 22"/>
              <a:gd name="T35" fmla="*/ 34 w 34"/>
              <a:gd name="T36" fmla="*/ 22 h 2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4" h="22">
                <a:moveTo>
                  <a:pt x="0" y="10"/>
                </a:moveTo>
                <a:lnTo>
                  <a:pt x="12" y="0"/>
                </a:lnTo>
                <a:lnTo>
                  <a:pt x="18" y="4"/>
                </a:lnTo>
                <a:lnTo>
                  <a:pt x="24" y="8"/>
                </a:lnTo>
                <a:lnTo>
                  <a:pt x="32" y="10"/>
                </a:lnTo>
                <a:lnTo>
                  <a:pt x="34" y="14"/>
                </a:lnTo>
                <a:lnTo>
                  <a:pt x="30" y="20"/>
                </a:lnTo>
                <a:lnTo>
                  <a:pt x="26" y="22"/>
                </a:lnTo>
                <a:lnTo>
                  <a:pt x="16" y="18"/>
                </a:lnTo>
                <a:lnTo>
                  <a:pt x="8" y="14"/>
                </a:lnTo>
                <a:lnTo>
                  <a:pt x="0" y="1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76" name="Freeform 56">
            <a:extLst>
              <a:ext uri="{FF2B5EF4-FFF2-40B4-BE49-F238E27FC236}">
                <a16:creationId xmlns:a16="http://schemas.microsoft.com/office/drawing/2014/main" id="{F334CBE8-0ACB-2D2D-3765-1AB4F27473E1}"/>
              </a:ext>
            </a:extLst>
          </p:cNvPr>
          <p:cNvSpPr>
            <a:spLocks/>
          </p:cNvSpPr>
          <p:nvPr/>
        </p:nvSpPr>
        <p:spPr bwMode="auto">
          <a:xfrm>
            <a:off x="2425699" y="4468285"/>
            <a:ext cx="205317" cy="97367"/>
          </a:xfrm>
          <a:custGeom>
            <a:avLst/>
            <a:gdLst>
              <a:gd name="T0" fmla="*/ 2147483647 w 96"/>
              <a:gd name="T1" fmla="*/ 2147483647 h 48"/>
              <a:gd name="T2" fmla="*/ 2147483647 w 96"/>
              <a:gd name="T3" fmla="*/ 2147483647 h 48"/>
              <a:gd name="T4" fmla="*/ 2147483647 w 96"/>
              <a:gd name="T5" fmla="*/ 2147483647 h 48"/>
              <a:gd name="T6" fmla="*/ 2147483647 w 96"/>
              <a:gd name="T7" fmla="*/ 2147483647 h 48"/>
              <a:gd name="T8" fmla="*/ 2147483647 w 96"/>
              <a:gd name="T9" fmla="*/ 2147483647 h 48"/>
              <a:gd name="T10" fmla="*/ 2147483647 w 96"/>
              <a:gd name="T11" fmla="*/ 0 h 48"/>
              <a:gd name="T12" fmla="*/ 2147483647 w 96"/>
              <a:gd name="T13" fmla="*/ 0 h 48"/>
              <a:gd name="T14" fmla="*/ 2147483647 w 96"/>
              <a:gd name="T15" fmla="*/ 0 h 48"/>
              <a:gd name="T16" fmla="*/ 2147483647 w 96"/>
              <a:gd name="T17" fmla="*/ 2147483647 h 48"/>
              <a:gd name="T18" fmla="*/ 2147483647 w 96"/>
              <a:gd name="T19" fmla="*/ 2147483647 h 48"/>
              <a:gd name="T20" fmla="*/ 2147483647 w 96"/>
              <a:gd name="T21" fmla="*/ 2147483647 h 48"/>
              <a:gd name="T22" fmla="*/ 2147483647 w 96"/>
              <a:gd name="T23" fmla="*/ 2147483647 h 48"/>
              <a:gd name="T24" fmla="*/ 2147483647 w 96"/>
              <a:gd name="T25" fmla="*/ 2147483647 h 48"/>
              <a:gd name="T26" fmla="*/ 2147483647 w 96"/>
              <a:gd name="T27" fmla="*/ 2147483647 h 48"/>
              <a:gd name="T28" fmla="*/ 2147483647 w 96"/>
              <a:gd name="T29" fmla="*/ 2147483647 h 48"/>
              <a:gd name="T30" fmla="*/ 2147483647 w 96"/>
              <a:gd name="T31" fmla="*/ 2147483647 h 48"/>
              <a:gd name="T32" fmla="*/ 2147483647 w 96"/>
              <a:gd name="T33" fmla="*/ 2147483647 h 48"/>
              <a:gd name="T34" fmla="*/ 2147483647 w 96"/>
              <a:gd name="T35" fmla="*/ 2147483647 h 48"/>
              <a:gd name="T36" fmla="*/ 2147483647 w 96"/>
              <a:gd name="T37" fmla="*/ 2147483647 h 48"/>
              <a:gd name="T38" fmla="*/ 2147483647 w 96"/>
              <a:gd name="T39" fmla="*/ 2147483647 h 48"/>
              <a:gd name="T40" fmla="*/ 2147483647 w 96"/>
              <a:gd name="T41" fmla="*/ 2147483647 h 48"/>
              <a:gd name="T42" fmla="*/ 2147483647 w 96"/>
              <a:gd name="T43" fmla="*/ 2147483647 h 48"/>
              <a:gd name="T44" fmla="*/ 2147483647 w 96"/>
              <a:gd name="T45" fmla="*/ 2147483647 h 48"/>
              <a:gd name="T46" fmla="*/ 2147483647 w 96"/>
              <a:gd name="T47" fmla="*/ 2147483647 h 48"/>
              <a:gd name="T48" fmla="*/ 2147483647 w 96"/>
              <a:gd name="T49" fmla="*/ 2147483647 h 48"/>
              <a:gd name="T50" fmla="*/ 2147483647 w 96"/>
              <a:gd name="T51" fmla="*/ 2147483647 h 48"/>
              <a:gd name="T52" fmla="*/ 0 w 96"/>
              <a:gd name="T53" fmla="*/ 2147483647 h 48"/>
              <a:gd name="T54" fmla="*/ 2147483647 w 96"/>
              <a:gd name="T55" fmla="*/ 2147483647 h 48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96"/>
              <a:gd name="T85" fmla="*/ 0 h 48"/>
              <a:gd name="T86" fmla="*/ 96 w 96"/>
              <a:gd name="T87" fmla="*/ 48 h 48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96" h="48">
                <a:moveTo>
                  <a:pt x="12" y="6"/>
                </a:moveTo>
                <a:lnTo>
                  <a:pt x="26" y="2"/>
                </a:lnTo>
                <a:lnTo>
                  <a:pt x="34" y="2"/>
                </a:lnTo>
                <a:lnTo>
                  <a:pt x="42" y="4"/>
                </a:lnTo>
                <a:lnTo>
                  <a:pt x="52" y="2"/>
                </a:lnTo>
                <a:lnTo>
                  <a:pt x="64" y="0"/>
                </a:lnTo>
                <a:lnTo>
                  <a:pt x="74" y="0"/>
                </a:lnTo>
                <a:lnTo>
                  <a:pt x="80" y="0"/>
                </a:lnTo>
                <a:lnTo>
                  <a:pt x="84" y="4"/>
                </a:lnTo>
                <a:lnTo>
                  <a:pt x="96" y="12"/>
                </a:lnTo>
                <a:lnTo>
                  <a:pt x="94" y="16"/>
                </a:lnTo>
                <a:lnTo>
                  <a:pt x="88" y="18"/>
                </a:lnTo>
                <a:lnTo>
                  <a:pt x="80" y="18"/>
                </a:lnTo>
                <a:lnTo>
                  <a:pt x="70" y="18"/>
                </a:lnTo>
                <a:lnTo>
                  <a:pt x="64" y="22"/>
                </a:lnTo>
                <a:lnTo>
                  <a:pt x="56" y="30"/>
                </a:lnTo>
                <a:lnTo>
                  <a:pt x="48" y="32"/>
                </a:lnTo>
                <a:lnTo>
                  <a:pt x="42" y="34"/>
                </a:lnTo>
                <a:lnTo>
                  <a:pt x="40" y="42"/>
                </a:lnTo>
                <a:lnTo>
                  <a:pt x="36" y="46"/>
                </a:lnTo>
                <a:lnTo>
                  <a:pt x="30" y="48"/>
                </a:lnTo>
                <a:lnTo>
                  <a:pt x="30" y="42"/>
                </a:lnTo>
                <a:lnTo>
                  <a:pt x="28" y="36"/>
                </a:lnTo>
                <a:lnTo>
                  <a:pt x="22" y="36"/>
                </a:lnTo>
                <a:lnTo>
                  <a:pt x="20" y="32"/>
                </a:lnTo>
                <a:lnTo>
                  <a:pt x="6" y="26"/>
                </a:lnTo>
                <a:lnTo>
                  <a:pt x="0" y="22"/>
                </a:lnTo>
                <a:lnTo>
                  <a:pt x="12" y="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77" name="Freeform 57">
            <a:extLst>
              <a:ext uri="{FF2B5EF4-FFF2-40B4-BE49-F238E27FC236}">
                <a16:creationId xmlns:a16="http://schemas.microsoft.com/office/drawing/2014/main" id="{85D7123A-26AE-4077-DE9B-BDB631ED8D2F}"/>
              </a:ext>
            </a:extLst>
          </p:cNvPr>
          <p:cNvSpPr>
            <a:spLocks/>
          </p:cNvSpPr>
          <p:nvPr/>
        </p:nvSpPr>
        <p:spPr bwMode="auto">
          <a:xfrm>
            <a:off x="2495551" y="4497917"/>
            <a:ext cx="124884" cy="135467"/>
          </a:xfrm>
          <a:custGeom>
            <a:avLst/>
            <a:gdLst>
              <a:gd name="T0" fmla="*/ 2147483647 w 64"/>
              <a:gd name="T1" fmla="*/ 2147483647 h 66"/>
              <a:gd name="T2" fmla="*/ 2147483647 w 64"/>
              <a:gd name="T3" fmla="*/ 2147483647 h 66"/>
              <a:gd name="T4" fmla="*/ 2147483647 w 64"/>
              <a:gd name="T5" fmla="*/ 2147483647 h 66"/>
              <a:gd name="T6" fmla="*/ 2147483647 w 64"/>
              <a:gd name="T7" fmla="*/ 2147483647 h 66"/>
              <a:gd name="T8" fmla="*/ 2147483647 w 64"/>
              <a:gd name="T9" fmla="*/ 2147483647 h 66"/>
              <a:gd name="T10" fmla="*/ 0 w 64"/>
              <a:gd name="T11" fmla="*/ 2147483647 h 66"/>
              <a:gd name="T12" fmla="*/ 2147483647 w 64"/>
              <a:gd name="T13" fmla="*/ 2147483647 h 66"/>
              <a:gd name="T14" fmla="*/ 2147483647 w 64"/>
              <a:gd name="T15" fmla="*/ 2147483647 h 66"/>
              <a:gd name="T16" fmla="*/ 2147483647 w 64"/>
              <a:gd name="T17" fmla="*/ 2147483647 h 66"/>
              <a:gd name="T18" fmla="*/ 2147483647 w 64"/>
              <a:gd name="T19" fmla="*/ 2147483647 h 66"/>
              <a:gd name="T20" fmla="*/ 2147483647 w 64"/>
              <a:gd name="T21" fmla="*/ 2147483647 h 66"/>
              <a:gd name="T22" fmla="*/ 2147483647 w 64"/>
              <a:gd name="T23" fmla="*/ 2147483647 h 66"/>
              <a:gd name="T24" fmla="*/ 2147483647 w 64"/>
              <a:gd name="T25" fmla="*/ 2147483647 h 66"/>
              <a:gd name="T26" fmla="*/ 2147483647 w 64"/>
              <a:gd name="T27" fmla="*/ 0 h 66"/>
              <a:gd name="T28" fmla="*/ 2147483647 w 64"/>
              <a:gd name="T29" fmla="*/ 2147483647 h 66"/>
              <a:gd name="T30" fmla="*/ 2147483647 w 64"/>
              <a:gd name="T31" fmla="*/ 2147483647 h 66"/>
              <a:gd name="T32" fmla="*/ 2147483647 w 64"/>
              <a:gd name="T33" fmla="*/ 2147483647 h 66"/>
              <a:gd name="T34" fmla="*/ 2147483647 w 64"/>
              <a:gd name="T35" fmla="*/ 2147483647 h 66"/>
              <a:gd name="T36" fmla="*/ 2147483647 w 64"/>
              <a:gd name="T37" fmla="*/ 2147483647 h 66"/>
              <a:gd name="T38" fmla="*/ 2147483647 w 64"/>
              <a:gd name="T39" fmla="*/ 2147483647 h 6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64"/>
              <a:gd name="T61" fmla="*/ 0 h 66"/>
              <a:gd name="T62" fmla="*/ 64 w 64"/>
              <a:gd name="T63" fmla="*/ 66 h 6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64" h="66">
                <a:moveTo>
                  <a:pt x="54" y="66"/>
                </a:moveTo>
                <a:lnTo>
                  <a:pt x="44" y="62"/>
                </a:lnTo>
                <a:lnTo>
                  <a:pt x="26" y="60"/>
                </a:lnTo>
                <a:lnTo>
                  <a:pt x="14" y="50"/>
                </a:lnTo>
                <a:lnTo>
                  <a:pt x="6" y="42"/>
                </a:lnTo>
                <a:lnTo>
                  <a:pt x="0" y="32"/>
                </a:lnTo>
                <a:lnTo>
                  <a:pt x="10" y="26"/>
                </a:lnTo>
                <a:lnTo>
                  <a:pt x="12" y="18"/>
                </a:lnTo>
                <a:lnTo>
                  <a:pt x="26" y="14"/>
                </a:lnTo>
                <a:lnTo>
                  <a:pt x="34" y="6"/>
                </a:lnTo>
                <a:lnTo>
                  <a:pt x="40" y="2"/>
                </a:lnTo>
                <a:lnTo>
                  <a:pt x="50" y="2"/>
                </a:lnTo>
                <a:lnTo>
                  <a:pt x="58" y="2"/>
                </a:lnTo>
                <a:lnTo>
                  <a:pt x="64" y="0"/>
                </a:lnTo>
                <a:lnTo>
                  <a:pt x="64" y="6"/>
                </a:lnTo>
                <a:lnTo>
                  <a:pt x="62" y="18"/>
                </a:lnTo>
                <a:lnTo>
                  <a:pt x="58" y="30"/>
                </a:lnTo>
                <a:lnTo>
                  <a:pt x="56" y="42"/>
                </a:lnTo>
                <a:lnTo>
                  <a:pt x="56" y="52"/>
                </a:lnTo>
                <a:lnTo>
                  <a:pt x="54" y="6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78" name="Freeform 58">
            <a:extLst>
              <a:ext uri="{FF2B5EF4-FFF2-40B4-BE49-F238E27FC236}">
                <a16:creationId xmlns:a16="http://schemas.microsoft.com/office/drawing/2014/main" id="{3EB866EC-A658-0B52-F9DB-C98E7AAA8BB5}"/>
              </a:ext>
            </a:extLst>
          </p:cNvPr>
          <p:cNvSpPr>
            <a:spLocks/>
          </p:cNvSpPr>
          <p:nvPr/>
        </p:nvSpPr>
        <p:spPr bwMode="auto">
          <a:xfrm>
            <a:off x="2542118" y="4624917"/>
            <a:ext cx="97367" cy="76200"/>
          </a:xfrm>
          <a:custGeom>
            <a:avLst/>
            <a:gdLst>
              <a:gd name="T0" fmla="*/ 2147483647 w 50"/>
              <a:gd name="T1" fmla="*/ 2147483647 h 44"/>
              <a:gd name="T2" fmla="*/ 2147483647 w 50"/>
              <a:gd name="T3" fmla="*/ 2147483647 h 44"/>
              <a:gd name="T4" fmla="*/ 2147483647 w 50"/>
              <a:gd name="T5" fmla="*/ 2147483647 h 44"/>
              <a:gd name="T6" fmla="*/ 2147483647 w 50"/>
              <a:gd name="T7" fmla="*/ 2147483647 h 44"/>
              <a:gd name="T8" fmla="*/ 2147483647 w 50"/>
              <a:gd name="T9" fmla="*/ 2147483647 h 44"/>
              <a:gd name="T10" fmla="*/ 0 w 50"/>
              <a:gd name="T11" fmla="*/ 2147483647 h 44"/>
              <a:gd name="T12" fmla="*/ 0 w 50"/>
              <a:gd name="T13" fmla="*/ 2147483647 h 44"/>
              <a:gd name="T14" fmla="*/ 2147483647 w 50"/>
              <a:gd name="T15" fmla="*/ 2147483647 h 44"/>
              <a:gd name="T16" fmla="*/ 2147483647 w 50"/>
              <a:gd name="T17" fmla="*/ 0 h 44"/>
              <a:gd name="T18" fmla="*/ 2147483647 w 50"/>
              <a:gd name="T19" fmla="*/ 2147483647 h 44"/>
              <a:gd name="T20" fmla="*/ 2147483647 w 50"/>
              <a:gd name="T21" fmla="*/ 2147483647 h 44"/>
              <a:gd name="T22" fmla="*/ 2147483647 w 50"/>
              <a:gd name="T23" fmla="*/ 2147483647 h 44"/>
              <a:gd name="T24" fmla="*/ 2147483647 w 50"/>
              <a:gd name="T25" fmla="*/ 2147483647 h 44"/>
              <a:gd name="T26" fmla="*/ 2147483647 w 50"/>
              <a:gd name="T27" fmla="*/ 2147483647 h 44"/>
              <a:gd name="T28" fmla="*/ 2147483647 w 50"/>
              <a:gd name="T29" fmla="*/ 2147483647 h 44"/>
              <a:gd name="T30" fmla="*/ 2147483647 w 50"/>
              <a:gd name="T31" fmla="*/ 2147483647 h 44"/>
              <a:gd name="T32" fmla="*/ 2147483647 w 50"/>
              <a:gd name="T33" fmla="*/ 2147483647 h 44"/>
              <a:gd name="T34" fmla="*/ 2147483647 w 50"/>
              <a:gd name="T35" fmla="*/ 2147483647 h 44"/>
              <a:gd name="T36" fmla="*/ 2147483647 w 50"/>
              <a:gd name="T37" fmla="*/ 2147483647 h 44"/>
              <a:gd name="T38" fmla="*/ 2147483647 w 50"/>
              <a:gd name="T39" fmla="*/ 2147483647 h 44"/>
              <a:gd name="T40" fmla="*/ 2147483647 w 50"/>
              <a:gd name="T41" fmla="*/ 2147483647 h 44"/>
              <a:gd name="T42" fmla="*/ 2147483647 w 50"/>
              <a:gd name="T43" fmla="*/ 2147483647 h 44"/>
              <a:gd name="T44" fmla="*/ 2147483647 w 50"/>
              <a:gd name="T45" fmla="*/ 2147483647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50"/>
              <a:gd name="T70" fmla="*/ 0 h 44"/>
              <a:gd name="T71" fmla="*/ 50 w 50"/>
              <a:gd name="T72" fmla="*/ 44 h 4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50" h="44">
                <a:moveTo>
                  <a:pt x="18" y="20"/>
                </a:moveTo>
                <a:lnTo>
                  <a:pt x="12" y="16"/>
                </a:lnTo>
                <a:lnTo>
                  <a:pt x="10" y="22"/>
                </a:lnTo>
                <a:lnTo>
                  <a:pt x="8" y="24"/>
                </a:lnTo>
                <a:lnTo>
                  <a:pt x="2" y="20"/>
                </a:lnTo>
                <a:lnTo>
                  <a:pt x="0" y="16"/>
                </a:lnTo>
                <a:lnTo>
                  <a:pt x="0" y="10"/>
                </a:lnTo>
                <a:lnTo>
                  <a:pt x="2" y="6"/>
                </a:lnTo>
                <a:lnTo>
                  <a:pt x="2" y="0"/>
                </a:lnTo>
                <a:lnTo>
                  <a:pt x="18" y="2"/>
                </a:lnTo>
                <a:lnTo>
                  <a:pt x="30" y="6"/>
                </a:lnTo>
                <a:lnTo>
                  <a:pt x="34" y="10"/>
                </a:lnTo>
                <a:lnTo>
                  <a:pt x="42" y="18"/>
                </a:lnTo>
                <a:lnTo>
                  <a:pt x="48" y="24"/>
                </a:lnTo>
                <a:lnTo>
                  <a:pt x="50" y="28"/>
                </a:lnTo>
                <a:lnTo>
                  <a:pt x="46" y="30"/>
                </a:lnTo>
                <a:lnTo>
                  <a:pt x="44" y="36"/>
                </a:lnTo>
                <a:lnTo>
                  <a:pt x="42" y="42"/>
                </a:lnTo>
                <a:lnTo>
                  <a:pt x="38" y="44"/>
                </a:lnTo>
                <a:lnTo>
                  <a:pt x="34" y="32"/>
                </a:lnTo>
                <a:lnTo>
                  <a:pt x="28" y="26"/>
                </a:lnTo>
                <a:lnTo>
                  <a:pt x="24" y="24"/>
                </a:lnTo>
                <a:lnTo>
                  <a:pt x="18" y="2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79" name="Freeform 59">
            <a:extLst>
              <a:ext uri="{FF2B5EF4-FFF2-40B4-BE49-F238E27FC236}">
                <a16:creationId xmlns:a16="http://schemas.microsoft.com/office/drawing/2014/main" id="{1C98BD0D-08EB-F979-5084-10393C652DE9}"/>
              </a:ext>
            </a:extLst>
          </p:cNvPr>
          <p:cNvSpPr>
            <a:spLocks/>
          </p:cNvSpPr>
          <p:nvPr/>
        </p:nvSpPr>
        <p:spPr bwMode="auto">
          <a:xfrm>
            <a:off x="2620434" y="4627034"/>
            <a:ext cx="192617" cy="67733"/>
          </a:xfrm>
          <a:custGeom>
            <a:avLst/>
            <a:gdLst>
              <a:gd name="T0" fmla="*/ 2147483647 w 102"/>
              <a:gd name="T1" fmla="*/ 2147483647 h 38"/>
              <a:gd name="T2" fmla="*/ 2147483647 w 102"/>
              <a:gd name="T3" fmla="*/ 2147483647 h 38"/>
              <a:gd name="T4" fmla="*/ 2147483647 w 102"/>
              <a:gd name="T5" fmla="*/ 2147483647 h 38"/>
              <a:gd name="T6" fmla="*/ 2147483647 w 102"/>
              <a:gd name="T7" fmla="*/ 2147483647 h 38"/>
              <a:gd name="T8" fmla="*/ 2147483647 w 102"/>
              <a:gd name="T9" fmla="*/ 2147483647 h 38"/>
              <a:gd name="T10" fmla="*/ 2147483647 w 102"/>
              <a:gd name="T11" fmla="*/ 2147483647 h 38"/>
              <a:gd name="T12" fmla="*/ 2147483647 w 102"/>
              <a:gd name="T13" fmla="*/ 2147483647 h 38"/>
              <a:gd name="T14" fmla="*/ 2147483647 w 102"/>
              <a:gd name="T15" fmla="*/ 2147483647 h 38"/>
              <a:gd name="T16" fmla="*/ 2147483647 w 102"/>
              <a:gd name="T17" fmla="*/ 2147483647 h 38"/>
              <a:gd name="T18" fmla="*/ 2147483647 w 102"/>
              <a:gd name="T19" fmla="*/ 2147483647 h 38"/>
              <a:gd name="T20" fmla="*/ 2147483647 w 102"/>
              <a:gd name="T21" fmla="*/ 2147483647 h 38"/>
              <a:gd name="T22" fmla="*/ 2147483647 w 102"/>
              <a:gd name="T23" fmla="*/ 2147483647 h 38"/>
              <a:gd name="T24" fmla="*/ 2147483647 w 102"/>
              <a:gd name="T25" fmla="*/ 2147483647 h 38"/>
              <a:gd name="T26" fmla="*/ 2147483647 w 102"/>
              <a:gd name="T27" fmla="*/ 2147483647 h 38"/>
              <a:gd name="T28" fmla="*/ 2147483647 w 102"/>
              <a:gd name="T29" fmla="*/ 2147483647 h 38"/>
              <a:gd name="T30" fmla="*/ 2147483647 w 102"/>
              <a:gd name="T31" fmla="*/ 2147483647 h 38"/>
              <a:gd name="T32" fmla="*/ 2147483647 w 102"/>
              <a:gd name="T33" fmla="*/ 2147483647 h 38"/>
              <a:gd name="T34" fmla="*/ 2147483647 w 102"/>
              <a:gd name="T35" fmla="*/ 2147483647 h 38"/>
              <a:gd name="T36" fmla="*/ 2147483647 w 102"/>
              <a:gd name="T37" fmla="*/ 2147483647 h 38"/>
              <a:gd name="T38" fmla="*/ 2147483647 w 102"/>
              <a:gd name="T39" fmla="*/ 2147483647 h 38"/>
              <a:gd name="T40" fmla="*/ 2147483647 w 102"/>
              <a:gd name="T41" fmla="*/ 2147483647 h 38"/>
              <a:gd name="T42" fmla="*/ 2147483647 w 102"/>
              <a:gd name="T43" fmla="*/ 2147483647 h 38"/>
              <a:gd name="T44" fmla="*/ 0 w 102"/>
              <a:gd name="T45" fmla="*/ 2147483647 h 38"/>
              <a:gd name="T46" fmla="*/ 2147483647 w 102"/>
              <a:gd name="T47" fmla="*/ 2147483647 h 38"/>
              <a:gd name="T48" fmla="*/ 2147483647 w 102"/>
              <a:gd name="T49" fmla="*/ 2147483647 h 38"/>
              <a:gd name="T50" fmla="*/ 2147483647 w 102"/>
              <a:gd name="T51" fmla="*/ 2147483647 h 38"/>
              <a:gd name="T52" fmla="*/ 2147483647 w 102"/>
              <a:gd name="T53" fmla="*/ 2147483647 h 38"/>
              <a:gd name="T54" fmla="*/ 2147483647 w 102"/>
              <a:gd name="T55" fmla="*/ 2147483647 h 38"/>
              <a:gd name="T56" fmla="*/ 2147483647 w 102"/>
              <a:gd name="T57" fmla="*/ 2147483647 h 38"/>
              <a:gd name="T58" fmla="*/ 2147483647 w 102"/>
              <a:gd name="T59" fmla="*/ 2147483647 h 38"/>
              <a:gd name="T60" fmla="*/ 2147483647 w 102"/>
              <a:gd name="T61" fmla="*/ 2147483647 h 38"/>
              <a:gd name="T62" fmla="*/ 2147483647 w 102"/>
              <a:gd name="T63" fmla="*/ 2147483647 h 38"/>
              <a:gd name="T64" fmla="*/ 2147483647 w 102"/>
              <a:gd name="T65" fmla="*/ 2147483647 h 38"/>
              <a:gd name="T66" fmla="*/ 2147483647 w 102"/>
              <a:gd name="T67" fmla="*/ 0 h 38"/>
              <a:gd name="T68" fmla="*/ 2147483647 w 102"/>
              <a:gd name="T69" fmla="*/ 2147483647 h 38"/>
              <a:gd name="T70" fmla="*/ 2147483647 w 102"/>
              <a:gd name="T71" fmla="*/ 2147483647 h 38"/>
              <a:gd name="T72" fmla="*/ 2147483647 w 102"/>
              <a:gd name="T73" fmla="*/ 2147483647 h 38"/>
              <a:gd name="T74" fmla="*/ 2147483647 w 102"/>
              <a:gd name="T75" fmla="*/ 2147483647 h 38"/>
              <a:gd name="T76" fmla="*/ 2147483647 w 102"/>
              <a:gd name="T77" fmla="*/ 2147483647 h 38"/>
              <a:gd name="T78" fmla="*/ 2147483647 w 102"/>
              <a:gd name="T79" fmla="*/ 2147483647 h 38"/>
              <a:gd name="T80" fmla="*/ 2147483647 w 102"/>
              <a:gd name="T81" fmla="*/ 2147483647 h 38"/>
              <a:gd name="T82" fmla="*/ 2147483647 w 102"/>
              <a:gd name="T83" fmla="*/ 2147483647 h 38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02"/>
              <a:gd name="T127" fmla="*/ 0 h 38"/>
              <a:gd name="T128" fmla="*/ 102 w 102"/>
              <a:gd name="T129" fmla="*/ 38 h 38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02" h="38">
                <a:moveTo>
                  <a:pt x="88" y="34"/>
                </a:moveTo>
                <a:lnTo>
                  <a:pt x="82" y="32"/>
                </a:lnTo>
                <a:lnTo>
                  <a:pt x="80" y="28"/>
                </a:lnTo>
                <a:lnTo>
                  <a:pt x="80" y="22"/>
                </a:lnTo>
                <a:lnTo>
                  <a:pt x="80" y="16"/>
                </a:lnTo>
                <a:lnTo>
                  <a:pt x="78" y="12"/>
                </a:lnTo>
                <a:lnTo>
                  <a:pt x="72" y="10"/>
                </a:lnTo>
                <a:lnTo>
                  <a:pt x="66" y="10"/>
                </a:lnTo>
                <a:lnTo>
                  <a:pt x="62" y="12"/>
                </a:lnTo>
                <a:lnTo>
                  <a:pt x="60" y="16"/>
                </a:lnTo>
                <a:lnTo>
                  <a:pt x="52" y="18"/>
                </a:lnTo>
                <a:lnTo>
                  <a:pt x="48" y="22"/>
                </a:lnTo>
                <a:lnTo>
                  <a:pt x="50" y="26"/>
                </a:lnTo>
                <a:lnTo>
                  <a:pt x="52" y="30"/>
                </a:lnTo>
                <a:lnTo>
                  <a:pt x="52" y="36"/>
                </a:lnTo>
                <a:lnTo>
                  <a:pt x="44" y="38"/>
                </a:lnTo>
                <a:lnTo>
                  <a:pt x="38" y="32"/>
                </a:lnTo>
                <a:lnTo>
                  <a:pt x="32" y="26"/>
                </a:lnTo>
                <a:lnTo>
                  <a:pt x="26" y="22"/>
                </a:lnTo>
                <a:lnTo>
                  <a:pt x="18" y="20"/>
                </a:lnTo>
                <a:lnTo>
                  <a:pt x="14" y="18"/>
                </a:lnTo>
                <a:lnTo>
                  <a:pt x="8" y="20"/>
                </a:lnTo>
                <a:lnTo>
                  <a:pt x="0" y="18"/>
                </a:lnTo>
                <a:lnTo>
                  <a:pt x="4" y="14"/>
                </a:lnTo>
                <a:lnTo>
                  <a:pt x="6" y="8"/>
                </a:lnTo>
                <a:lnTo>
                  <a:pt x="12" y="2"/>
                </a:lnTo>
                <a:lnTo>
                  <a:pt x="18" y="4"/>
                </a:lnTo>
                <a:lnTo>
                  <a:pt x="22" y="8"/>
                </a:lnTo>
                <a:lnTo>
                  <a:pt x="30" y="12"/>
                </a:lnTo>
                <a:lnTo>
                  <a:pt x="38" y="12"/>
                </a:lnTo>
                <a:lnTo>
                  <a:pt x="44" y="10"/>
                </a:lnTo>
                <a:lnTo>
                  <a:pt x="52" y="6"/>
                </a:lnTo>
                <a:lnTo>
                  <a:pt x="62" y="2"/>
                </a:lnTo>
                <a:lnTo>
                  <a:pt x="72" y="0"/>
                </a:lnTo>
                <a:lnTo>
                  <a:pt x="82" y="2"/>
                </a:lnTo>
                <a:lnTo>
                  <a:pt x="88" y="6"/>
                </a:lnTo>
                <a:lnTo>
                  <a:pt x="94" y="10"/>
                </a:lnTo>
                <a:lnTo>
                  <a:pt x="98" y="16"/>
                </a:lnTo>
                <a:lnTo>
                  <a:pt x="102" y="20"/>
                </a:lnTo>
                <a:lnTo>
                  <a:pt x="100" y="26"/>
                </a:lnTo>
                <a:lnTo>
                  <a:pt x="94" y="30"/>
                </a:lnTo>
                <a:lnTo>
                  <a:pt x="88" y="3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0" name="Freeform 60">
            <a:extLst>
              <a:ext uri="{FF2B5EF4-FFF2-40B4-BE49-F238E27FC236}">
                <a16:creationId xmlns:a16="http://schemas.microsoft.com/office/drawing/2014/main" id="{E0C013FC-3646-1743-1E96-9B1FF1488CCF}"/>
              </a:ext>
            </a:extLst>
          </p:cNvPr>
          <p:cNvSpPr>
            <a:spLocks/>
          </p:cNvSpPr>
          <p:nvPr/>
        </p:nvSpPr>
        <p:spPr bwMode="auto">
          <a:xfrm>
            <a:off x="2571751" y="4180418"/>
            <a:ext cx="328084" cy="118533"/>
          </a:xfrm>
          <a:custGeom>
            <a:avLst/>
            <a:gdLst>
              <a:gd name="T0" fmla="*/ 2147483647 w 166"/>
              <a:gd name="T1" fmla="*/ 2147483647 h 56"/>
              <a:gd name="T2" fmla="*/ 2147483647 w 166"/>
              <a:gd name="T3" fmla="*/ 2147483647 h 56"/>
              <a:gd name="T4" fmla="*/ 2147483647 w 166"/>
              <a:gd name="T5" fmla="*/ 2147483647 h 56"/>
              <a:gd name="T6" fmla="*/ 2147483647 w 166"/>
              <a:gd name="T7" fmla="*/ 2147483647 h 56"/>
              <a:gd name="T8" fmla="*/ 2147483647 w 166"/>
              <a:gd name="T9" fmla="*/ 2147483647 h 56"/>
              <a:gd name="T10" fmla="*/ 2147483647 w 166"/>
              <a:gd name="T11" fmla="*/ 2147483647 h 56"/>
              <a:gd name="T12" fmla="*/ 2147483647 w 166"/>
              <a:gd name="T13" fmla="*/ 2147483647 h 56"/>
              <a:gd name="T14" fmla="*/ 2147483647 w 166"/>
              <a:gd name="T15" fmla="*/ 2147483647 h 56"/>
              <a:gd name="T16" fmla="*/ 2147483647 w 166"/>
              <a:gd name="T17" fmla="*/ 2147483647 h 56"/>
              <a:gd name="T18" fmla="*/ 2147483647 w 166"/>
              <a:gd name="T19" fmla="*/ 2147483647 h 56"/>
              <a:gd name="T20" fmla="*/ 2147483647 w 166"/>
              <a:gd name="T21" fmla="*/ 2147483647 h 56"/>
              <a:gd name="T22" fmla="*/ 2147483647 w 166"/>
              <a:gd name="T23" fmla="*/ 2147483647 h 56"/>
              <a:gd name="T24" fmla="*/ 2147483647 w 166"/>
              <a:gd name="T25" fmla="*/ 2147483647 h 56"/>
              <a:gd name="T26" fmla="*/ 2147483647 w 166"/>
              <a:gd name="T27" fmla="*/ 2147483647 h 56"/>
              <a:gd name="T28" fmla="*/ 2147483647 w 166"/>
              <a:gd name="T29" fmla="*/ 2147483647 h 56"/>
              <a:gd name="T30" fmla="*/ 2147483647 w 166"/>
              <a:gd name="T31" fmla="*/ 2147483647 h 56"/>
              <a:gd name="T32" fmla="*/ 2147483647 w 166"/>
              <a:gd name="T33" fmla="*/ 2147483647 h 56"/>
              <a:gd name="T34" fmla="*/ 2147483647 w 166"/>
              <a:gd name="T35" fmla="*/ 2147483647 h 56"/>
              <a:gd name="T36" fmla="*/ 2147483647 w 166"/>
              <a:gd name="T37" fmla="*/ 2147483647 h 56"/>
              <a:gd name="T38" fmla="*/ 0 w 166"/>
              <a:gd name="T39" fmla="*/ 2147483647 h 56"/>
              <a:gd name="T40" fmla="*/ 2147483647 w 166"/>
              <a:gd name="T41" fmla="*/ 2147483647 h 56"/>
              <a:gd name="T42" fmla="*/ 2147483647 w 166"/>
              <a:gd name="T43" fmla="*/ 2147483647 h 56"/>
              <a:gd name="T44" fmla="*/ 2147483647 w 166"/>
              <a:gd name="T45" fmla="*/ 2147483647 h 56"/>
              <a:gd name="T46" fmla="*/ 2147483647 w 166"/>
              <a:gd name="T47" fmla="*/ 0 h 56"/>
              <a:gd name="T48" fmla="*/ 2147483647 w 166"/>
              <a:gd name="T49" fmla="*/ 0 h 56"/>
              <a:gd name="T50" fmla="*/ 2147483647 w 166"/>
              <a:gd name="T51" fmla="*/ 2147483647 h 56"/>
              <a:gd name="T52" fmla="*/ 2147483647 w 166"/>
              <a:gd name="T53" fmla="*/ 2147483647 h 56"/>
              <a:gd name="T54" fmla="*/ 2147483647 w 166"/>
              <a:gd name="T55" fmla="*/ 2147483647 h 56"/>
              <a:gd name="T56" fmla="*/ 2147483647 w 166"/>
              <a:gd name="T57" fmla="*/ 2147483647 h 56"/>
              <a:gd name="T58" fmla="*/ 2147483647 w 166"/>
              <a:gd name="T59" fmla="*/ 2147483647 h 56"/>
              <a:gd name="T60" fmla="*/ 2147483647 w 166"/>
              <a:gd name="T61" fmla="*/ 2147483647 h 56"/>
              <a:gd name="T62" fmla="*/ 2147483647 w 166"/>
              <a:gd name="T63" fmla="*/ 2147483647 h 56"/>
              <a:gd name="T64" fmla="*/ 2147483647 w 166"/>
              <a:gd name="T65" fmla="*/ 2147483647 h 56"/>
              <a:gd name="T66" fmla="*/ 2147483647 w 166"/>
              <a:gd name="T67" fmla="*/ 2147483647 h 56"/>
              <a:gd name="T68" fmla="*/ 2147483647 w 166"/>
              <a:gd name="T69" fmla="*/ 2147483647 h 56"/>
              <a:gd name="T70" fmla="*/ 2147483647 w 166"/>
              <a:gd name="T71" fmla="*/ 2147483647 h 56"/>
              <a:gd name="T72" fmla="*/ 2147483647 w 166"/>
              <a:gd name="T73" fmla="*/ 2147483647 h 56"/>
              <a:gd name="T74" fmla="*/ 2147483647 w 166"/>
              <a:gd name="T75" fmla="*/ 2147483647 h 5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66"/>
              <a:gd name="T115" fmla="*/ 0 h 56"/>
              <a:gd name="T116" fmla="*/ 166 w 166"/>
              <a:gd name="T117" fmla="*/ 56 h 5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66" h="56">
                <a:moveTo>
                  <a:pt x="148" y="56"/>
                </a:moveTo>
                <a:lnTo>
                  <a:pt x="140" y="52"/>
                </a:lnTo>
                <a:lnTo>
                  <a:pt x="130" y="52"/>
                </a:lnTo>
                <a:lnTo>
                  <a:pt x="124" y="56"/>
                </a:lnTo>
                <a:lnTo>
                  <a:pt x="116" y="54"/>
                </a:lnTo>
                <a:lnTo>
                  <a:pt x="118" y="46"/>
                </a:lnTo>
                <a:lnTo>
                  <a:pt x="116" y="40"/>
                </a:lnTo>
                <a:lnTo>
                  <a:pt x="104" y="40"/>
                </a:lnTo>
                <a:lnTo>
                  <a:pt x="100" y="32"/>
                </a:lnTo>
                <a:lnTo>
                  <a:pt x="94" y="30"/>
                </a:lnTo>
                <a:lnTo>
                  <a:pt x="80" y="26"/>
                </a:lnTo>
                <a:lnTo>
                  <a:pt x="76" y="22"/>
                </a:lnTo>
                <a:lnTo>
                  <a:pt x="62" y="18"/>
                </a:lnTo>
                <a:lnTo>
                  <a:pt x="48" y="16"/>
                </a:lnTo>
                <a:lnTo>
                  <a:pt x="44" y="12"/>
                </a:lnTo>
                <a:lnTo>
                  <a:pt x="34" y="10"/>
                </a:lnTo>
                <a:lnTo>
                  <a:pt x="28" y="14"/>
                </a:lnTo>
                <a:lnTo>
                  <a:pt x="20" y="18"/>
                </a:lnTo>
                <a:lnTo>
                  <a:pt x="12" y="22"/>
                </a:lnTo>
                <a:lnTo>
                  <a:pt x="0" y="22"/>
                </a:lnTo>
                <a:lnTo>
                  <a:pt x="2" y="16"/>
                </a:lnTo>
                <a:lnTo>
                  <a:pt x="10" y="6"/>
                </a:lnTo>
                <a:lnTo>
                  <a:pt x="26" y="2"/>
                </a:lnTo>
                <a:lnTo>
                  <a:pt x="40" y="0"/>
                </a:lnTo>
                <a:lnTo>
                  <a:pt x="58" y="0"/>
                </a:lnTo>
                <a:lnTo>
                  <a:pt x="74" y="4"/>
                </a:lnTo>
                <a:lnTo>
                  <a:pt x="88" y="10"/>
                </a:lnTo>
                <a:lnTo>
                  <a:pt x="104" y="14"/>
                </a:lnTo>
                <a:lnTo>
                  <a:pt x="110" y="20"/>
                </a:lnTo>
                <a:lnTo>
                  <a:pt x="116" y="24"/>
                </a:lnTo>
                <a:lnTo>
                  <a:pt x="130" y="30"/>
                </a:lnTo>
                <a:lnTo>
                  <a:pt x="142" y="34"/>
                </a:lnTo>
                <a:lnTo>
                  <a:pt x="154" y="40"/>
                </a:lnTo>
                <a:lnTo>
                  <a:pt x="166" y="46"/>
                </a:lnTo>
                <a:lnTo>
                  <a:pt x="160" y="50"/>
                </a:lnTo>
                <a:lnTo>
                  <a:pt x="152" y="52"/>
                </a:lnTo>
                <a:lnTo>
                  <a:pt x="150" y="56"/>
                </a:lnTo>
                <a:lnTo>
                  <a:pt x="148" y="5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1" name="Freeform 61">
            <a:extLst>
              <a:ext uri="{FF2B5EF4-FFF2-40B4-BE49-F238E27FC236}">
                <a16:creationId xmlns:a16="http://schemas.microsoft.com/office/drawing/2014/main" id="{919EB120-0C75-619E-8A8F-22C67F660A86}"/>
              </a:ext>
            </a:extLst>
          </p:cNvPr>
          <p:cNvSpPr>
            <a:spLocks/>
          </p:cNvSpPr>
          <p:nvPr/>
        </p:nvSpPr>
        <p:spPr bwMode="auto">
          <a:xfrm>
            <a:off x="2899834" y="4288367"/>
            <a:ext cx="91017" cy="57151"/>
          </a:xfrm>
          <a:custGeom>
            <a:avLst/>
            <a:gdLst>
              <a:gd name="T0" fmla="*/ 0 w 44"/>
              <a:gd name="T1" fmla="*/ 2147483647 h 30"/>
              <a:gd name="T2" fmla="*/ 2147483647 w 44"/>
              <a:gd name="T3" fmla="*/ 2147483647 h 30"/>
              <a:gd name="T4" fmla="*/ 2147483647 w 44"/>
              <a:gd name="T5" fmla="*/ 2147483647 h 30"/>
              <a:gd name="T6" fmla="*/ 2147483647 w 44"/>
              <a:gd name="T7" fmla="*/ 2147483647 h 30"/>
              <a:gd name="T8" fmla="*/ 2147483647 w 44"/>
              <a:gd name="T9" fmla="*/ 2147483647 h 30"/>
              <a:gd name="T10" fmla="*/ 2147483647 w 44"/>
              <a:gd name="T11" fmla="*/ 2147483647 h 30"/>
              <a:gd name="T12" fmla="*/ 2147483647 w 44"/>
              <a:gd name="T13" fmla="*/ 2147483647 h 30"/>
              <a:gd name="T14" fmla="*/ 2147483647 w 44"/>
              <a:gd name="T15" fmla="*/ 2147483647 h 30"/>
              <a:gd name="T16" fmla="*/ 2147483647 w 44"/>
              <a:gd name="T17" fmla="*/ 2147483647 h 30"/>
              <a:gd name="T18" fmla="*/ 2147483647 w 44"/>
              <a:gd name="T19" fmla="*/ 2147483647 h 30"/>
              <a:gd name="T20" fmla="*/ 2147483647 w 44"/>
              <a:gd name="T21" fmla="*/ 0 h 30"/>
              <a:gd name="T22" fmla="*/ 2147483647 w 44"/>
              <a:gd name="T23" fmla="*/ 2147483647 h 30"/>
              <a:gd name="T24" fmla="*/ 2147483647 w 44"/>
              <a:gd name="T25" fmla="*/ 2147483647 h 30"/>
              <a:gd name="T26" fmla="*/ 2147483647 w 44"/>
              <a:gd name="T27" fmla="*/ 2147483647 h 30"/>
              <a:gd name="T28" fmla="*/ 2147483647 w 44"/>
              <a:gd name="T29" fmla="*/ 2147483647 h 30"/>
              <a:gd name="T30" fmla="*/ 2147483647 w 44"/>
              <a:gd name="T31" fmla="*/ 2147483647 h 30"/>
              <a:gd name="T32" fmla="*/ 2147483647 w 44"/>
              <a:gd name="T33" fmla="*/ 2147483647 h 30"/>
              <a:gd name="T34" fmla="*/ 2147483647 w 44"/>
              <a:gd name="T35" fmla="*/ 2147483647 h 30"/>
              <a:gd name="T36" fmla="*/ 0 w 44"/>
              <a:gd name="T37" fmla="*/ 2147483647 h 30"/>
              <a:gd name="T38" fmla="*/ 0 w 44"/>
              <a:gd name="T39" fmla="*/ 2147483647 h 30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44"/>
              <a:gd name="T61" fmla="*/ 0 h 30"/>
              <a:gd name="T62" fmla="*/ 44 w 44"/>
              <a:gd name="T63" fmla="*/ 30 h 30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44" h="30">
                <a:moveTo>
                  <a:pt x="0" y="28"/>
                </a:moveTo>
                <a:lnTo>
                  <a:pt x="16" y="30"/>
                </a:lnTo>
                <a:lnTo>
                  <a:pt x="32" y="30"/>
                </a:lnTo>
                <a:lnTo>
                  <a:pt x="40" y="30"/>
                </a:lnTo>
                <a:lnTo>
                  <a:pt x="40" y="24"/>
                </a:lnTo>
                <a:lnTo>
                  <a:pt x="36" y="20"/>
                </a:lnTo>
                <a:lnTo>
                  <a:pt x="42" y="18"/>
                </a:lnTo>
                <a:lnTo>
                  <a:pt x="44" y="14"/>
                </a:lnTo>
                <a:lnTo>
                  <a:pt x="42" y="4"/>
                </a:lnTo>
                <a:lnTo>
                  <a:pt x="32" y="2"/>
                </a:lnTo>
                <a:lnTo>
                  <a:pt x="24" y="0"/>
                </a:lnTo>
                <a:lnTo>
                  <a:pt x="16" y="2"/>
                </a:lnTo>
                <a:lnTo>
                  <a:pt x="22" y="6"/>
                </a:lnTo>
                <a:lnTo>
                  <a:pt x="28" y="14"/>
                </a:lnTo>
                <a:lnTo>
                  <a:pt x="28" y="20"/>
                </a:lnTo>
                <a:lnTo>
                  <a:pt x="20" y="20"/>
                </a:lnTo>
                <a:lnTo>
                  <a:pt x="14" y="18"/>
                </a:lnTo>
                <a:lnTo>
                  <a:pt x="6" y="20"/>
                </a:lnTo>
                <a:lnTo>
                  <a:pt x="0" y="20"/>
                </a:lnTo>
                <a:lnTo>
                  <a:pt x="0" y="2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2" name="Freeform 62">
            <a:extLst>
              <a:ext uri="{FF2B5EF4-FFF2-40B4-BE49-F238E27FC236}">
                <a16:creationId xmlns:a16="http://schemas.microsoft.com/office/drawing/2014/main" id="{EB01EEDE-7EB2-1FDC-A16E-D95D9B6E12D7}"/>
              </a:ext>
            </a:extLst>
          </p:cNvPr>
          <p:cNvSpPr>
            <a:spLocks/>
          </p:cNvSpPr>
          <p:nvPr/>
        </p:nvSpPr>
        <p:spPr bwMode="auto">
          <a:xfrm>
            <a:off x="2774951" y="4334934"/>
            <a:ext cx="67733" cy="29633"/>
          </a:xfrm>
          <a:custGeom>
            <a:avLst/>
            <a:gdLst>
              <a:gd name="T0" fmla="*/ 0 w 32"/>
              <a:gd name="T1" fmla="*/ 2147483647 h 18"/>
              <a:gd name="T2" fmla="*/ 2147483647 w 32"/>
              <a:gd name="T3" fmla="*/ 0 h 18"/>
              <a:gd name="T4" fmla="*/ 2147483647 w 32"/>
              <a:gd name="T5" fmla="*/ 0 h 18"/>
              <a:gd name="T6" fmla="*/ 2147483647 w 32"/>
              <a:gd name="T7" fmla="*/ 2147483647 h 18"/>
              <a:gd name="T8" fmla="*/ 2147483647 w 32"/>
              <a:gd name="T9" fmla="*/ 2147483647 h 18"/>
              <a:gd name="T10" fmla="*/ 2147483647 w 32"/>
              <a:gd name="T11" fmla="*/ 2147483647 h 18"/>
              <a:gd name="T12" fmla="*/ 2147483647 w 32"/>
              <a:gd name="T13" fmla="*/ 2147483647 h 18"/>
              <a:gd name="T14" fmla="*/ 2147483647 w 32"/>
              <a:gd name="T15" fmla="*/ 2147483647 h 18"/>
              <a:gd name="T16" fmla="*/ 2147483647 w 32"/>
              <a:gd name="T17" fmla="*/ 2147483647 h 18"/>
              <a:gd name="T18" fmla="*/ 2147483647 w 32"/>
              <a:gd name="T19" fmla="*/ 2147483647 h 18"/>
              <a:gd name="T20" fmla="*/ 2147483647 w 32"/>
              <a:gd name="T21" fmla="*/ 2147483647 h 18"/>
              <a:gd name="T22" fmla="*/ 0 w 32"/>
              <a:gd name="T23" fmla="*/ 2147483647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2"/>
              <a:gd name="T37" fmla="*/ 0 h 18"/>
              <a:gd name="T38" fmla="*/ 32 w 32"/>
              <a:gd name="T39" fmla="*/ 18 h 1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2" h="18">
                <a:moveTo>
                  <a:pt x="0" y="6"/>
                </a:moveTo>
                <a:lnTo>
                  <a:pt x="6" y="0"/>
                </a:lnTo>
                <a:lnTo>
                  <a:pt x="14" y="0"/>
                </a:lnTo>
                <a:lnTo>
                  <a:pt x="20" y="2"/>
                </a:lnTo>
                <a:lnTo>
                  <a:pt x="28" y="6"/>
                </a:lnTo>
                <a:lnTo>
                  <a:pt x="32" y="10"/>
                </a:lnTo>
                <a:lnTo>
                  <a:pt x="24" y="14"/>
                </a:lnTo>
                <a:lnTo>
                  <a:pt x="18" y="14"/>
                </a:lnTo>
                <a:lnTo>
                  <a:pt x="14" y="18"/>
                </a:lnTo>
                <a:lnTo>
                  <a:pt x="10" y="12"/>
                </a:lnTo>
                <a:lnTo>
                  <a:pt x="6" y="8"/>
                </a:lnTo>
                <a:lnTo>
                  <a:pt x="0" y="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3" name="Freeform 63">
            <a:extLst>
              <a:ext uri="{FF2B5EF4-FFF2-40B4-BE49-F238E27FC236}">
                <a16:creationId xmlns:a16="http://schemas.microsoft.com/office/drawing/2014/main" id="{7F4760D6-470C-FEDD-5352-6A23DB6F8E66}"/>
              </a:ext>
            </a:extLst>
          </p:cNvPr>
          <p:cNvSpPr>
            <a:spLocks/>
          </p:cNvSpPr>
          <p:nvPr/>
        </p:nvSpPr>
        <p:spPr bwMode="auto">
          <a:xfrm>
            <a:off x="2967567" y="4298952"/>
            <a:ext cx="118533" cy="65617"/>
          </a:xfrm>
          <a:custGeom>
            <a:avLst/>
            <a:gdLst>
              <a:gd name="T0" fmla="*/ 2147483647 w 58"/>
              <a:gd name="T1" fmla="*/ 0 h 36"/>
              <a:gd name="T2" fmla="*/ 2147483647 w 58"/>
              <a:gd name="T3" fmla="*/ 2147483647 h 36"/>
              <a:gd name="T4" fmla="*/ 2147483647 w 58"/>
              <a:gd name="T5" fmla="*/ 2147483647 h 36"/>
              <a:gd name="T6" fmla="*/ 2147483647 w 58"/>
              <a:gd name="T7" fmla="*/ 2147483647 h 36"/>
              <a:gd name="T8" fmla="*/ 2147483647 w 58"/>
              <a:gd name="T9" fmla="*/ 2147483647 h 36"/>
              <a:gd name="T10" fmla="*/ 2147483647 w 58"/>
              <a:gd name="T11" fmla="*/ 2147483647 h 36"/>
              <a:gd name="T12" fmla="*/ 2147483647 w 58"/>
              <a:gd name="T13" fmla="*/ 2147483647 h 36"/>
              <a:gd name="T14" fmla="*/ 2147483647 w 58"/>
              <a:gd name="T15" fmla="*/ 2147483647 h 36"/>
              <a:gd name="T16" fmla="*/ 2147483647 w 58"/>
              <a:gd name="T17" fmla="*/ 2147483647 h 36"/>
              <a:gd name="T18" fmla="*/ 2147483647 w 58"/>
              <a:gd name="T19" fmla="*/ 2147483647 h 36"/>
              <a:gd name="T20" fmla="*/ 2147483647 w 58"/>
              <a:gd name="T21" fmla="*/ 2147483647 h 36"/>
              <a:gd name="T22" fmla="*/ 2147483647 w 58"/>
              <a:gd name="T23" fmla="*/ 2147483647 h 36"/>
              <a:gd name="T24" fmla="*/ 2147483647 w 58"/>
              <a:gd name="T25" fmla="*/ 2147483647 h 36"/>
              <a:gd name="T26" fmla="*/ 2147483647 w 58"/>
              <a:gd name="T27" fmla="*/ 2147483647 h 36"/>
              <a:gd name="T28" fmla="*/ 2147483647 w 58"/>
              <a:gd name="T29" fmla="*/ 2147483647 h 36"/>
              <a:gd name="T30" fmla="*/ 2147483647 w 58"/>
              <a:gd name="T31" fmla="*/ 2147483647 h 36"/>
              <a:gd name="T32" fmla="*/ 2147483647 w 58"/>
              <a:gd name="T33" fmla="*/ 2147483647 h 36"/>
              <a:gd name="T34" fmla="*/ 2147483647 w 58"/>
              <a:gd name="T35" fmla="*/ 2147483647 h 36"/>
              <a:gd name="T36" fmla="*/ 2147483647 w 58"/>
              <a:gd name="T37" fmla="*/ 2147483647 h 36"/>
              <a:gd name="T38" fmla="*/ 2147483647 w 58"/>
              <a:gd name="T39" fmla="*/ 2147483647 h 36"/>
              <a:gd name="T40" fmla="*/ 2147483647 w 58"/>
              <a:gd name="T41" fmla="*/ 2147483647 h 36"/>
              <a:gd name="T42" fmla="*/ 0 w 58"/>
              <a:gd name="T43" fmla="*/ 2147483647 h 36"/>
              <a:gd name="T44" fmla="*/ 2147483647 w 58"/>
              <a:gd name="T45" fmla="*/ 2147483647 h 36"/>
              <a:gd name="T46" fmla="*/ 2147483647 w 58"/>
              <a:gd name="T47" fmla="*/ 2147483647 h 36"/>
              <a:gd name="T48" fmla="*/ 2147483647 w 58"/>
              <a:gd name="T49" fmla="*/ 0 h 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58"/>
              <a:gd name="T76" fmla="*/ 0 h 36"/>
              <a:gd name="T77" fmla="*/ 58 w 58"/>
              <a:gd name="T78" fmla="*/ 36 h 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58" h="36">
                <a:moveTo>
                  <a:pt x="6" y="0"/>
                </a:moveTo>
                <a:lnTo>
                  <a:pt x="16" y="2"/>
                </a:lnTo>
                <a:lnTo>
                  <a:pt x="24" y="2"/>
                </a:lnTo>
                <a:lnTo>
                  <a:pt x="34" y="4"/>
                </a:lnTo>
                <a:lnTo>
                  <a:pt x="40" y="6"/>
                </a:lnTo>
                <a:lnTo>
                  <a:pt x="46" y="10"/>
                </a:lnTo>
                <a:lnTo>
                  <a:pt x="56" y="16"/>
                </a:lnTo>
                <a:lnTo>
                  <a:pt x="58" y="20"/>
                </a:lnTo>
                <a:lnTo>
                  <a:pt x="54" y="24"/>
                </a:lnTo>
                <a:lnTo>
                  <a:pt x="44" y="22"/>
                </a:lnTo>
                <a:lnTo>
                  <a:pt x="38" y="22"/>
                </a:lnTo>
                <a:lnTo>
                  <a:pt x="30" y="24"/>
                </a:lnTo>
                <a:lnTo>
                  <a:pt x="24" y="24"/>
                </a:lnTo>
                <a:lnTo>
                  <a:pt x="20" y="20"/>
                </a:lnTo>
                <a:lnTo>
                  <a:pt x="14" y="22"/>
                </a:lnTo>
                <a:lnTo>
                  <a:pt x="12" y="28"/>
                </a:lnTo>
                <a:lnTo>
                  <a:pt x="12" y="34"/>
                </a:lnTo>
                <a:lnTo>
                  <a:pt x="8" y="36"/>
                </a:lnTo>
                <a:lnTo>
                  <a:pt x="4" y="30"/>
                </a:lnTo>
                <a:lnTo>
                  <a:pt x="4" y="26"/>
                </a:lnTo>
                <a:lnTo>
                  <a:pt x="4" y="20"/>
                </a:lnTo>
                <a:lnTo>
                  <a:pt x="0" y="16"/>
                </a:lnTo>
                <a:lnTo>
                  <a:pt x="6" y="14"/>
                </a:lnTo>
                <a:lnTo>
                  <a:pt x="8" y="10"/>
                </a:lnTo>
                <a:lnTo>
                  <a:pt x="6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4" name="Freeform 64">
            <a:extLst>
              <a:ext uri="{FF2B5EF4-FFF2-40B4-BE49-F238E27FC236}">
                <a16:creationId xmlns:a16="http://schemas.microsoft.com/office/drawing/2014/main" id="{576CA904-BF0F-CA0B-2904-C1F852D00AE3}"/>
              </a:ext>
            </a:extLst>
          </p:cNvPr>
          <p:cNvSpPr>
            <a:spLocks/>
          </p:cNvSpPr>
          <p:nvPr/>
        </p:nvSpPr>
        <p:spPr bwMode="auto">
          <a:xfrm>
            <a:off x="3111500" y="4334933"/>
            <a:ext cx="59267" cy="19051"/>
          </a:xfrm>
          <a:custGeom>
            <a:avLst/>
            <a:gdLst>
              <a:gd name="T0" fmla="*/ 2147483647 w 26"/>
              <a:gd name="T1" fmla="*/ 0 h 10"/>
              <a:gd name="T2" fmla="*/ 2147483647 w 26"/>
              <a:gd name="T3" fmla="*/ 0 h 10"/>
              <a:gd name="T4" fmla="*/ 0 w 26"/>
              <a:gd name="T5" fmla="*/ 2147483647 h 10"/>
              <a:gd name="T6" fmla="*/ 2147483647 w 26"/>
              <a:gd name="T7" fmla="*/ 2147483647 h 10"/>
              <a:gd name="T8" fmla="*/ 2147483647 w 26"/>
              <a:gd name="T9" fmla="*/ 2147483647 h 10"/>
              <a:gd name="T10" fmla="*/ 2147483647 w 26"/>
              <a:gd name="T11" fmla="*/ 2147483647 h 10"/>
              <a:gd name="T12" fmla="*/ 2147483647 w 26"/>
              <a:gd name="T13" fmla="*/ 2147483647 h 10"/>
              <a:gd name="T14" fmla="*/ 2147483647 w 26"/>
              <a:gd name="T15" fmla="*/ 2147483647 h 10"/>
              <a:gd name="T16" fmla="*/ 2147483647 w 26"/>
              <a:gd name="T17" fmla="*/ 0 h 10"/>
              <a:gd name="T18" fmla="*/ 2147483647 w 26"/>
              <a:gd name="T19" fmla="*/ 0 h 1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6"/>
              <a:gd name="T31" fmla="*/ 0 h 10"/>
              <a:gd name="T32" fmla="*/ 26 w 26"/>
              <a:gd name="T33" fmla="*/ 10 h 1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6" h="10">
                <a:moveTo>
                  <a:pt x="18" y="0"/>
                </a:moveTo>
                <a:lnTo>
                  <a:pt x="8" y="0"/>
                </a:lnTo>
                <a:lnTo>
                  <a:pt x="0" y="4"/>
                </a:lnTo>
                <a:lnTo>
                  <a:pt x="4" y="10"/>
                </a:lnTo>
                <a:lnTo>
                  <a:pt x="12" y="10"/>
                </a:lnTo>
                <a:lnTo>
                  <a:pt x="22" y="10"/>
                </a:lnTo>
                <a:lnTo>
                  <a:pt x="26" y="8"/>
                </a:lnTo>
                <a:lnTo>
                  <a:pt x="26" y="4"/>
                </a:lnTo>
                <a:lnTo>
                  <a:pt x="22" y="0"/>
                </a:lnTo>
                <a:lnTo>
                  <a:pt x="18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5" name="Freeform 65">
            <a:extLst>
              <a:ext uri="{FF2B5EF4-FFF2-40B4-BE49-F238E27FC236}">
                <a16:creationId xmlns:a16="http://schemas.microsoft.com/office/drawing/2014/main" id="{57C2D161-003F-87A4-C972-D59978A1E11C}"/>
              </a:ext>
            </a:extLst>
          </p:cNvPr>
          <p:cNvSpPr>
            <a:spLocks/>
          </p:cNvSpPr>
          <p:nvPr/>
        </p:nvSpPr>
        <p:spPr bwMode="auto">
          <a:xfrm>
            <a:off x="2774951" y="4123268"/>
            <a:ext cx="19051" cy="29633"/>
          </a:xfrm>
          <a:custGeom>
            <a:avLst/>
            <a:gdLst>
              <a:gd name="T0" fmla="*/ 2147483647 w 12"/>
              <a:gd name="T1" fmla="*/ 2147483647 h 16"/>
              <a:gd name="T2" fmla="*/ 2147483647 w 12"/>
              <a:gd name="T3" fmla="*/ 0 h 16"/>
              <a:gd name="T4" fmla="*/ 0 w 12"/>
              <a:gd name="T5" fmla="*/ 2147483647 h 16"/>
              <a:gd name="T6" fmla="*/ 2147483647 w 12"/>
              <a:gd name="T7" fmla="*/ 2147483647 h 16"/>
              <a:gd name="T8" fmla="*/ 2147483647 w 12"/>
              <a:gd name="T9" fmla="*/ 2147483647 h 16"/>
              <a:gd name="T10" fmla="*/ 2147483647 w 12"/>
              <a:gd name="T11" fmla="*/ 2147483647 h 16"/>
              <a:gd name="T12" fmla="*/ 2147483647 w 12"/>
              <a:gd name="T13" fmla="*/ 2147483647 h 1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"/>
              <a:gd name="T22" fmla="*/ 0 h 16"/>
              <a:gd name="T23" fmla="*/ 12 w 12"/>
              <a:gd name="T24" fmla="*/ 16 h 1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" h="16">
                <a:moveTo>
                  <a:pt x="8" y="4"/>
                </a:moveTo>
                <a:lnTo>
                  <a:pt x="2" y="0"/>
                </a:lnTo>
                <a:lnTo>
                  <a:pt x="0" y="8"/>
                </a:lnTo>
                <a:lnTo>
                  <a:pt x="6" y="12"/>
                </a:lnTo>
                <a:lnTo>
                  <a:pt x="10" y="16"/>
                </a:lnTo>
                <a:lnTo>
                  <a:pt x="12" y="10"/>
                </a:lnTo>
                <a:lnTo>
                  <a:pt x="8" y="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6" name="Freeform 66">
            <a:extLst>
              <a:ext uri="{FF2B5EF4-FFF2-40B4-BE49-F238E27FC236}">
                <a16:creationId xmlns:a16="http://schemas.microsoft.com/office/drawing/2014/main" id="{DD9B54B1-0D32-717C-A54A-88F907CA089E}"/>
              </a:ext>
            </a:extLst>
          </p:cNvPr>
          <p:cNvSpPr>
            <a:spLocks/>
          </p:cNvSpPr>
          <p:nvPr/>
        </p:nvSpPr>
        <p:spPr bwMode="auto">
          <a:xfrm>
            <a:off x="2755899" y="4529667"/>
            <a:ext cx="366184" cy="531284"/>
          </a:xfrm>
          <a:custGeom>
            <a:avLst/>
            <a:gdLst>
              <a:gd name="T0" fmla="*/ 2147483647 w 186"/>
              <a:gd name="T1" fmla="*/ 2147483647 h 266"/>
              <a:gd name="T2" fmla="*/ 2147483647 w 186"/>
              <a:gd name="T3" fmla="*/ 2147483647 h 266"/>
              <a:gd name="T4" fmla="*/ 2147483647 w 186"/>
              <a:gd name="T5" fmla="*/ 2147483647 h 266"/>
              <a:gd name="T6" fmla="*/ 2147483647 w 186"/>
              <a:gd name="T7" fmla="*/ 2147483647 h 266"/>
              <a:gd name="T8" fmla="*/ 2147483647 w 186"/>
              <a:gd name="T9" fmla="*/ 2147483647 h 266"/>
              <a:gd name="T10" fmla="*/ 2147483647 w 186"/>
              <a:gd name="T11" fmla="*/ 2147483647 h 266"/>
              <a:gd name="T12" fmla="*/ 2147483647 w 186"/>
              <a:gd name="T13" fmla="*/ 2147483647 h 266"/>
              <a:gd name="T14" fmla="*/ 2147483647 w 186"/>
              <a:gd name="T15" fmla="*/ 0 h 266"/>
              <a:gd name="T16" fmla="*/ 2147483647 w 186"/>
              <a:gd name="T17" fmla="*/ 2147483647 h 266"/>
              <a:gd name="T18" fmla="*/ 2147483647 w 186"/>
              <a:gd name="T19" fmla="*/ 2147483647 h 266"/>
              <a:gd name="T20" fmla="*/ 2147483647 w 186"/>
              <a:gd name="T21" fmla="*/ 2147483647 h 266"/>
              <a:gd name="T22" fmla="*/ 2147483647 w 186"/>
              <a:gd name="T23" fmla="*/ 2147483647 h 266"/>
              <a:gd name="T24" fmla="*/ 2147483647 w 186"/>
              <a:gd name="T25" fmla="*/ 2147483647 h 266"/>
              <a:gd name="T26" fmla="*/ 2147483647 w 186"/>
              <a:gd name="T27" fmla="*/ 2147483647 h 266"/>
              <a:gd name="T28" fmla="*/ 2147483647 w 186"/>
              <a:gd name="T29" fmla="*/ 2147483647 h 266"/>
              <a:gd name="T30" fmla="*/ 2147483647 w 186"/>
              <a:gd name="T31" fmla="*/ 2147483647 h 266"/>
              <a:gd name="T32" fmla="*/ 2147483647 w 186"/>
              <a:gd name="T33" fmla="*/ 2147483647 h 266"/>
              <a:gd name="T34" fmla="*/ 2147483647 w 186"/>
              <a:gd name="T35" fmla="*/ 2147483647 h 266"/>
              <a:gd name="T36" fmla="*/ 2147483647 w 186"/>
              <a:gd name="T37" fmla="*/ 2147483647 h 266"/>
              <a:gd name="T38" fmla="*/ 2147483647 w 186"/>
              <a:gd name="T39" fmla="*/ 2147483647 h 266"/>
              <a:gd name="T40" fmla="*/ 2147483647 w 186"/>
              <a:gd name="T41" fmla="*/ 2147483647 h 266"/>
              <a:gd name="T42" fmla="*/ 2147483647 w 186"/>
              <a:gd name="T43" fmla="*/ 2147483647 h 266"/>
              <a:gd name="T44" fmla="*/ 2147483647 w 186"/>
              <a:gd name="T45" fmla="*/ 2147483647 h 266"/>
              <a:gd name="T46" fmla="*/ 2147483647 w 186"/>
              <a:gd name="T47" fmla="*/ 2147483647 h 266"/>
              <a:gd name="T48" fmla="*/ 2147483647 w 186"/>
              <a:gd name="T49" fmla="*/ 2147483647 h 266"/>
              <a:gd name="T50" fmla="*/ 2147483647 w 186"/>
              <a:gd name="T51" fmla="*/ 2147483647 h 266"/>
              <a:gd name="T52" fmla="*/ 2147483647 w 186"/>
              <a:gd name="T53" fmla="*/ 2147483647 h 266"/>
              <a:gd name="T54" fmla="*/ 2147483647 w 186"/>
              <a:gd name="T55" fmla="*/ 2147483647 h 266"/>
              <a:gd name="T56" fmla="*/ 2147483647 w 186"/>
              <a:gd name="T57" fmla="*/ 2147483647 h 266"/>
              <a:gd name="T58" fmla="*/ 2147483647 w 186"/>
              <a:gd name="T59" fmla="*/ 2147483647 h 266"/>
              <a:gd name="T60" fmla="*/ 2147483647 w 186"/>
              <a:gd name="T61" fmla="*/ 2147483647 h 266"/>
              <a:gd name="T62" fmla="*/ 2147483647 w 186"/>
              <a:gd name="T63" fmla="*/ 2147483647 h 266"/>
              <a:gd name="T64" fmla="*/ 2147483647 w 186"/>
              <a:gd name="T65" fmla="*/ 2147483647 h 266"/>
              <a:gd name="T66" fmla="*/ 2147483647 w 186"/>
              <a:gd name="T67" fmla="*/ 2147483647 h 266"/>
              <a:gd name="T68" fmla="*/ 2147483647 w 186"/>
              <a:gd name="T69" fmla="*/ 2147483647 h 266"/>
              <a:gd name="T70" fmla="*/ 2147483647 w 186"/>
              <a:gd name="T71" fmla="*/ 2147483647 h 266"/>
              <a:gd name="T72" fmla="*/ 2147483647 w 186"/>
              <a:gd name="T73" fmla="*/ 2147483647 h 266"/>
              <a:gd name="T74" fmla="*/ 2147483647 w 186"/>
              <a:gd name="T75" fmla="*/ 2147483647 h 266"/>
              <a:gd name="T76" fmla="*/ 2147483647 w 186"/>
              <a:gd name="T77" fmla="*/ 2147483647 h 266"/>
              <a:gd name="T78" fmla="*/ 2147483647 w 186"/>
              <a:gd name="T79" fmla="*/ 2147483647 h 266"/>
              <a:gd name="T80" fmla="*/ 2147483647 w 186"/>
              <a:gd name="T81" fmla="*/ 2147483647 h 266"/>
              <a:gd name="T82" fmla="*/ 2147483647 w 186"/>
              <a:gd name="T83" fmla="*/ 2147483647 h 266"/>
              <a:gd name="T84" fmla="*/ 2147483647 w 186"/>
              <a:gd name="T85" fmla="*/ 2147483647 h 266"/>
              <a:gd name="T86" fmla="*/ 2147483647 w 186"/>
              <a:gd name="T87" fmla="*/ 2147483647 h 26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86"/>
              <a:gd name="T133" fmla="*/ 0 h 266"/>
              <a:gd name="T134" fmla="*/ 186 w 186"/>
              <a:gd name="T135" fmla="*/ 266 h 26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86" h="266">
                <a:moveTo>
                  <a:pt x="28" y="66"/>
                </a:moveTo>
                <a:lnTo>
                  <a:pt x="30" y="72"/>
                </a:lnTo>
                <a:lnTo>
                  <a:pt x="34" y="68"/>
                </a:lnTo>
                <a:lnTo>
                  <a:pt x="34" y="58"/>
                </a:lnTo>
                <a:lnTo>
                  <a:pt x="44" y="50"/>
                </a:lnTo>
                <a:lnTo>
                  <a:pt x="50" y="42"/>
                </a:lnTo>
                <a:lnTo>
                  <a:pt x="52" y="36"/>
                </a:lnTo>
                <a:lnTo>
                  <a:pt x="54" y="28"/>
                </a:lnTo>
                <a:lnTo>
                  <a:pt x="68" y="20"/>
                </a:lnTo>
                <a:lnTo>
                  <a:pt x="74" y="20"/>
                </a:lnTo>
                <a:lnTo>
                  <a:pt x="78" y="16"/>
                </a:lnTo>
                <a:lnTo>
                  <a:pt x="88" y="16"/>
                </a:lnTo>
                <a:lnTo>
                  <a:pt x="96" y="12"/>
                </a:lnTo>
                <a:lnTo>
                  <a:pt x="104" y="6"/>
                </a:lnTo>
                <a:lnTo>
                  <a:pt x="110" y="0"/>
                </a:lnTo>
                <a:lnTo>
                  <a:pt x="116" y="0"/>
                </a:lnTo>
                <a:lnTo>
                  <a:pt x="120" y="2"/>
                </a:lnTo>
                <a:lnTo>
                  <a:pt x="118" y="10"/>
                </a:lnTo>
                <a:lnTo>
                  <a:pt x="112" y="14"/>
                </a:lnTo>
                <a:lnTo>
                  <a:pt x="106" y="18"/>
                </a:lnTo>
                <a:lnTo>
                  <a:pt x="96" y="26"/>
                </a:lnTo>
                <a:lnTo>
                  <a:pt x="92" y="34"/>
                </a:lnTo>
                <a:lnTo>
                  <a:pt x="90" y="48"/>
                </a:lnTo>
                <a:lnTo>
                  <a:pt x="92" y="54"/>
                </a:lnTo>
                <a:lnTo>
                  <a:pt x="96" y="60"/>
                </a:lnTo>
                <a:lnTo>
                  <a:pt x="100" y="64"/>
                </a:lnTo>
                <a:lnTo>
                  <a:pt x="102" y="68"/>
                </a:lnTo>
                <a:lnTo>
                  <a:pt x="102" y="82"/>
                </a:lnTo>
                <a:lnTo>
                  <a:pt x="108" y="86"/>
                </a:lnTo>
                <a:lnTo>
                  <a:pt x="136" y="84"/>
                </a:lnTo>
                <a:lnTo>
                  <a:pt x="148" y="98"/>
                </a:lnTo>
                <a:lnTo>
                  <a:pt x="176" y="96"/>
                </a:lnTo>
                <a:lnTo>
                  <a:pt x="182" y="102"/>
                </a:lnTo>
                <a:lnTo>
                  <a:pt x="176" y="110"/>
                </a:lnTo>
                <a:lnTo>
                  <a:pt x="176" y="120"/>
                </a:lnTo>
                <a:lnTo>
                  <a:pt x="176" y="128"/>
                </a:lnTo>
                <a:lnTo>
                  <a:pt x="176" y="136"/>
                </a:lnTo>
                <a:lnTo>
                  <a:pt x="178" y="136"/>
                </a:lnTo>
                <a:lnTo>
                  <a:pt x="180" y="138"/>
                </a:lnTo>
                <a:lnTo>
                  <a:pt x="180" y="150"/>
                </a:lnTo>
                <a:lnTo>
                  <a:pt x="180" y="160"/>
                </a:lnTo>
                <a:lnTo>
                  <a:pt x="184" y="162"/>
                </a:lnTo>
                <a:lnTo>
                  <a:pt x="186" y="172"/>
                </a:lnTo>
                <a:lnTo>
                  <a:pt x="178" y="168"/>
                </a:lnTo>
                <a:lnTo>
                  <a:pt x="174" y="168"/>
                </a:lnTo>
                <a:lnTo>
                  <a:pt x="168" y="170"/>
                </a:lnTo>
                <a:lnTo>
                  <a:pt x="150" y="170"/>
                </a:lnTo>
                <a:lnTo>
                  <a:pt x="140" y="172"/>
                </a:lnTo>
                <a:lnTo>
                  <a:pt x="140" y="174"/>
                </a:lnTo>
                <a:lnTo>
                  <a:pt x="138" y="176"/>
                </a:lnTo>
                <a:lnTo>
                  <a:pt x="140" y="178"/>
                </a:lnTo>
                <a:lnTo>
                  <a:pt x="146" y="180"/>
                </a:lnTo>
                <a:lnTo>
                  <a:pt x="152" y="182"/>
                </a:lnTo>
                <a:lnTo>
                  <a:pt x="152" y="188"/>
                </a:lnTo>
                <a:lnTo>
                  <a:pt x="146" y="186"/>
                </a:lnTo>
                <a:lnTo>
                  <a:pt x="142" y="186"/>
                </a:lnTo>
                <a:lnTo>
                  <a:pt x="140" y="188"/>
                </a:lnTo>
                <a:lnTo>
                  <a:pt x="140" y="200"/>
                </a:lnTo>
                <a:lnTo>
                  <a:pt x="146" y="208"/>
                </a:lnTo>
                <a:lnTo>
                  <a:pt x="148" y="220"/>
                </a:lnTo>
                <a:lnTo>
                  <a:pt x="146" y="234"/>
                </a:lnTo>
                <a:lnTo>
                  <a:pt x="144" y="252"/>
                </a:lnTo>
                <a:lnTo>
                  <a:pt x="138" y="266"/>
                </a:lnTo>
                <a:lnTo>
                  <a:pt x="132" y="262"/>
                </a:lnTo>
                <a:lnTo>
                  <a:pt x="132" y="252"/>
                </a:lnTo>
                <a:lnTo>
                  <a:pt x="136" y="246"/>
                </a:lnTo>
                <a:lnTo>
                  <a:pt x="134" y="240"/>
                </a:lnTo>
                <a:lnTo>
                  <a:pt x="132" y="234"/>
                </a:lnTo>
                <a:lnTo>
                  <a:pt x="90" y="232"/>
                </a:lnTo>
                <a:lnTo>
                  <a:pt x="86" y="224"/>
                </a:lnTo>
                <a:lnTo>
                  <a:pt x="74" y="212"/>
                </a:lnTo>
                <a:lnTo>
                  <a:pt x="64" y="200"/>
                </a:lnTo>
                <a:lnTo>
                  <a:pt x="50" y="196"/>
                </a:lnTo>
                <a:lnTo>
                  <a:pt x="38" y="192"/>
                </a:lnTo>
                <a:lnTo>
                  <a:pt x="26" y="192"/>
                </a:lnTo>
                <a:lnTo>
                  <a:pt x="16" y="186"/>
                </a:lnTo>
                <a:lnTo>
                  <a:pt x="0" y="176"/>
                </a:lnTo>
                <a:lnTo>
                  <a:pt x="4" y="168"/>
                </a:lnTo>
                <a:lnTo>
                  <a:pt x="4" y="158"/>
                </a:lnTo>
                <a:lnTo>
                  <a:pt x="12" y="158"/>
                </a:lnTo>
                <a:lnTo>
                  <a:pt x="20" y="152"/>
                </a:lnTo>
                <a:lnTo>
                  <a:pt x="24" y="138"/>
                </a:lnTo>
                <a:lnTo>
                  <a:pt x="24" y="124"/>
                </a:lnTo>
                <a:lnTo>
                  <a:pt x="24" y="110"/>
                </a:lnTo>
                <a:lnTo>
                  <a:pt x="22" y="96"/>
                </a:lnTo>
                <a:lnTo>
                  <a:pt x="20" y="90"/>
                </a:lnTo>
                <a:lnTo>
                  <a:pt x="14" y="80"/>
                </a:lnTo>
                <a:lnTo>
                  <a:pt x="26" y="72"/>
                </a:lnTo>
                <a:lnTo>
                  <a:pt x="28" y="6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7" name="Freeform 67">
            <a:extLst>
              <a:ext uri="{FF2B5EF4-FFF2-40B4-BE49-F238E27FC236}">
                <a16:creationId xmlns:a16="http://schemas.microsoft.com/office/drawing/2014/main" id="{D1A60B18-3BBF-20CB-5BD0-C403547BAE90}"/>
              </a:ext>
            </a:extLst>
          </p:cNvPr>
          <p:cNvSpPr>
            <a:spLocks/>
          </p:cNvSpPr>
          <p:nvPr/>
        </p:nvSpPr>
        <p:spPr bwMode="auto">
          <a:xfrm>
            <a:off x="2696634" y="4876800"/>
            <a:ext cx="175684" cy="194733"/>
          </a:xfrm>
          <a:custGeom>
            <a:avLst/>
            <a:gdLst>
              <a:gd name="T0" fmla="*/ 2147483647 w 88"/>
              <a:gd name="T1" fmla="*/ 2147483647 h 100"/>
              <a:gd name="T2" fmla="*/ 2147483647 w 88"/>
              <a:gd name="T3" fmla="*/ 2147483647 h 100"/>
              <a:gd name="T4" fmla="*/ 2147483647 w 88"/>
              <a:gd name="T5" fmla="*/ 2147483647 h 100"/>
              <a:gd name="T6" fmla="*/ 2147483647 w 88"/>
              <a:gd name="T7" fmla="*/ 2147483647 h 100"/>
              <a:gd name="T8" fmla="*/ 2147483647 w 88"/>
              <a:gd name="T9" fmla="*/ 2147483647 h 100"/>
              <a:gd name="T10" fmla="*/ 2147483647 w 88"/>
              <a:gd name="T11" fmla="*/ 2147483647 h 100"/>
              <a:gd name="T12" fmla="*/ 2147483647 w 88"/>
              <a:gd name="T13" fmla="*/ 2147483647 h 100"/>
              <a:gd name="T14" fmla="*/ 2147483647 w 88"/>
              <a:gd name="T15" fmla="*/ 2147483647 h 100"/>
              <a:gd name="T16" fmla="*/ 2147483647 w 88"/>
              <a:gd name="T17" fmla="*/ 2147483647 h 100"/>
              <a:gd name="T18" fmla="*/ 2147483647 w 88"/>
              <a:gd name="T19" fmla="*/ 2147483647 h 100"/>
              <a:gd name="T20" fmla="*/ 0 w 88"/>
              <a:gd name="T21" fmla="*/ 2147483647 h 100"/>
              <a:gd name="T22" fmla="*/ 0 w 88"/>
              <a:gd name="T23" fmla="*/ 2147483647 h 100"/>
              <a:gd name="T24" fmla="*/ 2147483647 w 88"/>
              <a:gd name="T25" fmla="*/ 2147483647 h 100"/>
              <a:gd name="T26" fmla="*/ 2147483647 w 88"/>
              <a:gd name="T27" fmla="*/ 2147483647 h 100"/>
              <a:gd name="T28" fmla="*/ 2147483647 w 88"/>
              <a:gd name="T29" fmla="*/ 2147483647 h 100"/>
              <a:gd name="T30" fmla="*/ 2147483647 w 88"/>
              <a:gd name="T31" fmla="*/ 2147483647 h 100"/>
              <a:gd name="T32" fmla="*/ 2147483647 w 88"/>
              <a:gd name="T33" fmla="*/ 2147483647 h 100"/>
              <a:gd name="T34" fmla="*/ 2147483647 w 88"/>
              <a:gd name="T35" fmla="*/ 0 h 100"/>
              <a:gd name="T36" fmla="*/ 2147483647 w 88"/>
              <a:gd name="T37" fmla="*/ 2147483647 h 100"/>
              <a:gd name="T38" fmla="*/ 2147483647 w 88"/>
              <a:gd name="T39" fmla="*/ 2147483647 h 100"/>
              <a:gd name="T40" fmla="*/ 2147483647 w 88"/>
              <a:gd name="T41" fmla="*/ 2147483647 h 100"/>
              <a:gd name="T42" fmla="*/ 2147483647 w 88"/>
              <a:gd name="T43" fmla="*/ 2147483647 h 100"/>
              <a:gd name="T44" fmla="*/ 2147483647 w 88"/>
              <a:gd name="T45" fmla="*/ 2147483647 h 100"/>
              <a:gd name="T46" fmla="*/ 2147483647 w 88"/>
              <a:gd name="T47" fmla="*/ 2147483647 h 100"/>
              <a:gd name="T48" fmla="*/ 2147483647 w 88"/>
              <a:gd name="T49" fmla="*/ 2147483647 h 100"/>
              <a:gd name="T50" fmla="*/ 2147483647 w 88"/>
              <a:gd name="T51" fmla="*/ 2147483647 h 100"/>
              <a:gd name="T52" fmla="*/ 2147483647 w 88"/>
              <a:gd name="T53" fmla="*/ 2147483647 h 100"/>
              <a:gd name="T54" fmla="*/ 2147483647 w 88"/>
              <a:gd name="T55" fmla="*/ 2147483647 h 100"/>
              <a:gd name="T56" fmla="*/ 2147483647 w 88"/>
              <a:gd name="T57" fmla="*/ 2147483647 h 100"/>
              <a:gd name="T58" fmla="*/ 2147483647 w 88"/>
              <a:gd name="T59" fmla="*/ 2147483647 h 100"/>
              <a:gd name="T60" fmla="*/ 2147483647 w 88"/>
              <a:gd name="T61" fmla="*/ 2147483647 h 10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88"/>
              <a:gd name="T94" fmla="*/ 0 h 100"/>
              <a:gd name="T95" fmla="*/ 88 w 88"/>
              <a:gd name="T96" fmla="*/ 100 h 100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88" h="100">
                <a:moveTo>
                  <a:pt x="26" y="100"/>
                </a:moveTo>
                <a:lnTo>
                  <a:pt x="20" y="94"/>
                </a:lnTo>
                <a:lnTo>
                  <a:pt x="8" y="88"/>
                </a:lnTo>
                <a:lnTo>
                  <a:pt x="8" y="76"/>
                </a:lnTo>
                <a:lnTo>
                  <a:pt x="14" y="72"/>
                </a:lnTo>
                <a:lnTo>
                  <a:pt x="18" y="64"/>
                </a:lnTo>
                <a:lnTo>
                  <a:pt x="18" y="58"/>
                </a:lnTo>
                <a:lnTo>
                  <a:pt x="14" y="58"/>
                </a:lnTo>
                <a:lnTo>
                  <a:pt x="10" y="62"/>
                </a:lnTo>
                <a:lnTo>
                  <a:pt x="6" y="62"/>
                </a:lnTo>
                <a:lnTo>
                  <a:pt x="0" y="58"/>
                </a:lnTo>
                <a:lnTo>
                  <a:pt x="0" y="48"/>
                </a:lnTo>
                <a:lnTo>
                  <a:pt x="2" y="38"/>
                </a:lnTo>
                <a:lnTo>
                  <a:pt x="6" y="26"/>
                </a:lnTo>
                <a:lnTo>
                  <a:pt x="10" y="18"/>
                </a:lnTo>
                <a:lnTo>
                  <a:pt x="14" y="12"/>
                </a:lnTo>
                <a:lnTo>
                  <a:pt x="22" y="6"/>
                </a:lnTo>
                <a:lnTo>
                  <a:pt x="32" y="0"/>
                </a:lnTo>
                <a:lnTo>
                  <a:pt x="58" y="16"/>
                </a:lnTo>
                <a:lnTo>
                  <a:pt x="70" y="16"/>
                </a:lnTo>
                <a:lnTo>
                  <a:pt x="88" y="22"/>
                </a:lnTo>
                <a:lnTo>
                  <a:pt x="86" y="30"/>
                </a:lnTo>
                <a:lnTo>
                  <a:pt x="86" y="40"/>
                </a:lnTo>
                <a:lnTo>
                  <a:pt x="82" y="48"/>
                </a:lnTo>
                <a:lnTo>
                  <a:pt x="76" y="56"/>
                </a:lnTo>
                <a:lnTo>
                  <a:pt x="68" y="62"/>
                </a:lnTo>
                <a:lnTo>
                  <a:pt x="52" y="68"/>
                </a:lnTo>
                <a:lnTo>
                  <a:pt x="46" y="74"/>
                </a:lnTo>
                <a:lnTo>
                  <a:pt x="40" y="82"/>
                </a:lnTo>
                <a:lnTo>
                  <a:pt x="36" y="92"/>
                </a:lnTo>
                <a:lnTo>
                  <a:pt x="26" y="10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8" name="Freeform 68">
            <a:extLst>
              <a:ext uri="{FF2B5EF4-FFF2-40B4-BE49-F238E27FC236}">
                <a16:creationId xmlns:a16="http://schemas.microsoft.com/office/drawing/2014/main" id="{A3C303C6-056C-9E13-455B-9E8060E26931}"/>
              </a:ext>
            </a:extLst>
          </p:cNvPr>
          <p:cNvSpPr>
            <a:spLocks/>
          </p:cNvSpPr>
          <p:nvPr/>
        </p:nvSpPr>
        <p:spPr bwMode="auto">
          <a:xfrm>
            <a:off x="3287185" y="4578351"/>
            <a:ext cx="31751" cy="38100"/>
          </a:xfrm>
          <a:custGeom>
            <a:avLst/>
            <a:gdLst>
              <a:gd name="T0" fmla="*/ 2147483647 w 20"/>
              <a:gd name="T1" fmla="*/ 0 h 16"/>
              <a:gd name="T2" fmla="*/ 2147483647 w 20"/>
              <a:gd name="T3" fmla="*/ 0 h 16"/>
              <a:gd name="T4" fmla="*/ 2147483647 w 20"/>
              <a:gd name="T5" fmla="*/ 2147483647 h 16"/>
              <a:gd name="T6" fmla="*/ 2147483647 w 20"/>
              <a:gd name="T7" fmla="*/ 2147483647 h 16"/>
              <a:gd name="T8" fmla="*/ 0 w 20"/>
              <a:gd name="T9" fmla="*/ 2147483647 h 16"/>
              <a:gd name="T10" fmla="*/ 2147483647 w 20"/>
              <a:gd name="T11" fmla="*/ 2147483647 h 16"/>
              <a:gd name="T12" fmla="*/ 2147483647 w 20"/>
              <a:gd name="T13" fmla="*/ 2147483647 h 16"/>
              <a:gd name="T14" fmla="*/ 2147483647 w 20"/>
              <a:gd name="T15" fmla="*/ 0 h 1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"/>
              <a:gd name="T25" fmla="*/ 0 h 16"/>
              <a:gd name="T26" fmla="*/ 20 w 20"/>
              <a:gd name="T27" fmla="*/ 16 h 1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" h="16">
                <a:moveTo>
                  <a:pt x="12" y="0"/>
                </a:moveTo>
                <a:lnTo>
                  <a:pt x="20" y="0"/>
                </a:lnTo>
                <a:lnTo>
                  <a:pt x="18" y="10"/>
                </a:lnTo>
                <a:lnTo>
                  <a:pt x="14" y="16"/>
                </a:lnTo>
                <a:lnTo>
                  <a:pt x="0" y="14"/>
                </a:lnTo>
                <a:lnTo>
                  <a:pt x="6" y="6"/>
                </a:lnTo>
                <a:lnTo>
                  <a:pt x="10" y="6"/>
                </a:lnTo>
                <a:lnTo>
                  <a:pt x="12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9" name="Freeform 69">
            <a:extLst>
              <a:ext uri="{FF2B5EF4-FFF2-40B4-BE49-F238E27FC236}">
                <a16:creationId xmlns:a16="http://schemas.microsoft.com/office/drawing/2014/main" id="{D893624B-41BF-E993-39E0-2FAC3C7E48B5}"/>
              </a:ext>
            </a:extLst>
          </p:cNvPr>
          <p:cNvSpPr>
            <a:spLocks/>
          </p:cNvSpPr>
          <p:nvPr/>
        </p:nvSpPr>
        <p:spPr bwMode="auto">
          <a:xfrm>
            <a:off x="2940051" y="4538134"/>
            <a:ext cx="406400" cy="357717"/>
          </a:xfrm>
          <a:custGeom>
            <a:avLst/>
            <a:gdLst>
              <a:gd name="T0" fmla="*/ 2147483647 w 210"/>
              <a:gd name="T1" fmla="*/ 2147483647 h 184"/>
              <a:gd name="T2" fmla="*/ 2147483647 w 210"/>
              <a:gd name="T3" fmla="*/ 0 h 184"/>
              <a:gd name="T4" fmla="*/ 2147483647 w 210"/>
              <a:gd name="T5" fmla="*/ 2147483647 h 184"/>
              <a:gd name="T6" fmla="*/ 2147483647 w 210"/>
              <a:gd name="T7" fmla="*/ 2147483647 h 184"/>
              <a:gd name="T8" fmla="*/ 2147483647 w 210"/>
              <a:gd name="T9" fmla="*/ 2147483647 h 184"/>
              <a:gd name="T10" fmla="*/ 2147483647 w 210"/>
              <a:gd name="T11" fmla="*/ 2147483647 h 184"/>
              <a:gd name="T12" fmla="*/ 2147483647 w 210"/>
              <a:gd name="T13" fmla="*/ 2147483647 h 184"/>
              <a:gd name="T14" fmla="*/ 2147483647 w 210"/>
              <a:gd name="T15" fmla="*/ 2147483647 h 184"/>
              <a:gd name="T16" fmla="*/ 2147483647 w 210"/>
              <a:gd name="T17" fmla="*/ 2147483647 h 184"/>
              <a:gd name="T18" fmla="*/ 2147483647 w 210"/>
              <a:gd name="T19" fmla="*/ 2147483647 h 184"/>
              <a:gd name="T20" fmla="*/ 2147483647 w 210"/>
              <a:gd name="T21" fmla="*/ 2147483647 h 184"/>
              <a:gd name="T22" fmla="*/ 2147483647 w 210"/>
              <a:gd name="T23" fmla="*/ 2147483647 h 184"/>
              <a:gd name="T24" fmla="*/ 2147483647 w 210"/>
              <a:gd name="T25" fmla="*/ 2147483647 h 184"/>
              <a:gd name="T26" fmla="*/ 2147483647 w 210"/>
              <a:gd name="T27" fmla="*/ 2147483647 h 184"/>
              <a:gd name="T28" fmla="*/ 2147483647 w 210"/>
              <a:gd name="T29" fmla="*/ 2147483647 h 184"/>
              <a:gd name="T30" fmla="*/ 2147483647 w 210"/>
              <a:gd name="T31" fmla="*/ 2147483647 h 184"/>
              <a:gd name="T32" fmla="*/ 2147483647 w 210"/>
              <a:gd name="T33" fmla="*/ 2147483647 h 184"/>
              <a:gd name="T34" fmla="*/ 2147483647 w 210"/>
              <a:gd name="T35" fmla="*/ 2147483647 h 184"/>
              <a:gd name="T36" fmla="*/ 2147483647 w 210"/>
              <a:gd name="T37" fmla="*/ 2147483647 h 184"/>
              <a:gd name="T38" fmla="*/ 2147483647 w 210"/>
              <a:gd name="T39" fmla="*/ 2147483647 h 184"/>
              <a:gd name="T40" fmla="*/ 2147483647 w 210"/>
              <a:gd name="T41" fmla="*/ 2147483647 h 184"/>
              <a:gd name="T42" fmla="*/ 2147483647 w 210"/>
              <a:gd name="T43" fmla="*/ 2147483647 h 184"/>
              <a:gd name="T44" fmla="*/ 2147483647 w 210"/>
              <a:gd name="T45" fmla="*/ 2147483647 h 184"/>
              <a:gd name="T46" fmla="*/ 2147483647 w 210"/>
              <a:gd name="T47" fmla="*/ 2147483647 h 184"/>
              <a:gd name="T48" fmla="*/ 2147483647 w 210"/>
              <a:gd name="T49" fmla="*/ 2147483647 h 184"/>
              <a:gd name="T50" fmla="*/ 2147483647 w 210"/>
              <a:gd name="T51" fmla="*/ 2147483647 h 184"/>
              <a:gd name="T52" fmla="*/ 2147483647 w 210"/>
              <a:gd name="T53" fmla="*/ 2147483647 h 184"/>
              <a:gd name="T54" fmla="*/ 2147483647 w 210"/>
              <a:gd name="T55" fmla="*/ 2147483647 h 184"/>
              <a:gd name="T56" fmla="*/ 2147483647 w 210"/>
              <a:gd name="T57" fmla="*/ 2147483647 h 184"/>
              <a:gd name="T58" fmla="*/ 2147483647 w 210"/>
              <a:gd name="T59" fmla="*/ 2147483647 h 184"/>
              <a:gd name="T60" fmla="*/ 2147483647 w 210"/>
              <a:gd name="T61" fmla="*/ 2147483647 h 184"/>
              <a:gd name="T62" fmla="*/ 2147483647 w 210"/>
              <a:gd name="T63" fmla="*/ 2147483647 h 184"/>
              <a:gd name="T64" fmla="*/ 2147483647 w 210"/>
              <a:gd name="T65" fmla="*/ 2147483647 h 184"/>
              <a:gd name="T66" fmla="*/ 2147483647 w 210"/>
              <a:gd name="T67" fmla="*/ 2147483647 h 184"/>
              <a:gd name="T68" fmla="*/ 2147483647 w 210"/>
              <a:gd name="T69" fmla="*/ 2147483647 h 184"/>
              <a:gd name="T70" fmla="*/ 0 w 210"/>
              <a:gd name="T71" fmla="*/ 2147483647 h 184"/>
              <a:gd name="T72" fmla="*/ 2147483647 w 210"/>
              <a:gd name="T73" fmla="*/ 2147483647 h 184"/>
              <a:gd name="T74" fmla="*/ 2147483647 w 210"/>
              <a:gd name="T75" fmla="*/ 2147483647 h 184"/>
              <a:gd name="T76" fmla="*/ 2147483647 w 210"/>
              <a:gd name="T77" fmla="*/ 2147483647 h 184"/>
              <a:gd name="T78" fmla="*/ 2147483647 w 210"/>
              <a:gd name="T79" fmla="*/ 2147483647 h 184"/>
              <a:gd name="T80" fmla="*/ 2147483647 w 210"/>
              <a:gd name="T81" fmla="*/ 2147483647 h 184"/>
              <a:gd name="T82" fmla="*/ 2147483647 w 210"/>
              <a:gd name="T83" fmla="*/ 2147483647 h 184"/>
              <a:gd name="T84" fmla="*/ 2147483647 w 210"/>
              <a:gd name="T85" fmla="*/ 2147483647 h 184"/>
              <a:gd name="T86" fmla="*/ 2147483647 w 210"/>
              <a:gd name="T87" fmla="*/ 2147483647 h 18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210"/>
              <a:gd name="T133" fmla="*/ 0 h 184"/>
              <a:gd name="T134" fmla="*/ 210 w 210"/>
              <a:gd name="T135" fmla="*/ 184 h 184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210" h="184">
                <a:moveTo>
                  <a:pt x="44" y="14"/>
                </a:moveTo>
                <a:lnTo>
                  <a:pt x="46" y="8"/>
                </a:lnTo>
                <a:lnTo>
                  <a:pt x="46" y="2"/>
                </a:lnTo>
                <a:lnTo>
                  <a:pt x="50" y="0"/>
                </a:lnTo>
                <a:lnTo>
                  <a:pt x="52" y="4"/>
                </a:lnTo>
                <a:lnTo>
                  <a:pt x="52" y="12"/>
                </a:lnTo>
                <a:lnTo>
                  <a:pt x="60" y="14"/>
                </a:lnTo>
                <a:lnTo>
                  <a:pt x="70" y="16"/>
                </a:lnTo>
                <a:lnTo>
                  <a:pt x="76" y="22"/>
                </a:lnTo>
                <a:lnTo>
                  <a:pt x="80" y="24"/>
                </a:lnTo>
                <a:lnTo>
                  <a:pt x="98" y="28"/>
                </a:lnTo>
                <a:lnTo>
                  <a:pt x="108" y="28"/>
                </a:lnTo>
                <a:lnTo>
                  <a:pt x="126" y="36"/>
                </a:lnTo>
                <a:lnTo>
                  <a:pt x="138" y="32"/>
                </a:lnTo>
                <a:lnTo>
                  <a:pt x="146" y="28"/>
                </a:lnTo>
                <a:lnTo>
                  <a:pt x="156" y="26"/>
                </a:lnTo>
                <a:lnTo>
                  <a:pt x="164" y="28"/>
                </a:lnTo>
                <a:lnTo>
                  <a:pt x="174" y="28"/>
                </a:lnTo>
                <a:lnTo>
                  <a:pt x="170" y="30"/>
                </a:lnTo>
                <a:lnTo>
                  <a:pt x="162" y="32"/>
                </a:lnTo>
                <a:lnTo>
                  <a:pt x="164" y="40"/>
                </a:lnTo>
                <a:lnTo>
                  <a:pt x="176" y="40"/>
                </a:lnTo>
                <a:lnTo>
                  <a:pt x="188" y="42"/>
                </a:lnTo>
                <a:lnTo>
                  <a:pt x="192" y="46"/>
                </a:lnTo>
                <a:lnTo>
                  <a:pt x="192" y="52"/>
                </a:lnTo>
                <a:lnTo>
                  <a:pt x="188" y="56"/>
                </a:lnTo>
                <a:lnTo>
                  <a:pt x="188" y="62"/>
                </a:lnTo>
                <a:lnTo>
                  <a:pt x="196" y="60"/>
                </a:lnTo>
                <a:lnTo>
                  <a:pt x="202" y="58"/>
                </a:lnTo>
                <a:lnTo>
                  <a:pt x="210" y="62"/>
                </a:lnTo>
                <a:lnTo>
                  <a:pt x="204" y="70"/>
                </a:lnTo>
                <a:lnTo>
                  <a:pt x="200" y="76"/>
                </a:lnTo>
                <a:lnTo>
                  <a:pt x="202" y="84"/>
                </a:lnTo>
                <a:lnTo>
                  <a:pt x="192" y="90"/>
                </a:lnTo>
                <a:lnTo>
                  <a:pt x="188" y="96"/>
                </a:lnTo>
                <a:lnTo>
                  <a:pt x="190" y="104"/>
                </a:lnTo>
                <a:lnTo>
                  <a:pt x="194" y="110"/>
                </a:lnTo>
                <a:lnTo>
                  <a:pt x="196" y="116"/>
                </a:lnTo>
                <a:lnTo>
                  <a:pt x="192" y="126"/>
                </a:lnTo>
                <a:lnTo>
                  <a:pt x="180" y="130"/>
                </a:lnTo>
                <a:lnTo>
                  <a:pt x="170" y="132"/>
                </a:lnTo>
                <a:lnTo>
                  <a:pt x="164" y="136"/>
                </a:lnTo>
                <a:lnTo>
                  <a:pt x="158" y="136"/>
                </a:lnTo>
                <a:lnTo>
                  <a:pt x="148" y="134"/>
                </a:lnTo>
                <a:lnTo>
                  <a:pt x="140" y="130"/>
                </a:lnTo>
                <a:lnTo>
                  <a:pt x="134" y="132"/>
                </a:lnTo>
                <a:lnTo>
                  <a:pt x="140" y="138"/>
                </a:lnTo>
                <a:lnTo>
                  <a:pt x="142" y="148"/>
                </a:lnTo>
                <a:lnTo>
                  <a:pt x="148" y="156"/>
                </a:lnTo>
                <a:lnTo>
                  <a:pt x="154" y="156"/>
                </a:lnTo>
                <a:lnTo>
                  <a:pt x="154" y="160"/>
                </a:lnTo>
                <a:lnTo>
                  <a:pt x="152" y="166"/>
                </a:lnTo>
                <a:lnTo>
                  <a:pt x="146" y="166"/>
                </a:lnTo>
                <a:lnTo>
                  <a:pt x="140" y="168"/>
                </a:lnTo>
                <a:lnTo>
                  <a:pt x="130" y="180"/>
                </a:lnTo>
                <a:lnTo>
                  <a:pt x="116" y="184"/>
                </a:lnTo>
                <a:lnTo>
                  <a:pt x="106" y="182"/>
                </a:lnTo>
                <a:lnTo>
                  <a:pt x="98" y="174"/>
                </a:lnTo>
                <a:lnTo>
                  <a:pt x="96" y="170"/>
                </a:lnTo>
                <a:lnTo>
                  <a:pt x="94" y="160"/>
                </a:lnTo>
                <a:lnTo>
                  <a:pt x="90" y="158"/>
                </a:lnTo>
                <a:lnTo>
                  <a:pt x="90" y="136"/>
                </a:lnTo>
                <a:lnTo>
                  <a:pt x="86" y="134"/>
                </a:lnTo>
                <a:lnTo>
                  <a:pt x="86" y="108"/>
                </a:lnTo>
                <a:lnTo>
                  <a:pt x="92" y="100"/>
                </a:lnTo>
                <a:lnTo>
                  <a:pt x="86" y="94"/>
                </a:lnTo>
                <a:lnTo>
                  <a:pt x="58" y="96"/>
                </a:lnTo>
                <a:lnTo>
                  <a:pt x="46" y="82"/>
                </a:lnTo>
                <a:lnTo>
                  <a:pt x="18" y="84"/>
                </a:lnTo>
                <a:lnTo>
                  <a:pt x="12" y="80"/>
                </a:lnTo>
                <a:lnTo>
                  <a:pt x="12" y="66"/>
                </a:lnTo>
                <a:lnTo>
                  <a:pt x="0" y="46"/>
                </a:lnTo>
                <a:lnTo>
                  <a:pt x="2" y="32"/>
                </a:lnTo>
                <a:lnTo>
                  <a:pt x="8" y="22"/>
                </a:lnTo>
                <a:lnTo>
                  <a:pt x="18" y="14"/>
                </a:lnTo>
                <a:lnTo>
                  <a:pt x="22" y="16"/>
                </a:lnTo>
                <a:lnTo>
                  <a:pt x="22" y="20"/>
                </a:lnTo>
                <a:lnTo>
                  <a:pt x="22" y="30"/>
                </a:lnTo>
                <a:lnTo>
                  <a:pt x="16" y="34"/>
                </a:lnTo>
                <a:lnTo>
                  <a:pt x="18" y="46"/>
                </a:lnTo>
                <a:lnTo>
                  <a:pt x="22" y="52"/>
                </a:lnTo>
                <a:lnTo>
                  <a:pt x="30" y="48"/>
                </a:lnTo>
                <a:lnTo>
                  <a:pt x="34" y="40"/>
                </a:lnTo>
                <a:lnTo>
                  <a:pt x="30" y="32"/>
                </a:lnTo>
                <a:lnTo>
                  <a:pt x="28" y="26"/>
                </a:lnTo>
                <a:lnTo>
                  <a:pt x="32" y="20"/>
                </a:lnTo>
                <a:lnTo>
                  <a:pt x="38" y="18"/>
                </a:lnTo>
                <a:lnTo>
                  <a:pt x="44" y="1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0" name="Freeform 70">
            <a:extLst>
              <a:ext uri="{FF2B5EF4-FFF2-40B4-BE49-F238E27FC236}">
                <a16:creationId xmlns:a16="http://schemas.microsoft.com/office/drawing/2014/main" id="{6D86CD5B-0D56-FBB0-EEBA-717353CC2413}"/>
              </a:ext>
            </a:extLst>
          </p:cNvPr>
          <p:cNvSpPr>
            <a:spLocks/>
          </p:cNvSpPr>
          <p:nvPr/>
        </p:nvSpPr>
        <p:spPr bwMode="auto">
          <a:xfrm>
            <a:off x="3306233" y="4654551"/>
            <a:ext cx="137584" cy="222251"/>
          </a:xfrm>
          <a:custGeom>
            <a:avLst/>
            <a:gdLst>
              <a:gd name="T0" fmla="*/ 2147483647 w 70"/>
              <a:gd name="T1" fmla="*/ 2147483647 h 114"/>
              <a:gd name="T2" fmla="*/ 2147483647 w 70"/>
              <a:gd name="T3" fmla="*/ 2147483647 h 114"/>
              <a:gd name="T4" fmla="*/ 2147483647 w 70"/>
              <a:gd name="T5" fmla="*/ 2147483647 h 114"/>
              <a:gd name="T6" fmla="*/ 2147483647 w 70"/>
              <a:gd name="T7" fmla="*/ 2147483647 h 114"/>
              <a:gd name="T8" fmla="*/ 2147483647 w 70"/>
              <a:gd name="T9" fmla="*/ 2147483647 h 114"/>
              <a:gd name="T10" fmla="*/ 2147483647 w 70"/>
              <a:gd name="T11" fmla="*/ 2147483647 h 114"/>
              <a:gd name="T12" fmla="*/ 2147483647 w 70"/>
              <a:gd name="T13" fmla="*/ 2147483647 h 114"/>
              <a:gd name="T14" fmla="*/ 2147483647 w 70"/>
              <a:gd name="T15" fmla="*/ 2147483647 h 114"/>
              <a:gd name="T16" fmla="*/ 2147483647 w 70"/>
              <a:gd name="T17" fmla="*/ 2147483647 h 114"/>
              <a:gd name="T18" fmla="*/ 2147483647 w 70"/>
              <a:gd name="T19" fmla="*/ 2147483647 h 114"/>
              <a:gd name="T20" fmla="*/ 2147483647 w 70"/>
              <a:gd name="T21" fmla="*/ 2147483647 h 114"/>
              <a:gd name="T22" fmla="*/ 2147483647 w 70"/>
              <a:gd name="T23" fmla="*/ 2147483647 h 114"/>
              <a:gd name="T24" fmla="*/ 2147483647 w 70"/>
              <a:gd name="T25" fmla="*/ 2147483647 h 114"/>
              <a:gd name="T26" fmla="*/ 2147483647 w 70"/>
              <a:gd name="T27" fmla="*/ 2147483647 h 114"/>
              <a:gd name="T28" fmla="*/ 2147483647 w 70"/>
              <a:gd name="T29" fmla="*/ 2147483647 h 114"/>
              <a:gd name="T30" fmla="*/ 2147483647 w 70"/>
              <a:gd name="T31" fmla="*/ 2147483647 h 114"/>
              <a:gd name="T32" fmla="*/ 2147483647 w 70"/>
              <a:gd name="T33" fmla="*/ 2147483647 h 114"/>
              <a:gd name="T34" fmla="*/ 2147483647 w 70"/>
              <a:gd name="T35" fmla="*/ 2147483647 h 114"/>
              <a:gd name="T36" fmla="*/ 2147483647 w 70"/>
              <a:gd name="T37" fmla="*/ 2147483647 h 114"/>
              <a:gd name="T38" fmla="*/ 2147483647 w 70"/>
              <a:gd name="T39" fmla="*/ 2147483647 h 114"/>
              <a:gd name="T40" fmla="*/ 2147483647 w 70"/>
              <a:gd name="T41" fmla="*/ 2147483647 h 114"/>
              <a:gd name="T42" fmla="*/ 2147483647 w 70"/>
              <a:gd name="T43" fmla="*/ 2147483647 h 114"/>
              <a:gd name="T44" fmla="*/ 2147483647 w 70"/>
              <a:gd name="T45" fmla="*/ 2147483647 h 114"/>
              <a:gd name="T46" fmla="*/ 2147483647 w 70"/>
              <a:gd name="T47" fmla="*/ 2147483647 h 114"/>
              <a:gd name="T48" fmla="*/ 2147483647 w 70"/>
              <a:gd name="T49" fmla="*/ 2147483647 h 114"/>
              <a:gd name="T50" fmla="*/ 2147483647 w 70"/>
              <a:gd name="T51" fmla="*/ 2147483647 h 114"/>
              <a:gd name="T52" fmla="*/ 2147483647 w 70"/>
              <a:gd name="T53" fmla="*/ 2147483647 h 114"/>
              <a:gd name="T54" fmla="*/ 0 w 70"/>
              <a:gd name="T55" fmla="*/ 2147483647 h 114"/>
              <a:gd name="T56" fmla="*/ 2147483647 w 70"/>
              <a:gd name="T57" fmla="*/ 2147483647 h 114"/>
              <a:gd name="T58" fmla="*/ 2147483647 w 70"/>
              <a:gd name="T59" fmla="*/ 2147483647 h 114"/>
              <a:gd name="T60" fmla="*/ 2147483647 w 70"/>
              <a:gd name="T61" fmla="*/ 2147483647 h 114"/>
              <a:gd name="T62" fmla="*/ 2147483647 w 70"/>
              <a:gd name="T63" fmla="*/ 2147483647 h 114"/>
              <a:gd name="T64" fmla="*/ 2147483647 w 70"/>
              <a:gd name="T65" fmla="*/ 0 h 114"/>
              <a:gd name="T66" fmla="*/ 2147483647 w 70"/>
              <a:gd name="T67" fmla="*/ 2147483647 h 114"/>
              <a:gd name="T68" fmla="*/ 2147483647 w 70"/>
              <a:gd name="T69" fmla="*/ 2147483647 h 114"/>
              <a:gd name="T70" fmla="*/ 2147483647 w 70"/>
              <a:gd name="T71" fmla="*/ 2147483647 h 114"/>
              <a:gd name="T72" fmla="*/ 2147483647 w 70"/>
              <a:gd name="T73" fmla="*/ 2147483647 h 114"/>
              <a:gd name="T74" fmla="*/ 2147483647 w 70"/>
              <a:gd name="T75" fmla="*/ 2147483647 h 114"/>
              <a:gd name="T76" fmla="*/ 2147483647 w 70"/>
              <a:gd name="T77" fmla="*/ 2147483647 h 114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70"/>
              <a:gd name="T118" fmla="*/ 0 h 114"/>
              <a:gd name="T119" fmla="*/ 70 w 70"/>
              <a:gd name="T120" fmla="*/ 114 h 114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70" h="114">
                <a:moveTo>
                  <a:pt x="42" y="30"/>
                </a:moveTo>
                <a:lnTo>
                  <a:pt x="50" y="24"/>
                </a:lnTo>
                <a:lnTo>
                  <a:pt x="58" y="30"/>
                </a:lnTo>
                <a:lnTo>
                  <a:pt x="66" y="40"/>
                </a:lnTo>
                <a:lnTo>
                  <a:pt x="64" y="48"/>
                </a:lnTo>
                <a:lnTo>
                  <a:pt x="60" y="54"/>
                </a:lnTo>
                <a:lnTo>
                  <a:pt x="54" y="62"/>
                </a:lnTo>
                <a:lnTo>
                  <a:pt x="52" y="72"/>
                </a:lnTo>
                <a:lnTo>
                  <a:pt x="56" y="76"/>
                </a:lnTo>
                <a:lnTo>
                  <a:pt x="60" y="82"/>
                </a:lnTo>
                <a:lnTo>
                  <a:pt x="64" y="86"/>
                </a:lnTo>
                <a:lnTo>
                  <a:pt x="66" y="90"/>
                </a:lnTo>
                <a:lnTo>
                  <a:pt x="70" y="100"/>
                </a:lnTo>
                <a:lnTo>
                  <a:pt x="66" y="104"/>
                </a:lnTo>
                <a:lnTo>
                  <a:pt x="58" y="108"/>
                </a:lnTo>
                <a:lnTo>
                  <a:pt x="52" y="112"/>
                </a:lnTo>
                <a:lnTo>
                  <a:pt x="42" y="114"/>
                </a:lnTo>
                <a:lnTo>
                  <a:pt x="34" y="114"/>
                </a:lnTo>
                <a:lnTo>
                  <a:pt x="26" y="106"/>
                </a:lnTo>
                <a:lnTo>
                  <a:pt x="20" y="98"/>
                </a:lnTo>
                <a:lnTo>
                  <a:pt x="20" y="90"/>
                </a:lnTo>
                <a:lnTo>
                  <a:pt x="20" y="78"/>
                </a:lnTo>
                <a:lnTo>
                  <a:pt x="26" y="72"/>
                </a:lnTo>
                <a:lnTo>
                  <a:pt x="22" y="62"/>
                </a:lnTo>
                <a:lnTo>
                  <a:pt x="18" y="50"/>
                </a:lnTo>
                <a:lnTo>
                  <a:pt x="6" y="50"/>
                </a:lnTo>
                <a:lnTo>
                  <a:pt x="2" y="42"/>
                </a:lnTo>
                <a:lnTo>
                  <a:pt x="0" y="34"/>
                </a:lnTo>
                <a:lnTo>
                  <a:pt x="4" y="28"/>
                </a:lnTo>
                <a:lnTo>
                  <a:pt x="14" y="22"/>
                </a:lnTo>
                <a:lnTo>
                  <a:pt x="12" y="14"/>
                </a:lnTo>
                <a:lnTo>
                  <a:pt x="16" y="8"/>
                </a:lnTo>
                <a:lnTo>
                  <a:pt x="22" y="0"/>
                </a:lnTo>
                <a:lnTo>
                  <a:pt x="28" y="2"/>
                </a:lnTo>
                <a:lnTo>
                  <a:pt x="34" y="6"/>
                </a:lnTo>
                <a:lnTo>
                  <a:pt x="42" y="12"/>
                </a:lnTo>
                <a:lnTo>
                  <a:pt x="44" y="16"/>
                </a:lnTo>
                <a:lnTo>
                  <a:pt x="44" y="22"/>
                </a:lnTo>
                <a:lnTo>
                  <a:pt x="42" y="3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1" name="Freeform 71">
            <a:extLst>
              <a:ext uri="{FF2B5EF4-FFF2-40B4-BE49-F238E27FC236}">
                <a16:creationId xmlns:a16="http://schemas.microsoft.com/office/drawing/2014/main" id="{4A378559-75AF-83F9-C1CA-AF0E231C8818}"/>
              </a:ext>
            </a:extLst>
          </p:cNvPr>
          <p:cNvSpPr>
            <a:spLocks/>
          </p:cNvSpPr>
          <p:nvPr/>
        </p:nvSpPr>
        <p:spPr bwMode="auto">
          <a:xfrm>
            <a:off x="3520017" y="4741334"/>
            <a:ext cx="86784" cy="116417"/>
          </a:xfrm>
          <a:custGeom>
            <a:avLst/>
            <a:gdLst>
              <a:gd name="T0" fmla="*/ 2147483647 w 48"/>
              <a:gd name="T1" fmla="*/ 0 h 60"/>
              <a:gd name="T2" fmla="*/ 2147483647 w 48"/>
              <a:gd name="T3" fmla="*/ 2147483647 h 60"/>
              <a:gd name="T4" fmla="*/ 2147483647 w 48"/>
              <a:gd name="T5" fmla="*/ 2147483647 h 60"/>
              <a:gd name="T6" fmla="*/ 2147483647 w 48"/>
              <a:gd name="T7" fmla="*/ 2147483647 h 60"/>
              <a:gd name="T8" fmla="*/ 2147483647 w 48"/>
              <a:gd name="T9" fmla="*/ 2147483647 h 60"/>
              <a:gd name="T10" fmla="*/ 2147483647 w 48"/>
              <a:gd name="T11" fmla="*/ 2147483647 h 60"/>
              <a:gd name="T12" fmla="*/ 2147483647 w 48"/>
              <a:gd name="T13" fmla="*/ 2147483647 h 60"/>
              <a:gd name="T14" fmla="*/ 2147483647 w 48"/>
              <a:gd name="T15" fmla="*/ 2147483647 h 60"/>
              <a:gd name="T16" fmla="*/ 2147483647 w 48"/>
              <a:gd name="T17" fmla="*/ 2147483647 h 60"/>
              <a:gd name="T18" fmla="*/ 2147483647 w 48"/>
              <a:gd name="T19" fmla="*/ 2147483647 h 60"/>
              <a:gd name="T20" fmla="*/ 2147483647 w 48"/>
              <a:gd name="T21" fmla="*/ 2147483647 h 60"/>
              <a:gd name="T22" fmla="*/ 2147483647 w 48"/>
              <a:gd name="T23" fmla="*/ 2147483647 h 60"/>
              <a:gd name="T24" fmla="*/ 2147483647 w 48"/>
              <a:gd name="T25" fmla="*/ 2147483647 h 60"/>
              <a:gd name="T26" fmla="*/ 2147483647 w 48"/>
              <a:gd name="T27" fmla="*/ 2147483647 h 60"/>
              <a:gd name="T28" fmla="*/ 2147483647 w 48"/>
              <a:gd name="T29" fmla="*/ 2147483647 h 60"/>
              <a:gd name="T30" fmla="*/ 2147483647 w 48"/>
              <a:gd name="T31" fmla="*/ 2147483647 h 60"/>
              <a:gd name="T32" fmla="*/ 2147483647 w 48"/>
              <a:gd name="T33" fmla="*/ 2147483647 h 60"/>
              <a:gd name="T34" fmla="*/ 0 w 48"/>
              <a:gd name="T35" fmla="*/ 2147483647 h 60"/>
              <a:gd name="T36" fmla="*/ 0 w 48"/>
              <a:gd name="T37" fmla="*/ 2147483647 h 60"/>
              <a:gd name="T38" fmla="*/ 2147483647 w 48"/>
              <a:gd name="T39" fmla="*/ 2147483647 h 60"/>
              <a:gd name="T40" fmla="*/ 2147483647 w 48"/>
              <a:gd name="T41" fmla="*/ 0 h 60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48"/>
              <a:gd name="T64" fmla="*/ 0 h 60"/>
              <a:gd name="T65" fmla="*/ 48 w 48"/>
              <a:gd name="T66" fmla="*/ 60 h 60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48" h="60">
                <a:moveTo>
                  <a:pt x="6" y="0"/>
                </a:moveTo>
                <a:lnTo>
                  <a:pt x="16" y="2"/>
                </a:lnTo>
                <a:lnTo>
                  <a:pt x="28" y="6"/>
                </a:lnTo>
                <a:lnTo>
                  <a:pt x="38" y="12"/>
                </a:lnTo>
                <a:lnTo>
                  <a:pt x="44" y="20"/>
                </a:lnTo>
                <a:lnTo>
                  <a:pt x="48" y="26"/>
                </a:lnTo>
                <a:lnTo>
                  <a:pt x="42" y="34"/>
                </a:lnTo>
                <a:lnTo>
                  <a:pt x="36" y="46"/>
                </a:lnTo>
                <a:lnTo>
                  <a:pt x="30" y="60"/>
                </a:lnTo>
                <a:lnTo>
                  <a:pt x="24" y="56"/>
                </a:lnTo>
                <a:lnTo>
                  <a:pt x="14" y="54"/>
                </a:lnTo>
                <a:lnTo>
                  <a:pt x="8" y="58"/>
                </a:lnTo>
                <a:lnTo>
                  <a:pt x="2" y="58"/>
                </a:lnTo>
                <a:lnTo>
                  <a:pt x="2" y="50"/>
                </a:lnTo>
                <a:lnTo>
                  <a:pt x="6" y="36"/>
                </a:lnTo>
                <a:lnTo>
                  <a:pt x="10" y="28"/>
                </a:lnTo>
                <a:lnTo>
                  <a:pt x="4" y="24"/>
                </a:lnTo>
                <a:lnTo>
                  <a:pt x="0" y="18"/>
                </a:lnTo>
                <a:lnTo>
                  <a:pt x="0" y="12"/>
                </a:lnTo>
                <a:lnTo>
                  <a:pt x="2" y="6"/>
                </a:lnTo>
                <a:lnTo>
                  <a:pt x="6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2" name="Freeform 72">
            <a:extLst>
              <a:ext uri="{FF2B5EF4-FFF2-40B4-BE49-F238E27FC236}">
                <a16:creationId xmlns:a16="http://schemas.microsoft.com/office/drawing/2014/main" id="{B62E9F5C-548E-7237-543D-0C56F15B03F0}"/>
              </a:ext>
            </a:extLst>
          </p:cNvPr>
          <p:cNvSpPr>
            <a:spLocks/>
          </p:cNvSpPr>
          <p:nvPr/>
        </p:nvSpPr>
        <p:spPr bwMode="auto">
          <a:xfrm>
            <a:off x="3414185" y="4730751"/>
            <a:ext cx="114300" cy="127000"/>
          </a:xfrm>
          <a:custGeom>
            <a:avLst/>
            <a:gdLst>
              <a:gd name="T0" fmla="*/ 2147483647 w 64"/>
              <a:gd name="T1" fmla="*/ 0 h 64"/>
              <a:gd name="T2" fmla="*/ 2147483647 w 64"/>
              <a:gd name="T3" fmla="*/ 0 h 64"/>
              <a:gd name="T4" fmla="*/ 2147483647 w 64"/>
              <a:gd name="T5" fmla="*/ 2147483647 h 64"/>
              <a:gd name="T6" fmla="*/ 2147483647 w 64"/>
              <a:gd name="T7" fmla="*/ 2147483647 h 64"/>
              <a:gd name="T8" fmla="*/ 2147483647 w 64"/>
              <a:gd name="T9" fmla="*/ 2147483647 h 64"/>
              <a:gd name="T10" fmla="*/ 2147483647 w 64"/>
              <a:gd name="T11" fmla="*/ 2147483647 h 64"/>
              <a:gd name="T12" fmla="*/ 2147483647 w 64"/>
              <a:gd name="T13" fmla="*/ 2147483647 h 64"/>
              <a:gd name="T14" fmla="*/ 2147483647 w 64"/>
              <a:gd name="T15" fmla="*/ 2147483647 h 64"/>
              <a:gd name="T16" fmla="*/ 2147483647 w 64"/>
              <a:gd name="T17" fmla="*/ 2147483647 h 64"/>
              <a:gd name="T18" fmla="*/ 2147483647 w 64"/>
              <a:gd name="T19" fmla="*/ 2147483647 h 64"/>
              <a:gd name="T20" fmla="*/ 2147483647 w 64"/>
              <a:gd name="T21" fmla="*/ 2147483647 h 64"/>
              <a:gd name="T22" fmla="*/ 2147483647 w 64"/>
              <a:gd name="T23" fmla="*/ 2147483647 h 64"/>
              <a:gd name="T24" fmla="*/ 2147483647 w 64"/>
              <a:gd name="T25" fmla="*/ 2147483647 h 64"/>
              <a:gd name="T26" fmla="*/ 2147483647 w 64"/>
              <a:gd name="T27" fmla="*/ 2147483647 h 64"/>
              <a:gd name="T28" fmla="*/ 2147483647 w 64"/>
              <a:gd name="T29" fmla="*/ 2147483647 h 64"/>
              <a:gd name="T30" fmla="*/ 2147483647 w 64"/>
              <a:gd name="T31" fmla="*/ 2147483647 h 64"/>
              <a:gd name="T32" fmla="*/ 2147483647 w 64"/>
              <a:gd name="T33" fmla="*/ 2147483647 h 64"/>
              <a:gd name="T34" fmla="*/ 2147483647 w 64"/>
              <a:gd name="T35" fmla="*/ 2147483647 h 64"/>
              <a:gd name="T36" fmla="*/ 2147483647 w 64"/>
              <a:gd name="T37" fmla="*/ 2147483647 h 64"/>
              <a:gd name="T38" fmla="*/ 2147483647 w 64"/>
              <a:gd name="T39" fmla="*/ 2147483647 h 64"/>
              <a:gd name="T40" fmla="*/ 2147483647 w 64"/>
              <a:gd name="T41" fmla="*/ 2147483647 h 64"/>
              <a:gd name="T42" fmla="*/ 2147483647 w 64"/>
              <a:gd name="T43" fmla="*/ 2147483647 h 64"/>
              <a:gd name="T44" fmla="*/ 2147483647 w 64"/>
              <a:gd name="T45" fmla="*/ 2147483647 h 64"/>
              <a:gd name="T46" fmla="*/ 2147483647 w 64"/>
              <a:gd name="T47" fmla="*/ 2147483647 h 64"/>
              <a:gd name="T48" fmla="*/ 0 w 64"/>
              <a:gd name="T49" fmla="*/ 2147483647 h 64"/>
              <a:gd name="T50" fmla="*/ 2147483647 w 64"/>
              <a:gd name="T51" fmla="*/ 2147483647 h 64"/>
              <a:gd name="T52" fmla="*/ 2147483647 w 64"/>
              <a:gd name="T53" fmla="*/ 2147483647 h 64"/>
              <a:gd name="T54" fmla="*/ 2147483647 w 64"/>
              <a:gd name="T55" fmla="*/ 2147483647 h 64"/>
              <a:gd name="T56" fmla="*/ 2147483647 w 64"/>
              <a:gd name="T57" fmla="*/ 0 h 6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64"/>
              <a:gd name="T88" fmla="*/ 0 h 64"/>
              <a:gd name="T89" fmla="*/ 64 w 64"/>
              <a:gd name="T90" fmla="*/ 64 h 64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64" h="64">
                <a:moveTo>
                  <a:pt x="14" y="0"/>
                </a:moveTo>
                <a:lnTo>
                  <a:pt x="22" y="0"/>
                </a:lnTo>
                <a:lnTo>
                  <a:pt x="32" y="2"/>
                </a:lnTo>
                <a:lnTo>
                  <a:pt x="36" y="2"/>
                </a:lnTo>
                <a:lnTo>
                  <a:pt x="42" y="2"/>
                </a:lnTo>
                <a:lnTo>
                  <a:pt x="48" y="2"/>
                </a:lnTo>
                <a:lnTo>
                  <a:pt x="54" y="2"/>
                </a:lnTo>
                <a:lnTo>
                  <a:pt x="60" y="2"/>
                </a:lnTo>
                <a:lnTo>
                  <a:pt x="54" y="14"/>
                </a:lnTo>
                <a:lnTo>
                  <a:pt x="54" y="20"/>
                </a:lnTo>
                <a:lnTo>
                  <a:pt x="58" y="26"/>
                </a:lnTo>
                <a:lnTo>
                  <a:pt x="64" y="30"/>
                </a:lnTo>
                <a:lnTo>
                  <a:pt x="56" y="52"/>
                </a:lnTo>
                <a:lnTo>
                  <a:pt x="56" y="60"/>
                </a:lnTo>
                <a:lnTo>
                  <a:pt x="50" y="58"/>
                </a:lnTo>
                <a:lnTo>
                  <a:pt x="42" y="56"/>
                </a:lnTo>
                <a:lnTo>
                  <a:pt x="36" y="54"/>
                </a:lnTo>
                <a:lnTo>
                  <a:pt x="32" y="54"/>
                </a:lnTo>
                <a:lnTo>
                  <a:pt x="32" y="60"/>
                </a:lnTo>
                <a:lnTo>
                  <a:pt x="30" y="64"/>
                </a:lnTo>
                <a:lnTo>
                  <a:pt x="28" y="64"/>
                </a:lnTo>
                <a:lnTo>
                  <a:pt x="22" y="64"/>
                </a:lnTo>
                <a:lnTo>
                  <a:pt x="18" y="60"/>
                </a:lnTo>
                <a:lnTo>
                  <a:pt x="12" y="46"/>
                </a:lnTo>
                <a:lnTo>
                  <a:pt x="0" y="32"/>
                </a:lnTo>
                <a:lnTo>
                  <a:pt x="2" y="22"/>
                </a:lnTo>
                <a:lnTo>
                  <a:pt x="8" y="14"/>
                </a:lnTo>
                <a:lnTo>
                  <a:pt x="12" y="8"/>
                </a:lnTo>
                <a:lnTo>
                  <a:pt x="14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3" name="Freeform 73">
            <a:extLst>
              <a:ext uri="{FF2B5EF4-FFF2-40B4-BE49-F238E27FC236}">
                <a16:creationId xmlns:a16="http://schemas.microsoft.com/office/drawing/2014/main" id="{ADF5F6C1-3212-6DC1-3EE8-B744D74166F5}"/>
              </a:ext>
            </a:extLst>
          </p:cNvPr>
          <p:cNvSpPr>
            <a:spLocks/>
          </p:cNvSpPr>
          <p:nvPr/>
        </p:nvSpPr>
        <p:spPr bwMode="auto">
          <a:xfrm>
            <a:off x="2679701" y="4925484"/>
            <a:ext cx="395817" cy="569384"/>
          </a:xfrm>
          <a:custGeom>
            <a:avLst/>
            <a:gdLst>
              <a:gd name="T0" fmla="*/ 2147483647 w 198"/>
              <a:gd name="T1" fmla="*/ 2147483647 h 292"/>
              <a:gd name="T2" fmla="*/ 2147483647 w 198"/>
              <a:gd name="T3" fmla="*/ 2147483647 h 292"/>
              <a:gd name="T4" fmla="*/ 2147483647 w 198"/>
              <a:gd name="T5" fmla="*/ 2147483647 h 292"/>
              <a:gd name="T6" fmla="*/ 2147483647 w 198"/>
              <a:gd name="T7" fmla="*/ 2147483647 h 292"/>
              <a:gd name="T8" fmla="*/ 2147483647 w 198"/>
              <a:gd name="T9" fmla="*/ 2147483647 h 292"/>
              <a:gd name="T10" fmla="*/ 2147483647 w 198"/>
              <a:gd name="T11" fmla="*/ 2147483647 h 292"/>
              <a:gd name="T12" fmla="*/ 2147483647 w 198"/>
              <a:gd name="T13" fmla="*/ 2147483647 h 292"/>
              <a:gd name="T14" fmla="*/ 2147483647 w 198"/>
              <a:gd name="T15" fmla="*/ 2147483647 h 292"/>
              <a:gd name="T16" fmla="*/ 2147483647 w 198"/>
              <a:gd name="T17" fmla="*/ 2147483647 h 292"/>
              <a:gd name="T18" fmla="*/ 2147483647 w 198"/>
              <a:gd name="T19" fmla="*/ 2147483647 h 292"/>
              <a:gd name="T20" fmla="*/ 2147483647 w 198"/>
              <a:gd name="T21" fmla="*/ 2147483647 h 292"/>
              <a:gd name="T22" fmla="*/ 2147483647 w 198"/>
              <a:gd name="T23" fmla="*/ 2147483647 h 292"/>
              <a:gd name="T24" fmla="*/ 2147483647 w 198"/>
              <a:gd name="T25" fmla="*/ 2147483647 h 292"/>
              <a:gd name="T26" fmla="*/ 2147483647 w 198"/>
              <a:gd name="T27" fmla="*/ 2147483647 h 292"/>
              <a:gd name="T28" fmla="*/ 2147483647 w 198"/>
              <a:gd name="T29" fmla="*/ 2147483647 h 292"/>
              <a:gd name="T30" fmla="*/ 2147483647 w 198"/>
              <a:gd name="T31" fmla="*/ 2147483647 h 292"/>
              <a:gd name="T32" fmla="*/ 2147483647 w 198"/>
              <a:gd name="T33" fmla="*/ 2147483647 h 292"/>
              <a:gd name="T34" fmla="*/ 2147483647 w 198"/>
              <a:gd name="T35" fmla="*/ 2147483647 h 292"/>
              <a:gd name="T36" fmla="*/ 2147483647 w 198"/>
              <a:gd name="T37" fmla="*/ 2147483647 h 292"/>
              <a:gd name="T38" fmla="*/ 2147483647 w 198"/>
              <a:gd name="T39" fmla="*/ 2147483647 h 292"/>
              <a:gd name="T40" fmla="*/ 2147483647 w 198"/>
              <a:gd name="T41" fmla="*/ 2147483647 h 292"/>
              <a:gd name="T42" fmla="*/ 2147483647 w 198"/>
              <a:gd name="T43" fmla="*/ 2147483647 h 292"/>
              <a:gd name="T44" fmla="*/ 2147483647 w 198"/>
              <a:gd name="T45" fmla="*/ 2147483647 h 292"/>
              <a:gd name="T46" fmla="*/ 2147483647 w 198"/>
              <a:gd name="T47" fmla="*/ 2147483647 h 292"/>
              <a:gd name="T48" fmla="*/ 2147483647 w 198"/>
              <a:gd name="T49" fmla="*/ 2147483647 h 292"/>
              <a:gd name="T50" fmla="*/ 2147483647 w 198"/>
              <a:gd name="T51" fmla="*/ 2147483647 h 292"/>
              <a:gd name="T52" fmla="*/ 2147483647 w 198"/>
              <a:gd name="T53" fmla="*/ 2147483647 h 292"/>
              <a:gd name="T54" fmla="*/ 2147483647 w 198"/>
              <a:gd name="T55" fmla="*/ 2147483647 h 292"/>
              <a:gd name="T56" fmla="*/ 2147483647 w 198"/>
              <a:gd name="T57" fmla="*/ 2147483647 h 292"/>
              <a:gd name="T58" fmla="*/ 2147483647 w 198"/>
              <a:gd name="T59" fmla="*/ 2147483647 h 292"/>
              <a:gd name="T60" fmla="*/ 2147483647 w 198"/>
              <a:gd name="T61" fmla="*/ 2147483647 h 292"/>
              <a:gd name="T62" fmla="*/ 2147483647 w 198"/>
              <a:gd name="T63" fmla="*/ 2147483647 h 292"/>
              <a:gd name="T64" fmla="*/ 2147483647 w 198"/>
              <a:gd name="T65" fmla="*/ 2147483647 h 292"/>
              <a:gd name="T66" fmla="*/ 2147483647 w 198"/>
              <a:gd name="T67" fmla="*/ 2147483647 h 292"/>
              <a:gd name="T68" fmla="*/ 2147483647 w 198"/>
              <a:gd name="T69" fmla="*/ 2147483647 h 292"/>
              <a:gd name="T70" fmla="*/ 2147483647 w 198"/>
              <a:gd name="T71" fmla="*/ 2147483647 h 292"/>
              <a:gd name="T72" fmla="*/ 2147483647 w 198"/>
              <a:gd name="T73" fmla="*/ 2147483647 h 292"/>
              <a:gd name="T74" fmla="*/ 2147483647 w 198"/>
              <a:gd name="T75" fmla="*/ 2147483647 h 292"/>
              <a:gd name="T76" fmla="*/ 2147483647 w 198"/>
              <a:gd name="T77" fmla="*/ 2147483647 h 292"/>
              <a:gd name="T78" fmla="*/ 2147483647 w 198"/>
              <a:gd name="T79" fmla="*/ 2147483647 h 292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98"/>
              <a:gd name="T121" fmla="*/ 0 h 292"/>
              <a:gd name="T122" fmla="*/ 198 w 198"/>
              <a:gd name="T123" fmla="*/ 292 h 292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98" h="292">
                <a:moveTo>
                  <a:pt x="2" y="68"/>
                </a:moveTo>
                <a:lnTo>
                  <a:pt x="6" y="60"/>
                </a:lnTo>
                <a:lnTo>
                  <a:pt x="10" y="54"/>
                </a:lnTo>
                <a:lnTo>
                  <a:pt x="16" y="54"/>
                </a:lnTo>
                <a:lnTo>
                  <a:pt x="16" y="66"/>
                </a:lnTo>
                <a:lnTo>
                  <a:pt x="24" y="68"/>
                </a:lnTo>
                <a:lnTo>
                  <a:pt x="34" y="78"/>
                </a:lnTo>
                <a:lnTo>
                  <a:pt x="44" y="70"/>
                </a:lnTo>
                <a:lnTo>
                  <a:pt x="48" y="60"/>
                </a:lnTo>
                <a:lnTo>
                  <a:pt x="54" y="52"/>
                </a:lnTo>
                <a:lnTo>
                  <a:pt x="60" y="46"/>
                </a:lnTo>
                <a:lnTo>
                  <a:pt x="72" y="40"/>
                </a:lnTo>
                <a:lnTo>
                  <a:pt x="80" y="36"/>
                </a:lnTo>
                <a:lnTo>
                  <a:pt x="84" y="34"/>
                </a:lnTo>
                <a:lnTo>
                  <a:pt x="90" y="26"/>
                </a:lnTo>
                <a:lnTo>
                  <a:pt x="94" y="18"/>
                </a:lnTo>
                <a:lnTo>
                  <a:pt x="96" y="0"/>
                </a:lnTo>
                <a:lnTo>
                  <a:pt x="104" y="2"/>
                </a:lnTo>
                <a:lnTo>
                  <a:pt x="110" y="10"/>
                </a:lnTo>
                <a:lnTo>
                  <a:pt x="114" y="14"/>
                </a:lnTo>
                <a:lnTo>
                  <a:pt x="120" y="20"/>
                </a:lnTo>
                <a:lnTo>
                  <a:pt x="126" y="26"/>
                </a:lnTo>
                <a:lnTo>
                  <a:pt x="130" y="34"/>
                </a:lnTo>
                <a:lnTo>
                  <a:pt x="172" y="36"/>
                </a:lnTo>
                <a:lnTo>
                  <a:pt x="174" y="42"/>
                </a:lnTo>
                <a:lnTo>
                  <a:pt x="176" y="48"/>
                </a:lnTo>
                <a:lnTo>
                  <a:pt x="172" y="54"/>
                </a:lnTo>
                <a:lnTo>
                  <a:pt x="172" y="64"/>
                </a:lnTo>
                <a:lnTo>
                  <a:pt x="178" y="68"/>
                </a:lnTo>
                <a:lnTo>
                  <a:pt x="172" y="68"/>
                </a:lnTo>
                <a:lnTo>
                  <a:pt x="156" y="70"/>
                </a:lnTo>
                <a:lnTo>
                  <a:pt x="142" y="76"/>
                </a:lnTo>
                <a:lnTo>
                  <a:pt x="132" y="88"/>
                </a:lnTo>
                <a:lnTo>
                  <a:pt x="130" y="98"/>
                </a:lnTo>
                <a:lnTo>
                  <a:pt x="124" y="104"/>
                </a:lnTo>
                <a:lnTo>
                  <a:pt x="116" y="116"/>
                </a:lnTo>
                <a:lnTo>
                  <a:pt x="120" y="126"/>
                </a:lnTo>
                <a:lnTo>
                  <a:pt x="124" y="138"/>
                </a:lnTo>
                <a:lnTo>
                  <a:pt x="134" y="148"/>
                </a:lnTo>
                <a:lnTo>
                  <a:pt x="144" y="158"/>
                </a:lnTo>
                <a:lnTo>
                  <a:pt x="152" y="160"/>
                </a:lnTo>
                <a:lnTo>
                  <a:pt x="162" y="156"/>
                </a:lnTo>
                <a:lnTo>
                  <a:pt x="170" y="148"/>
                </a:lnTo>
                <a:lnTo>
                  <a:pt x="172" y="154"/>
                </a:lnTo>
                <a:lnTo>
                  <a:pt x="168" y="166"/>
                </a:lnTo>
                <a:lnTo>
                  <a:pt x="170" y="172"/>
                </a:lnTo>
                <a:lnTo>
                  <a:pt x="176" y="172"/>
                </a:lnTo>
                <a:lnTo>
                  <a:pt x="188" y="174"/>
                </a:lnTo>
                <a:lnTo>
                  <a:pt x="198" y="200"/>
                </a:lnTo>
                <a:lnTo>
                  <a:pt x="198" y="208"/>
                </a:lnTo>
                <a:lnTo>
                  <a:pt x="196" y="222"/>
                </a:lnTo>
                <a:lnTo>
                  <a:pt x="196" y="228"/>
                </a:lnTo>
                <a:lnTo>
                  <a:pt x="194" y="230"/>
                </a:lnTo>
                <a:lnTo>
                  <a:pt x="190" y="240"/>
                </a:lnTo>
                <a:lnTo>
                  <a:pt x="188" y="250"/>
                </a:lnTo>
                <a:lnTo>
                  <a:pt x="192" y="256"/>
                </a:lnTo>
                <a:lnTo>
                  <a:pt x="198" y="262"/>
                </a:lnTo>
                <a:lnTo>
                  <a:pt x="194" y="268"/>
                </a:lnTo>
                <a:lnTo>
                  <a:pt x="186" y="276"/>
                </a:lnTo>
                <a:lnTo>
                  <a:pt x="184" y="282"/>
                </a:lnTo>
                <a:lnTo>
                  <a:pt x="180" y="290"/>
                </a:lnTo>
                <a:lnTo>
                  <a:pt x="174" y="292"/>
                </a:lnTo>
                <a:lnTo>
                  <a:pt x="158" y="278"/>
                </a:lnTo>
                <a:lnTo>
                  <a:pt x="140" y="268"/>
                </a:lnTo>
                <a:lnTo>
                  <a:pt x="118" y="258"/>
                </a:lnTo>
                <a:lnTo>
                  <a:pt x="100" y="248"/>
                </a:lnTo>
                <a:lnTo>
                  <a:pt x="90" y="236"/>
                </a:lnTo>
                <a:lnTo>
                  <a:pt x="76" y="222"/>
                </a:lnTo>
                <a:lnTo>
                  <a:pt x="82" y="214"/>
                </a:lnTo>
                <a:lnTo>
                  <a:pt x="72" y="198"/>
                </a:lnTo>
                <a:lnTo>
                  <a:pt x="64" y="186"/>
                </a:lnTo>
                <a:lnTo>
                  <a:pt x="56" y="172"/>
                </a:lnTo>
                <a:lnTo>
                  <a:pt x="48" y="152"/>
                </a:lnTo>
                <a:lnTo>
                  <a:pt x="36" y="132"/>
                </a:lnTo>
                <a:lnTo>
                  <a:pt x="26" y="112"/>
                </a:lnTo>
                <a:lnTo>
                  <a:pt x="16" y="102"/>
                </a:lnTo>
                <a:lnTo>
                  <a:pt x="4" y="96"/>
                </a:lnTo>
                <a:lnTo>
                  <a:pt x="6" y="84"/>
                </a:lnTo>
                <a:lnTo>
                  <a:pt x="0" y="78"/>
                </a:lnTo>
                <a:lnTo>
                  <a:pt x="2" y="6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4" name="Freeform 74">
            <a:extLst>
              <a:ext uri="{FF2B5EF4-FFF2-40B4-BE49-F238E27FC236}">
                <a16:creationId xmlns:a16="http://schemas.microsoft.com/office/drawing/2014/main" id="{3FEAC175-8135-DFE2-1014-0ED780F14915}"/>
              </a:ext>
            </a:extLst>
          </p:cNvPr>
          <p:cNvSpPr>
            <a:spLocks/>
          </p:cNvSpPr>
          <p:nvPr/>
        </p:nvSpPr>
        <p:spPr bwMode="auto">
          <a:xfrm>
            <a:off x="3056465" y="5223933"/>
            <a:ext cx="366184" cy="425451"/>
          </a:xfrm>
          <a:custGeom>
            <a:avLst/>
            <a:gdLst>
              <a:gd name="T0" fmla="*/ 2147483647 w 188"/>
              <a:gd name="T1" fmla="*/ 0 h 214"/>
              <a:gd name="T2" fmla="*/ 2147483647 w 188"/>
              <a:gd name="T3" fmla="*/ 2147483647 h 214"/>
              <a:gd name="T4" fmla="*/ 2147483647 w 188"/>
              <a:gd name="T5" fmla="*/ 2147483647 h 214"/>
              <a:gd name="T6" fmla="*/ 2147483647 w 188"/>
              <a:gd name="T7" fmla="*/ 2147483647 h 214"/>
              <a:gd name="T8" fmla="*/ 2147483647 w 188"/>
              <a:gd name="T9" fmla="*/ 2147483647 h 214"/>
              <a:gd name="T10" fmla="*/ 2147483647 w 188"/>
              <a:gd name="T11" fmla="*/ 2147483647 h 214"/>
              <a:gd name="T12" fmla="*/ 2147483647 w 188"/>
              <a:gd name="T13" fmla="*/ 2147483647 h 214"/>
              <a:gd name="T14" fmla="*/ 2147483647 w 188"/>
              <a:gd name="T15" fmla="*/ 2147483647 h 214"/>
              <a:gd name="T16" fmla="*/ 2147483647 w 188"/>
              <a:gd name="T17" fmla="*/ 2147483647 h 214"/>
              <a:gd name="T18" fmla="*/ 2147483647 w 188"/>
              <a:gd name="T19" fmla="*/ 2147483647 h 214"/>
              <a:gd name="T20" fmla="*/ 2147483647 w 188"/>
              <a:gd name="T21" fmla="*/ 2147483647 h 214"/>
              <a:gd name="T22" fmla="*/ 2147483647 w 188"/>
              <a:gd name="T23" fmla="*/ 2147483647 h 214"/>
              <a:gd name="T24" fmla="*/ 2147483647 w 188"/>
              <a:gd name="T25" fmla="*/ 2147483647 h 214"/>
              <a:gd name="T26" fmla="*/ 2147483647 w 188"/>
              <a:gd name="T27" fmla="*/ 2147483647 h 214"/>
              <a:gd name="T28" fmla="*/ 2147483647 w 188"/>
              <a:gd name="T29" fmla="*/ 2147483647 h 214"/>
              <a:gd name="T30" fmla="*/ 2147483647 w 188"/>
              <a:gd name="T31" fmla="*/ 2147483647 h 214"/>
              <a:gd name="T32" fmla="*/ 2147483647 w 188"/>
              <a:gd name="T33" fmla="*/ 2147483647 h 214"/>
              <a:gd name="T34" fmla="*/ 2147483647 w 188"/>
              <a:gd name="T35" fmla="*/ 2147483647 h 214"/>
              <a:gd name="T36" fmla="*/ 2147483647 w 188"/>
              <a:gd name="T37" fmla="*/ 2147483647 h 214"/>
              <a:gd name="T38" fmla="*/ 2147483647 w 188"/>
              <a:gd name="T39" fmla="*/ 2147483647 h 214"/>
              <a:gd name="T40" fmla="*/ 2147483647 w 188"/>
              <a:gd name="T41" fmla="*/ 2147483647 h 214"/>
              <a:gd name="T42" fmla="*/ 2147483647 w 188"/>
              <a:gd name="T43" fmla="*/ 2147483647 h 214"/>
              <a:gd name="T44" fmla="*/ 2147483647 w 188"/>
              <a:gd name="T45" fmla="*/ 2147483647 h 214"/>
              <a:gd name="T46" fmla="*/ 2147483647 w 188"/>
              <a:gd name="T47" fmla="*/ 2147483647 h 214"/>
              <a:gd name="T48" fmla="*/ 2147483647 w 188"/>
              <a:gd name="T49" fmla="*/ 2147483647 h 214"/>
              <a:gd name="T50" fmla="*/ 2147483647 w 188"/>
              <a:gd name="T51" fmla="*/ 2147483647 h 214"/>
              <a:gd name="T52" fmla="*/ 2147483647 w 188"/>
              <a:gd name="T53" fmla="*/ 2147483647 h 214"/>
              <a:gd name="T54" fmla="*/ 2147483647 w 188"/>
              <a:gd name="T55" fmla="*/ 2147483647 h 214"/>
              <a:gd name="T56" fmla="*/ 2147483647 w 188"/>
              <a:gd name="T57" fmla="*/ 2147483647 h 214"/>
              <a:gd name="T58" fmla="*/ 2147483647 w 188"/>
              <a:gd name="T59" fmla="*/ 2147483647 h 214"/>
              <a:gd name="T60" fmla="*/ 2147483647 w 188"/>
              <a:gd name="T61" fmla="*/ 2147483647 h 214"/>
              <a:gd name="T62" fmla="*/ 2147483647 w 188"/>
              <a:gd name="T63" fmla="*/ 2147483647 h 21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88"/>
              <a:gd name="T97" fmla="*/ 0 h 214"/>
              <a:gd name="T98" fmla="*/ 188 w 188"/>
              <a:gd name="T99" fmla="*/ 214 h 21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88" h="214">
                <a:moveTo>
                  <a:pt x="42" y="4"/>
                </a:moveTo>
                <a:lnTo>
                  <a:pt x="54" y="0"/>
                </a:lnTo>
                <a:lnTo>
                  <a:pt x="66" y="0"/>
                </a:lnTo>
                <a:lnTo>
                  <a:pt x="68" y="28"/>
                </a:lnTo>
                <a:lnTo>
                  <a:pt x="80" y="40"/>
                </a:lnTo>
                <a:lnTo>
                  <a:pt x="100" y="44"/>
                </a:lnTo>
                <a:lnTo>
                  <a:pt x="104" y="50"/>
                </a:lnTo>
                <a:lnTo>
                  <a:pt x="122" y="56"/>
                </a:lnTo>
                <a:lnTo>
                  <a:pt x="142" y="62"/>
                </a:lnTo>
                <a:lnTo>
                  <a:pt x="146" y="74"/>
                </a:lnTo>
                <a:lnTo>
                  <a:pt x="148" y="82"/>
                </a:lnTo>
                <a:lnTo>
                  <a:pt x="146" y="90"/>
                </a:lnTo>
                <a:lnTo>
                  <a:pt x="148" y="102"/>
                </a:lnTo>
                <a:lnTo>
                  <a:pt x="160" y="102"/>
                </a:lnTo>
                <a:lnTo>
                  <a:pt x="176" y="102"/>
                </a:lnTo>
                <a:lnTo>
                  <a:pt x="174" y="110"/>
                </a:lnTo>
                <a:lnTo>
                  <a:pt x="176" y="122"/>
                </a:lnTo>
                <a:lnTo>
                  <a:pt x="186" y="126"/>
                </a:lnTo>
                <a:lnTo>
                  <a:pt x="188" y="136"/>
                </a:lnTo>
                <a:lnTo>
                  <a:pt x="188" y="142"/>
                </a:lnTo>
                <a:lnTo>
                  <a:pt x="180" y="156"/>
                </a:lnTo>
                <a:lnTo>
                  <a:pt x="184" y="162"/>
                </a:lnTo>
                <a:lnTo>
                  <a:pt x="180" y="166"/>
                </a:lnTo>
                <a:lnTo>
                  <a:pt x="174" y="160"/>
                </a:lnTo>
                <a:lnTo>
                  <a:pt x="164" y="154"/>
                </a:lnTo>
                <a:lnTo>
                  <a:pt x="152" y="152"/>
                </a:lnTo>
                <a:lnTo>
                  <a:pt x="136" y="154"/>
                </a:lnTo>
                <a:lnTo>
                  <a:pt x="126" y="158"/>
                </a:lnTo>
                <a:lnTo>
                  <a:pt x="120" y="160"/>
                </a:lnTo>
                <a:lnTo>
                  <a:pt x="114" y="174"/>
                </a:lnTo>
                <a:lnTo>
                  <a:pt x="114" y="184"/>
                </a:lnTo>
                <a:lnTo>
                  <a:pt x="112" y="194"/>
                </a:lnTo>
                <a:lnTo>
                  <a:pt x="108" y="198"/>
                </a:lnTo>
                <a:lnTo>
                  <a:pt x="90" y="198"/>
                </a:lnTo>
                <a:lnTo>
                  <a:pt x="84" y="212"/>
                </a:lnTo>
                <a:lnTo>
                  <a:pt x="74" y="200"/>
                </a:lnTo>
                <a:lnTo>
                  <a:pt x="60" y="202"/>
                </a:lnTo>
                <a:lnTo>
                  <a:pt x="52" y="196"/>
                </a:lnTo>
                <a:lnTo>
                  <a:pt x="44" y="202"/>
                </a:lnTo>
                <a:lnTo>
                  <a:pt x="40" y="210"/>
                </a:lnTo>
                <a:lnTo>
                  <a:pt x="38" y="214"/>
                </a:lnTo>
                <a:lnTo>
                  <a:pt x="32" y="214"/>
                </a:lnTo>
                <a:lnTo>
                  <a:pt x="30" y="214"/>
                </a:lnTo>
                <a:lnTo>
                  <a:pt x="28" y="214"/>
                </a:lnTo>
                <a:lnTo>
                  <a:pt x="26" y="200"/>
                </a:lnTo>
                <a:lnTo>
                  <a:pt x="22" y="186"/>
                </a:lnTo>
                <a:lnTo>
                  <a:pt x="14" y="174"/>
                </a:lnTo>
                <a:lnTo>
                  <a:pt x="14" y="156"/>
                </a:lnTo>
                <a:lnTo>
                  <a:pt x="8" y="144"/>
                </a:lnTo>
                <a:lnTo>
                  <a:pt x="2" y="126"/>
                </a:lnTo>
                <a:lnTo>
                  <a:pt x="0" y="118"/>
                </a:lnTo>
                <a:lnTo>
                  <a:pt x="6" y="112"/>
                </a:lnTo>
                <a:lnTo>
                  <a:pt x="10" y="106"/>
                </a:lnTo>
                <a:lnTo>
                  <a:pt x="4" y="100"/>
                </a:lnTo>
                <a:lnTo>
                  <a:pt x="0" y="94"/>
                </a:lnTo>
                <a:lnTo>
                  <a:pt x="2" y="84"/>
                </a:lnTo>
                <a:lnTo>
                  <a:pt x="6" y="74"/>
                </a:lnTo>
                <a:lnTo>
                  <a:pt x="8" y="72"/>
                </a:lnTo>
                <a:lnTo>
                  <a:pt x="8" y="66"/>
                </a:lnTo>
                <a:lnTo>
                  <a:pt x="10" y="44"/>
                </a:lnTo>
                <a:lnTo>
                  <a:pt x="0" y="18"/>
                </a:lnTo>
                <a:lnTo>
                  <a:pt x="10" y="18"/>
                </a:lnTo>
                <a:lnTo>
                  <a:pt x="20" y="16"/>
                </a:lnTo>
                <a:lnTo>
                  <a:pt x="34" y="10"/>
                </a:lnTo>
                <a:lnTo>
                  <a:pt x="42" y="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5" name="Freeform 75">
            <a:extLst>
              <a:ext uri="{FF2B5EF4-FFF2-40B4-BE49-F238E27FC236}">
                <a16:creationId xmlns:a16="http://schemas.microsoft.com/office/drawing/2014/main" id="{38BAA1D2-FBB9-82B1-90E0-058D7C5492F2}"/>
              </a:ext>
            </a:extLst>
          </p:cNvPr>
          <p:cNvSpPr>
            <a:spLocks/>
          </p:cNvSpPr>
          <p:nvPr/>
        </p:nvSpPr>
        <p:spPr bwMode="auto">
          <a:xfrm>
            <a:off x="3268134" y="5524500"/>
            <a:ext cx="260351" cy="281517"/>
          </a:xfrm>
          <a:custGeom>
            <a:avLst/>
            <a:gdLst>
              <a:gd name="T0" fmla="*/ 2147483647 w 134"/>
              <a:gd name="T1" fmla="*/ 2147483647 h 140"/>
              <a:gd name="T2" fmla="*/ 2147483647 w 134"/>
              <a:gd name="T3" fmla="*/ 2147483647 h 140"/>
              <a:gd name="T4" fmla="*/ 2147483647 w 134"/>
              <a:gd name="T5" fmla="*/ 2147483647 h 140"/>
              <a:gd name="T6" fmla="*/ 2147483647 w 134"/>
              <a:gd name="T7" fmla="*/ 2147483647 h 140"/>
              <a:gd name="T8" fmla="*/ 2147483647 w 134"/>
              <a:gd name="T9" fmla="*/ 2147483647 h 140"/>
              <a:gd name="T10" fmla="*/ 2147483647 w 134"/>
              <a:gd name="T11" fmla="*/ 2147483647 h 140"/>
              <a:gd name="T12" fmla="*/ 2147483647 w 134"/>
              <a:gd name="T13" fmla="*/ 2147483647 h 140"/>
              <a:gd name="T14" fmla="*/ 2147483647 w 134"/>
              <a:gd name="T15" fmla="*/ 2147483647 h 140"/>
              <a:gd name="T16" fmla="*/ 2147483647 w 134"/>
              <a:gd name="T17" fmla="*/ 2147483647 h 140"/>
              <a:gd name="T18" fmla="*/ 2147483647 w 134"/>
              <a:gd name="T19" fmla="*/ 2147483647 h 140"/>
              <a:gd name="T20" fmla="*/ 2147483647 w 134"/>
              <a:gd name="T21" fmla="*/ 2147483647 h 140"/>
              <a:gd name="T22" fmla="*/ 2147483647 w 134"/>
              <a:gd name="T23" fmla="*/ 2147483647 h 140"/>
              <a:gd name="T24" fmla="*/ 2147483647 w 134"/>
              <a:gd name="T25" fmla="*/ 2147483647 h 140"/>
              <a:gd name="T26" fmla="*/ 0 w 134"/>
              <a:gd name="T27" fmla="*/ 2147483647 h 140"/>
              <a:gd name="T28" fmla="*/ 2147483647 w 134"/>
              <a:gd name="T29" fmla="*/ 2147483647 h 140"/>
              <a:gd name="T30" fmla="*/ 2147483647 w 134"/>
              <a:gd name="T31" fmla="*/ 2147483647 h 140"/>
              <a:gd name="T32" fmla="*/ 2147483647 w 134"/>
              <a:gd name="T33" fmla="*/ 2147483647 h 140"/>
              <a:gd name="T34" fmla="*/ 2147483647 w 134"/>
              <a:gd name="T35" fmla="*/ 2147483647 h 140"/>
              <a:gd name="T36" fmla="*/ 2147483647 w 134"/>
              <a:gd name="T37" fmla="*/ 2147483647 h 140"/>
              <a:gd name="T38" fmla="*/ 2147483647 w 134"/>
              <a:gd name="T39" fmla="*/ 0 h 140"/>
              <a:gd name="T40" fmla="*/ 2147483647 w 134"/>
              <a:gd name="T41" fmla="*/ 2147483647 h 140"/>
              <a:gd name="T42" fmla="*/ 2147483647 w 134"/>
              <a:gd name="T43" fmla="*/ 2147483647 h 140"/>
              <a:gd name="T44" fmla="*/ 2147483647 w 134"/>
              <a:gd name="T45" fmla="*/ 2147483647 h 140"/>
              <a:gd name="T46" fmla="*/ 2147483647 w 134"/>
              <a:gd name="T47" fmla="*/ 2147483647 h 140"/>
              <a:gd name="T48" fmla="*/ 2147483647 w 134"/>
              <a:gd name="T49" fmla="*/ 2147483647 h 140"/>
              <a:gd name="T50" fmla="*/ 2147483647 w 134"/>
              <a:gd name="T51" fmla="*/ 2147483647 h 140"/>
              <a:gd name="T52" fmla="*/ 2147483647 w 134"/>
              <a:gd name="T53" fmla="*/ 2147483647 h 140"/>
              <a:gd name="T54" fmla="*/ 2147483647 w 134"/>
              <a:gd name="T55" fmla="*/ 2147483647 h 140"/>
              <a:gd name="T56" fmla="*/ 2147483647 w 134"/>
              <a:gd name="T57" fmla="*/ 2147483647 h 140"/>
              <a:gd name="T58" fmla="*/ 2147483647 w 134"/>
              <a:gd name="T59" fmla="*/ 2147483647 h 140"/>
              <a:gd name="T60" fmla="*/ 2147483647 w 134"/>
              <a:gd name="T61" fmla="*/ 2147483647 h 140"/>
              <a:gd name="T62" fmla="*/ 2147483647 w 134"/>
              <a:gd name="T63" fmla="*/ 2147483647 h 140"/>
              <a:gd name="T64" fmla="*/ 2147483647 w 134"/>
              <a:gd name="T65" fmla="*/ 2147483647 h 140"/>
              <a:gd name="T66" fmla="*/ 2147483647 w 134"/>
              <a:gd name="T67" fmla="*/ 2147483647 h 140"/>
              <a:gd name="T68" fmla="*/ 2147483647 w 134"/>
              <a:gd name="T69" fmla="*/ 2147483647 h 140"/>
              <a:gd name="T70" fmla="*/ 2147483647 w 134"/>
              <a:gd name="T71" fmla="*/ 2147483647 h 140"/>
              <a:gd name="T72" fmla="*/ 2147483647 w 134"/>
              <a:gd name="T73" fmla="*/ 2147483647 h 140"/>
              <a:gd name="T74" fmla="*/ 2147483647 w 134"/>
              <a:gd name="T75" fmla="*/ 2147483647 h 140"/>
              <a:gd name="T76" fmla="*/ 2147483647 w 134"/>
              <a:gd name="T77" fmla="*/ 2147483647 h 140"/>
              <a:gd name="T78" fmla="*/ 2147483647 w 134"/>
              <a:gd name="T79" fmla="*/ 2147483647 h 140"/>
              <a:gd name="T80" fmla="*/ 2147483647 w 134"/>
              <a:gd name="T81" fmla="*/ 2147483647 h 140"/>
              <a:gd name="T82" fmla="*/ 2147483647 w 134"/>
              <a:gd name="T83" fmla="*/ 2147483647 h 140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34"/>
              <a:gd name="T127" fmla="*/ 0 h 140"/>
              <a:gd name="T128" fmla="*/ 134 w 134"/>
              <a:gd name="T129" fmla="*/ 140 h 140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34" h="140">
                <a:moveTo>
                  <a:pt x="108" y="136"/>
                </a:moveTo>
                <a:lnTo>
                  <a:pt x="94" y="140"/>
                </a:lnTo>
                <a:lnTo>
                  <a:pt x="72" y="140"/>
                </a:lnTo>
                <a:lnTo>
                  <a:pt x="66" y="132"/>
                </a:lnTo>
                <a:lnTo>
                  <a:pt x="72" y="118"/>
                </a:lnTo>
                <a:lnTo>
                  <a:pt x="80" y="106"/>
                </a:lnTo>
                <a:lnTo>
                  <a:pt x="74" y="98"/>
                </a:lnTo>
                <a:lnTo>
                  <a:pt x="54" y="90"/>
                </a:lnTo>
                <a:lnTo>
                  <a:pt x="38" y="78"/>
                </a:lnTo>
                <a:lnTo>
                  <a:pt x="30" y="78"/>
                </a:lnTo>
                <a:lnTo>
                  <a:pt x="20" y="72"/>
                </a:lnTo>
                <a:lnTo>
                  <a:pt x="8" y="60"/>
                </a:lnTo>
                <a:lnTo>
                  <a:pt x="2" y="52"/>
                </a:lnTo>
                <a:lnTo>
                  <a:pt x="0" y="46"/>
                </a:lnTo>
                <a:lnTo>
                  <a:pt x="4" y="42"/>
                </a:lnTo>
                <a:lnTo>
                  <a:pt x="6" y="32"/>
                </a:lnTo>
                <a:lnTo>
                  <a:pt x="6" y="22"/>
                </a:lnTo>
                <a:lnTo>
                  <a:pt x="12" y="8"/>
                </a:lnTo>
                <a:lnTo>
                  <a:pt x="28" y="2"/>
                </a:lnTo>
                <a:lnTo>
                  <a:pt x="44" y="0"/>
                </a:lnTo>
                <a:lnTo>
                  <a:pt x="56" y="2"/>
                </a:lnTo>
                <a:lnTo>
                  <a:pt x="66" y="8"/>
                </a:lnTo>
                <a:lnTo>
                  <a:pt x="72" y="14"/>
                </a:lnTo>
                <a:lnTo>
                  <a:pt x="76" y="22"/>
                </a:lnTo>
                <a:lnTo>
                  <a:pt x="76" y="34"/>
                </a:lnTo>
                <a:lnTo>
                  <a:pt x="76" y="50"/>
                </a:lnTo>
                <a:lnTo>
                  <a:pt x="86" y="50"/>
                </a:lnTo>
                <a:lnTo>
                  <a:pt x="94" y="48"/>
                </a:lnTo>
                <a:lnTo>
                  <a:pt x="104" y="50"/>
                </a:lnTo>
                <a:lnTo>
                  <a:pt x="110" y="54"/>
                </a:lnTo>
                <a:lnTo>
                  <a:pt x="108" y="64"/>
                </a:lnTo>
                <a:lnTo>
                  <a:pt x="112" y="74"/>
                </a:lnTo>
                <a:lnTo>
                  <a:pt x="120" y="82"/>
                </a:lnTo>
                <a:lnTo>
                  <a:pt x="128" y="80"/>
                </a:lnTo>
                <a:lnTo>
                  <a:pt x="134" y="82"/>
                </a:lnTo>
                <a:lnTo>
                  <a:pt x="132" y="90"/>
                </a:lnTo>
                <a:lnTo>
                  <a:pt x="128" y="100"/>
                </a:lnTo>
                <a:lnTo>
                  <a:pt x="128" y="114"/>
                </a:lnTo>
                <a:lnTo>
                  <a:pt x="126" y="120"/>
                </a:lnTo>
                <a:lnTo>
                  <a:pt x="122" y="128"/>
                </a:lnTo>
                <a:lnTo>
                  <a:pt x="112" y="134"/>
                </a:lnTo>
                <a:lnTo>
                  <a:pt x="108" y="13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6" name="Freeform 76">
            <a:extLst>
              <a:ext uri="{FF2B5EF4-FFF2-40B4-BE49-F238E27FC236}">
                <a16:creationId xmlns:a16="http://schemas.microsoft.com/office/drawing/2014/main" id="{DD814F70-E040-6E23-BF6A-513576A0110E}"/>
              </a:ext>
            </a:extLst>
          </p:cNvPr>
          <p:cNvSpPr>
            <a:spLocks/>
          </p:cNvSpPr>
          <p:nvPr/>
        </p:nvSpPr>
        <p:spPr bwMode="auto">
          <a:xfrm>
            <a:off x="3393018" y="5882218"/>
            <a:ext cx="165100" cy="173567"/>
          </a:xfrm>
          <a:custGeom>
            <a:avLst/>
            <a:gdLst>
              <a:gd name="T0" fmla="*/ 2147483647 w 84"/>
              <a:gd name="T1" fmla="*/ 0 h 90"/>
              <a:gd name="T2" fmla="*/ 2147483647 w 84"/>
              <a:gd name="T3" fmla="*/ 2147483647 h 90"/>
              <a:gd name="T4" fmla="*/ 2147483647 w 84"/>
              <a:gd name="T5" fmla="*/ 2147483647 h 90"/>
              <a:gd name="T6" fmla="*/ 2147483647 w 84"/>
              <a:gd name="T7" fmla="*/ 2147483647 h 90"/>
              <a:gd name="T8" fmla="*/ 2147483647 w 84"/>
              <a:gd name="T9" fmla="*/ 2147483647 h 90"/>
              <a:gd name="T10" fmla="*/ 2147483647 w 84"/>
              <a:gd name="T11" fmla="*/ 2147483647 h 90"/>
              <a:gd name="T12" fmla="*/ 2147483647 w 84"/>
              <a:gd name="T13" fmla="*/ 2147483647 h 90"/>
              <a:gd name="T14" fmla="*/ 2147483647 w 84"/>
              <a:gd name="T15" fmla="*/ 2147483647 h 90"/>
              <a:gd name="T16" fmla="*/ 2147483647 w 84"/>
              <a:gd name="T17" fmla="*/ 2147483647 h 90"/>
              <a:gd name="T18" fmla="*/ 2147483647 w 84"/>
              <a:gd name="T19" fmla="*/ 2147483647 h 90"/>
              <a:gd name="T20" fmla="*/ 2147483647 w 84"/>
              <a:gd name="T21" fmla="*/ 2147483647 h 90"/>
              <a:gd name="T22" fmla="*/ 2147483647 w 84"/>
              <a:gd name="T23" fmla="*/ 2147483647 h 90"/>
              <a:gd name="T24" fmla="*/ 2147483647 w 84"/>
              <a:gd name="T25" fmla="*/ 2147483647 h 90"/>
              <a:gd name="T26" fmla="*/ 2147483647 w 84"/>
              <a:gd name="T27" fmla="*/ 2147483647 h 90"/>
              <a:gd name="T28" fmla="*/ 2147483647 w 84"/>
              <a:gd name="T29" fmla="*/ 2147483647 h 90"/>
              <a:gd name="T30" fmla="*/ 2147483647 w 84"/>
              <a:gd name="T31" fmla="*/ 2147483647 h 90"/>
              <a:gd name="T32" fmla="*/ 2147483647 w 84"/>
              <a:gd name="T33" fmla="*/ 2147483647 h 90"/>
              <a:gd name="T34" fmla="*/ 2147483647 w 84"/>
              <a:gd name="T35" fmla="*/ 2147483647 h 90"/>
              <a:gd name="T36" fmla="*/ 2147483647 w 84"/>
              <a:gd name="T37" fmla="*/ 2147483647 h 90"/>
              <a:gd name="T38" fmla="*/ 2147483647 w 84"/>
              <a:gd name="T39" fmla="*/ 2147483647 h 90"/>
              <a:gd name="T40" fmla="*/ 0 w 84"/>
              <a:gd name="T41" fmla="*/ 2147483647 h 90"/>
              <a:gd name="T42" fmla="*/ 0 w 84"/>
              <a:gd name="T43" fmla="*/ 2147483647 h 90"/>
              <a:gd name="T44" fmla="*/ 2147483647 w 84"/>
              <a:gd name="T45" fmla="*/ 2147483647 h 90"/>
              <a:gd name="T46" fmla="*/ 2147483647 w 84"/>
              <a:gd name="T47" fmla="*/ 2147483647 h 90"/>
              <a:gd name="T48" fmla="*/ 2147483647 w 84"/>
              <a:gd name="T49" fmla="*/ 2147483647 h 90"/>
              <a:gd name="T50" fmla="*/ 2147483647 w 84"/>
              <a:gd name="T51" fmla="*/ 2147483647 h 90"/>
              <a:gd name="T52" fmla="*/ 2147483647 w 84"/>
              <a:gd name="T53" fmla="*/ 0 h 90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84"/>
              <a:gd name="T82" fmla="*/ 0 h 90"/>
              <a:gd name="T83" fmla="*/ 84 w 84"/>
              <a:gd name="T84" fmla="*/ 90 h 90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84" h="90">
                <a:moveTo>
                  <a:pt x="20" y="0"/>
                </a:moveTo>
                <a:lnTo>
                  <a:pt x="30" y="8"/>
                </a:lnTo>
                <a:lnTo>
                  <a:pt x="38" y="18"/>
                </a:lnTo>
                <a:lnTo>
                  <a:pt x="46" y="20"/>
                </a:lnTo>
                <a:lnTo>
                  <a:pt x="60" y="28"/>
                </a:lnTo>
                <a:lnTo>
                  <a:pt x="72" y="38"/>
                </a:lnTo>
                <a:lnTo>
                  <a:pt x="78" y="44"/>
                </a:lnTo>
                <a:lnTo>
                  <a:pt x="82" y="50"/>
                </a:lnTo>
                <a:lnTo>
                  <a:pt x="80" y="56"/>
                </a:lnTo>
                <a:lnTo>
                  <a:pt x="80" y="62"/>
                </a:lnTo>
                <a:lnTo>
                  <a:pt x="84" y="66"/>
                </a:lnTo>
                <a:lnTo>
                  <a:pt x="80" y="70"/>
                </a:lnTo>
                <a:lnTo>
                  <a:pt x="72" y="80"/>
                </a:lnTo>
                <a:lnTo>
                  <a:pt x="66" y="86"/>
                </a:lnTo>
                <a:lnTo>
                  <a:pt x="62" y="88"/>
                </a:lnTo>
                <a:lnTo>
                  <a:pt x="60" y="90"/>
                </a:lnTo>
                <a:lnTo>
                  <a:pt x="42" y="88"/>
                </a:lnTo>
                <a:lnTo>
                  <a:pt x="28" y="86"/>
                </a:lnTo>
                <a:lnTo>
                  <a:pt x="18" y="82"/>
                </a:lnTo>
                <a:lnTo>
                  <a:pt x="6" y="80"/>
                </a:lnTo>
                <a:lnTo>
                  <a:pt x="0" y="76"/>
                </a:lnTo>
                <a:lnTo>
                  <a:pt x="0" y="60"/>
                </a:lnTo>
                <a:lnTo>
                  <a:pt x="4" y="40"/>
                </a:lnTo>
                <a:lnTo>
                  <a:pt x="6" y="24"/>
                </a:lnTo>
                <a:lnTo>
                  <a:pt x="10" y="8"/>
                </a:lnTo>
                <a:lnTo>
                  <a:pt x="12" y="2"/>
                </a:lnTo>
                <a:lnTo>
                  <a:pt x="2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7" name="Freeform 77">
            <a:extLst>
              <a:ext uri="{FF2B5EF4-FFF2-40B4-BE49-F238E27FC236}">
                <a16:creationId xmlns:a16="http://schemas.microsoft.com/office/drawing/2014/main" id="{26BF9A66-605E-AE45-D5AD-2636E109ECB9}"/>
              </a:ext>
            </a:extLst>
          </p:cNvPr>
          <p:cNvSpPr>
            <a:spLocks/>
          </p:cNvSpPr>
          <p:nvPr/>
        </p:nvSpPr>
        <p:spPr bwMode="auto">
          <a:xfrm>
            <a:off x="2921000" y="5611284"/>
            <a:ext cx="626533" cy="1111251"/>
          </a:xfrm>
          <a:custGeom>
            <a:avLst/>
            <a:gdLst>
              <a:gd name="T0" fmla="*/ 2147483647 w 316"/>
              <a:gd name="T1" fmla="*/ 2147483647 h 562"/>
              <a:gd name="T2" fmla="*/ 2147483647 w 316"/>
              <a:gd name="T3" fmla="*/ 2147483647 h 562"/>
              <a:gd name="T4" fmla="*/ 2147483647 w 316"/>
              <a:gd name="T5" fmla="*/ 2147483647 h 562"/>
              <a:gd name="T6" fmla="*/ 2147483647 w 316"/>
              <a:gd name="T7" fmla="*/ 2147483647 h 562"/>
              <a:gd name="T8" fmla="*/ 2147483647 w 316"/>
              <a:gd name="T9" fmla="*/ 2147483647 h 562"/>
              <a:gd name="T10" fmla="*/ 2147483647 w 316"/>
              <a:gd name="T11" fmla="*/ 2147483647 h 562"/>
              <a:gd name="T12" fmla="*/ 2147483647 w 316"/>
              <a:gd name="T13" fmla="*/ 2147483647 h 562"/>
              <a:gd name="T14" fmla="*/ 2147483647 w 316"/>
              <a:gd name="T15" fmla="*/ 2147483647 h 562"/>
              <a:gd name="T16" fmla="*/ 2147483647 w 316"/>
              <a:gd name="T17" fmla="*/ 2147483647 h 562"/>
              <a:gd name="T18" fmla="*/ 2147483647 w 316"/>
              <a:gd name="T19" fmla="*/ 2147483647 h 562"/>
              <a:gd name="T20" fmla="*/ 2147483647 w 316"/>
              <a:gd name="T21" fmla="*/ 2147483647 h 562"/>
              <a:gd name="T22" fmla="*/ 2147483647 w 316"/>
              <a:gd name="T23" fmla="*/ 2147483647 h 562"/>
              <a:gd name="T24" fmla="*/ 2147483647 w 316"/>
              <a:gd name="T25" fmla="*/ 2147483647 h 562"/>
              <a:gd name="T26" fmla="*/ 2147483647 w 316"/>
              <a:gd name="T27" fmla="*/ 2147483647 h 562"/>
              <a:gd name="T28" fmla="*/ 2147483647 w 316"/>
              <a:gd name="T29" fmla="*/ 2147483647 h 562"/>
              <a:gd name="T30" fmla="*/ 2147483647 w 316"/>
              <a:gd name="T31" fmla="*/ 2147483647 h 562"/>
              <a:gd name="T32" fmla="*/ 2147483647 w 316"/>
              <a:gd name="T33" fmla="*/ 2147483647 h 562"/>
              <a:gd name="T34" fmla="*/ 2147483647 w 316"/>
              <a:gd name="T35" fmla="*/ 2147483647 h 562"/>
              <a:gd name="T36" fmla="*/ 2147483647 w 316"/>
              <a:gd name="T37" fmla="*/ 2147483647 h 562"/>
              <a:gd name="T38" fmla="*/ 2147483647 w 316"/>
              <a:gd name="T39" fmla="*/ 2147483647 h 562"/>
              <a:gd name="T40" fmla="*/ 2147483647 w 316"/>
              <a:gd name="T41" fmla="*/ 2147483647 h 562"/>
              <a:gd name="T42" fmla="*/ 2147483647 w 316"/>
              <a:gd name="T43" fmla="*/ 2147483647 h 562"/>
              <a:gd name="T44" fmla="*/ 2147483647 w 316"/>
              <a:gd name="T45" fmla="*/ 2147483647 h 562"/>
              <a:gd name="T46" fmla="*/ 2147483647 w 316"/>
              <a:gd name="T47" fmla="*/ 2147483647 h 562"/>
              <a:gd name="T48" fmla="*/ 2147483647 w 316"/>
              <a:gd name="T49" fmla="*/ 2147483647 h 562"/>
              <a:gd name="T50" fmla="*/ 2147483647 w 316"/>
              <a:gd name="T51" fmla="*/ 2147483647 h 562"/>
              <a:gd name="T52" fmla="*/ 2147483647 w 316"/>
              <a:gd name="T53" fmla="*/ 2147483647 h 562"/>
              <a:gd name="T54" fmla="*/ 2147483647 w 316"/>
              <a:gd name="T55" fmla="*/ 2147483647 h 562"/>
              <a:gd name="T56" fmla="*/ 2147483647 w 316"/>
              <a:gd name="T57" fmla="*/ 2147483647 h 562"/>
              <a:gd name="T58" fmla="*/ 2147483647 w 316"/>
              <a:gd name="T59" fmla="*/ 2147483647 h 562"/>
              <a:gd name="T60" fmla="*/ 2147483647 w 316"/>
              <a:gd name="T61" fmla="*/ 2147483647 h 562"/>
              <a:gd name="T62" fmla="*/ 2147483647 w 316"/>
              <a:gd name="T63" fmla="*/ 2147483647 h 562"/>
              <a:gd name="T64" fmla="*/ 2147483647 w 316"/>
              <a:gd name="T65" fmla="*/ 2147483647 h 562"/>
              <a:gd name="T66" fmla="*/ 2147483647 w 316"/>
              <a:gd name="T67" fmla="*/ 2147483647 h 562"/>
              <a:gd name="T68" fmla="*/ 2147483647 w 316"/>
              <a:gd name="T69" fmla="*/ 2147483647 h 562"/>
              <a:gd name="T70" fmla="*/ 2147483647 w 316"/>
              <a:gd name="T71" fmla="*/ 2147483647 h 562"/>
              <a:gd name="T72" fmla="*/ 2147483647 w 316"/>
              <a:gd name="T73" fmla="*/ 2147483647 h 562"/>
              <a:gd name="T74" fmla="*/ 2147483647 w 316"/>
              <a:gd name="T75" fmla="*/ 2147483647 h 562"/>
              <a:gd name="T76" fmla="*/ 2147483647 w 316"/>
              <a:gd name="T77" fmla="*/ 2147483647 h 562"/>
              <a:gd name="T78" fmla="*/ 2147483647 w 316"/>
              <a:gd name="T79" fmla="*/ 2147483647 h 562"/>
              <a:gd name="T80" fmla="*/ 2147483647 w 316"/>
              <a:gd name="T81" fmla="*/ 2147483647 h 562"/>
              <a:gd name="T82" fmla="*/ 2147483647 w 316"/>
              <a:gd name="T83" fmla="*/ 2147483647 h 562"/>
              <a:gd name="T84" fmla="*/ 2147483647 w 316"/>
              <a:gd name="T85" fmla="*/ 2147483647 h 562"/>
              <a:gd name="T86" fmla="*/ 2147483647 w 316"/>
              <a:gd name="T87" fmla="*/ 2147483647 h 562"/>
              <a:gd name="T88" fmla="*/ 2147483647 w 316"/>
              <a:gd name="T89" fmla="*/ 2147483647 h 562"/>
              <a:gd name="T90" fmla="*/ 2147483647 w 316"/>
              <a:gd name="T91" fmla="*/ 2147483647 h 562"/>
              <a:gd name="T92" fmla="*/ 2147483647 w 316"/>
              <a:gd name="T93" fmla="*/ 2147483647 h 562"/>
              <a:gd name="T94" fmla="*/ 2147483647 w 316"/>
              <a:gd name="T95" fmla="*/ 2147483647 h 562"/>
              <a:gd name="T96" fmla="*/ 2147483647 w 316"/>
              <a:gd name="T97" fmla="*/ 2147483647 h 562"/>
              <a:gd name="T98" fmla="*/ 2147483647 w 316"/>
              <a:gd name="T99" fmla="*/ 2147483647 h 562"/>
              <a:gd name="T100" fmla="*/ 2147483647 w 316"/>
              <a:gd name="T101" fmla="*/ 2147483647 h 56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16"/>
              <a:gd name="T154" fmla="*/ 0 h 562"/>
              <a:gd name="T155" fmla="*/ 316 w 316"/>
              <a:gd name="T156" fmla="*/ 562 h 562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16" h="562">
                <a:moveTo>
                  <a:pt x="102" y="18"/>
                </a:moveTo>
                <a:lnTo>
                  <a:pt x="104" y="10"/>
                </a:lnTo>
                <a:lnTo>
                  <a:pt x="108" y="6"/>
                </a:lnTo>
                <a:lnTo>
                  <a:pt x="116" y="0"/>
                </a:lnTo>
                <a:lnTo>
                  <a:pt x="124" y="6"/>
                </a:lnTo>
                <a:lnTo>
                  <a:pt x="138" y="4"/>
                </a:lnTo>
                <a:lnTo>
                  <a:pt x="148" y="16"/>
                </a:lnTo>
                <a:lnTo>
                  <a:pt x="154" y="2"/>
                </a:lnTo>
                <a:lnTo>
                  <a:pt x="172" y="2"/>
                </a:lnTo>
                <a:lnTo>
                  <a:pt x="174" y="8"/>
                </a:lnTo>
                <a:lnTo>
                  <a:pt x="180" y="16"/>
                </a:lnTo>
                <a:lnTo>
                  <a:pt x="190" y="26"/>
                </a:lnTo>
                <a:lnTo>
                  <a:pt x="192" y="28"/>
                </a:lnTo>
                <a:lnTo>
                  <a:pt x="202" y="34"/>
                </a:lnTo>
                <a:lnTo>
                  <a:pt x="210" y="34"/>
                </a:lnTo>
                <a:lnTo>
                  <a:pt x="220" y="40"/>
                </a:lnTo>
                <a:lnTo>
                  <a:pt x="226" y="46"/>
                </a:lnTo>
                <a:lnTo>
                  <a:pt x="236" y="50"/>
                </a:lnTo>
                <a:lnTo>
                  <a:pt x="246" y="54"/>
                </a:lnTo>
                <a:lnTo>
                  <a:pt x="252" y="62"/>
                </a:lnTo>
                <a:lnTo>
                  <a:pt x="246" y="72"/>
                </a:lnTo>
                <a:lnTo>
                  <a:pt x="238" y="88"/>
                </a:lnTo>
                <a:lnTo>
                  <a:pt x="244" y="96"/>
                </a:lnTo>
                <a:lnTo>
                  <a:pt x="266" y="96"/>
                </a:lnTo>
                <a:lnTo>
                  <a:pt x="280" y="92"/>
                </a:lnTo>
                <a:lnTo>
                  <a:pt x="288" y="86"/>
                </a:lnTo>
                <a:lnTo>
                  <a:pt x="294" y="84"/>
                </a:lnTo>
                <a:lnTo>
                  <a:pt x="300" y="70"/>
                </a:lnTo>
                <a:lnTo>
                  <a:pt x="300" y="60"/>
                </a:lnTo>
                <a:lnTo>
                  <a:pt x="310" y="62"/>
                </a:lnTo>
                <a:lnTo>
                  <a:pt x="314" y="66"/>
                </a:lnTo>
                <a:lnTo>
                  <a:pt x="316" y="76"/>
                </a:lnTo>
                <a:lnTo>
                  <a:pt x="312" y="88"/>
                </a:lnTo>
                <a:lnTo>
                  <a:pt x="308" y="94"/>
                </a:lnTo>
                <a:lnTo>
                  <a:pt x="300" y="98"/>
                </a:lnTo>
                <a:lnTo>
                  <a:pt x="292" y="104"/>
                </a:lnTo>
                <a:lnTo>
                  <a:pt x="282" y="112"/>
                </a:lnTo>
                <a:lnTo>
                  <a:pt x="274" y="118"/>
                </a:lnTo>
                <a:lnTo>
                  <a:pt x="268" y="128"/>
                </a:lnTo>
                <a:lnTo>
                  <a:pt x="262" y="132"/>
                </a:lnTo>
                <a:lnTo>
                  <a:pt x="260" y="136"/>
                </a:lnTo>
                <a:lnTo>
                  <a:pt x="252" y="138"/>
                </a:lnTo>
                <a:lnTo>
                  <a:pt x="246" y="160"/>
                </a:lnTo>
                <a:lnTo>
                  <a:pt x="244" y="174"/>
                </a:lnTo>
                <a:lnTo>
                  <a:pt x="240" y="192"/>
                </a:lnTo>
                <a:lnTo>
                  <a:pt x="240" y="212"/>
                </a:lnTo>
                <a:lnTo>
                  <a:pt x="236" y="216"/>
                </a:lnTo>
                <a:lnTo>
                  <a:pt x="234" y="222"/>
                </a:lnTo>
                <a:lnTo>
                  <a:pt x="244" y="224"/>
                </a:lnTo>
                <a:lnTo>
                  <a:pt x="254" y="228"/>
                </a:lnTo>
                <a:lnTo>
                  <a:pt x="258" y="236"/>
                </a:lnTo>
                <a:lnTo>
                  <a:pt x="256" y="244"/>
                </a:lnTo>
                <a:lnTo>
                  <a:pt x="258" y="248"/>
                </a:lnTo>
                <a:lnTo>
                  <a:pt x="266" y="254"/>
                </a:lnTo>
                <a:lnTo>
                  <a:pt x="266" y="268"/>
                </a:lnTo>
                <a:lnTo>
                  <a:pt x="254" y="284"/>
                </a:lnTo>
                <a:lnTo>
                  <a:pt x="240" y="294"/>
                </a:lnTo>
                <a:lnTo>
                  <a:pt x="220" y="296"/>
                </a:lnTo>
                <a:lnTo>
                  <a:pt x="206" y="298"/>
                </a:lnTo>
                <a:lnTo>
                  <a:pt x="190" y="300"/>
                </a:lnTo>
                <a:lnTo>
                  <a:pt x="180" y="298"/>
                </a:lnTo>
                <a:lnTo>
                  <a:pt x="178" y="304"/>
                </a:lnTo>
                <a:lnTo>
                  <a:pt x="180" y="314"/>
                </a:lnTo>
                <a:lnTo>
                  <a:pt x="178" y="330"/>
                </a:lnTo>
                <a:lnTo>
                  <a:pt x="170" y="338"/>
                </a:lnTo>
                <a:lnTo>
                  <a:pt x="162" y="342"/>
                </a:lnTo>
                <a:lnTo>
                  <a:pt x="148" y="336"/>
                </a:lnTo>
                <a:lnTo>
                  <a:pt x="142" y="334"/>
                </a:lnTo>
                <a:lnTo>
                  <a:pt x="136" y="332"/>
                </a:lnTo>
                <a:lnTo>
                  <a:pt x="134" y="338"/>
                </a:lnTo>
                <a:lnTo>
                  <a:pt x="136" y="354"/>
                </a:lnTo>
                <a:lnTo>
                  <a:pt x="136" y="362"/>
                </a:lnTo>
                <a:lnTo>
                  <a:pt x="142" y="364"/>
                </a:lnTo>
                <a:lnTo>
                  <a:pt x="150" y="364"/>
                </a:lnTo>
                <a:lnTo>
                  <a:pt x="150" y="362"/>
                </a:lnTo>
                <a:lnTo>
                  <a:pt x="154" y="360"/>
                </a:lnTo>
                <a:lnTo>
                  <a:pt x="158" y="364"/>
                </a:lnTo>
                <a:lnTo>
                  <a:pt x="158" y="370"/>
                </a:lnTo>
                <a:lnTo>
                  <a:pt x="152" y="374"/>
                </a:lnTo>
                <a:lnTo>
                  <a:pt x="148" y="372"/>
                </a:lnTo>
                <a:lnTo>
                  <a:pt x="146" y="368"/>
                </a:lnTo>
                <a:lnTo>
                  <a:pt x="142" y="368"/>
                </a:lnTo>
                <a:lnTo>
                  <a:pt x="138" y="370"/>
                </a:lnTo>
                <a:lnTo>
                  <a:pt x="140" y="376"/>
                </a:lnTo>
                <a:lnTo>
                  <a:pt x="136" y="382"/>
                </a:lnTo>
                <a:lnTo>
                  <a:pt x="130" y="384"/>
                </a:lnTo>
                <a:lnTo>
                  <a:pt x="132" y="396"/>
                </a:lnTo>
                <a:lnTo>
                  <a:pt x="126" y="408"/>
                </a:lnTo>
                <a:lnTo>
                  <a:pt x="124" y="410"/>
                </a:lnTo>
                <a:lnTo>
                  <a:pt x="118" y="414"/>
                </a:lnTo>
                <a:lnTo>
                  <a:pt x="106" y="420"/>
                </a:lnTo>
                <a:lnTo>
                  <a:pt x="94" y="432"/>
                </a:lnTo>
                <a:lnTo>
                  <a:pt x="96" y="444"/>
                </a:lnTo>
                <a:lnTo>
                  <a:pt x="106" y="454"/>
                </a:lnTo>
                <a:lnTo>
                  <a:pt x="106" y="456"/>
                </a:lnTo>
                <a:lnTo>
                  <a:pt x="112" y="456"/>
                </a:lnTo>
                <a:lnTo>
                  <a:pt x="122" y="458"/>
                </a:lnTo>
                <a:lnTo>
                  <a:pt x="122" y="466"/>
                </a:lnTo>
                <a:lnTo>
                  <a:pt x="118" y="474"/>
                </a:lnTo>
                <a:lnTo>
                  <a:pt x="104" y="486"/>
                </a:lnTo>
                <a:lnTo>
                  <a:pt x="94" y="496"/>
                </a:lnTo>
                <a:lnTo>
                  <a:pt x="90" y="510"/>
                </a:lnTo>
                <a:lnTo>
                  <a:pt x="88" y="516"/>
                </a:lnTo>
                <a:lnTo>
                  <a:pt x="76" y="518"/>
                </a:lnTo>
                <a:lnTo>
                  <a:pt x="70" y="524"/>
                </a:lnTo>
                <a:lnTo>
                  <a:pt x="66" y="538"/>
                </a:lnTo>
                <a:lnTo>
                  <a:pt x="68" y="546"/>
                </a:lnTo>
                <a:lnTo>
                  <a:pt x="72" y="552"/>
                </a:lnTo>
                <a:lnTo>
                  <a:pt x="78" y="560"/>
                </a:lnTo>
                <a:lnTo>
                  <a:pt x="76" y="562"/>
                </a:lnTo>
                <a:lnTo>
                  <a:pt x="60" y="558"/>
                </a:lnTo>
                <a:lnTo>
                  <a:pt x="34" y="558"/>
                </a:lnTo>
                <a:lnTo>
                  <a:pt x="24" y="556"/>
                </a:lnTo>
                <a:lnTo>
                  <a:pt x="18" y="544"/>
                </a:lnTo>
                <a:lnTo>
                  <a:pt x="18" y="528"/>
                </a:lnTo>
                <a:lnTo>
                  <a:pt x="6" y="526"/>
                </a:lnTo>
                <a:lnTo>
                  <a:pt x="2" y="520"/>
                </a:lnTo>
                <a:lnTo>
                  <a:pt x="0" y="510"/>
                </a:lnTo>
                <a:lnTo>
                  <a:pt x="2" y="500"/>
                </a:lnTo>
                <a:lnTo>
                  <a:pt x="10" y="492"/>
                </a:lnTo>
                <a:lnTo>
                  <a:pt x="18" y="480"/>
                </a:lnTo>
                <a:lnTo>
                  <a:pt x="20" y="462"/>
                </a:lnTo>
                <a:lnTo>
                  <a:pt x="28" y="450"/>
                </a:lnTo>
                <a:lnTo>
                  <a:pt x="28" y="424"/>
                </a:lnTo>
                <a:lnTo>
                  <a:pt x="30" y="412"/>
                </a:lnTo>
                <a:lnTo>
                  <a:pt x="26" y="400"/>
                </a:lnTo>
                <a:lnTo>
                  <a:pt x="26" y="380"/>
                </a:lnTo>
                <a:lnTo>
                  <a:pt x="22" y="376"/>
                </a:lnTo>
                <a:lnTo>
                  <a:pt x="24" y="360"/>
                </a:lnTo>
                <a:lnTo>
                  <a:pt x="26" y="348"/>
                </a:lnTo>
                <a:lnTo>
                  <a:pt x="28" y="318"/>
                </a:lnTo>
                <a:lnTo>
                  <a:pt x="36" y="302"/>
                </a:lnTo>
                <a:lnTo>
                  <a:pt x="38" y="296"/>
                </a:lnTo>
                <a:lnTo>
                  <a:pt x="40" y="292"/>
                </a:lnTo>
                <a:lnTo>
                  <a:pt x="40" y="278"/>
                </a:lnTo>
                <a:lnTo>
                  <a:pt x="38" y="254"/>
                </a:lnTo>
                <a:lnTo>
                  <a:pt x="44" y="248"/>
                </a:lnTo>
                <a:lnTo>
                  <a:pt x="48" y="244"/>
                </a:lnTo>
                <a:lnTo>
                  <a:pt x="50" y="224"/>
                </a:lnTo>
                <a:lnTo>
                  <a:pt x="54" y="216"/>
                </a:lnTo>
                <a:lnTo>
                  <a:pt x="56" y="196"/>
                </a:lnTo>
                <a:lnTo>
                  <a:pt x="52" y="180"/>
                </a:lnTo>
                <a:lnTo>
                  <a:pt x="48" y="172"/>
                </a:lnTo>
                <a:lnTo>
                  <a:pt x="48" y="156"/>
                </a:lnTo>
                <a:lnTo>
                  <a:pt x="52" y="148"/>
                </a:lnTo>
                <a:lnTo>
                  <a:pt x="56" y="120"/>
                </a:lnTo>
                <a:lnTo>
                  <a:pt x="64" y="106"/>
                </a:lnTo>
                <a:lnTo>
                  <a:pt x="74" y="92"/>
                </a:lnTo>
                <a:lnTo>
                  <a:pt x="80" y="82"/>
                </a:lnTo>
                <a:lnTo>
                  <a:pt x="76" y="52"/>
                </a:lnTo>
                <a:lnTo>
                  <a:pt x="82" y="46"/>
                </a:lnTo>
                <a:lnTo>
                  <a:pt x="90" y="42"/>
                </a:lnTo>
                <a:lnTo>
                  <a:pt x="100" y="30"/>
                </a:lnTo>
                <a:lnTo>
                  <a:pt x="102" y="1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8" name="Freeform 78">
            <a:extLst>
              <a:ext uri="{FF2B5EF4-FFF2-40B4-BE49-F238E27FC236}">
                <a16:creationId xmlns:a16="http://schemas.microsoft.com/office/drawing/2014/main" id="{91F59127-4DF1-B64E-2869-1966A7CCEDA2}"/>
              </a:ext>
            </a:extLst>
          </p:cNvPr>
          <p:cNvSpPr>
            <a:spLocks/>
          </p:cNvSpPr>
          <p:nvPr/>
        </p:nvSpPr>
        <p:spPr bwMode="auto">
          <a:xfrm>
            <a:off x="2863852" y="5456768"/>
            <a:ext cx="258233" cy="1325033"/>
          </a:xfrm>
          <a:custGeom>
            <a:avLst/>
            <a:gdLst>
              <a:gd name="T0" fmla="*/ 2147483647 w 136"/>
              <a:gd name="T1" fmla="*/ 2147483647 h 672"/>
              <a:gd name="T2" fmla="*/ 2147483647 w 136"/>
              <a:gd name="T3" fmla="*/ 2147483647 h 672"/>
              <a:gd name="T4" fmla="*/ 2147483647 w 136"/>
              <a:gd name="T5" fmla="*/ 2147483647 h 672"/>
              <a:gd name="T6" fmla="*/ 2147483647 w 136"/>
              <a:gd name="T7" fmla="*/ 2147483647 h 672"/>
              <a:gd name="T8" fmla="*/ 2147483647 w 136"/>
              <a:gd name="T9" fmla="*/ 2147483647 h 672"/>
              <a:gd name="T10" fmla="*/ 2147483647 w 136"/>
              <a:gd name="T11" fmla="*/ 2147483647 h 672"/>
              <a:gd name="T12" fmla="*/ 2147483647 w 136"/>
              <a:gd name="T13" fmla="*/ 2147483647 h 672"/>
              <a:gd name="T14" fmla="*/ 2147483647 w 136"/>
              <a:gd name="T15" fmla="*/ 2147483647 h 672"/>
              <a:gd name="T16" fmla="*/ 2147483647 w 136"/>
              <a:gd name="T17" fmla="*/ 2147483647 h 672"/>
              <a:gd name="T18" fmla="*/ 2147483647 w 136"/>
              <a:gd name="T19" fmla="*/ 2147483647 h 672"/>
              <a:gd name="T20" fmla="*/ 2147483647 w 136"/>
              <a:gd name="T21" fmla="*/ 2147483647 h 672"/>
              <a:gd name="T22" fmla="*/ 2147483647 w 136"/>
              <a:gd name="T23" fmla="*/ 2147483647 h 672"/>
              <a:gd name="T24" fmla="*/ 2147483647 w 136"/>
              <a:gd name="T25" fmla="*/ 2147483647 h 672"/>
              <a:gd name="T26" fmla="*/ 2147483647 w 136"/>
              <a:gd name="T27" fmla="*/ 2147483647 h 672"/>
              <a:gd name="T28" fmla="*/ 2147483647 w 136"/>
              <a:gd name="T29" fmla="*/ 2147483647 h 672"/>
              <a:gd name="T30" fmla="*/ 2147483647 w 136"/>
              <a:gd name="T31" fmla="*/ 2147483647 h 672"/>
              <a:gd name="T32" fmla="*/ 2147483647 w 136"/>
              <a:gd name="T33" fmla="*/ 2147483647 h 672"/>
              <a:gd name="T34" fmla="*/ 2147483647 w 136"/>
              <a:gd name="T35" fmla="*/ 2147483647 h 672"/>
              <a:gd name="T36" fmla="*/ 2147483647 w 136"/>
              <a:gd name="T37" fmla="*/ 2147483647 h 672"/>
              <a:gd name="T38" fmla="*/ 2147483647 w 136"/>
              <a:gd name="T39" fmla="*/ 2147483647 h 672"/>
              <a:gd name="T40" fmla="*/ 2147483647 w 136"/>
              <a:gd name="T41" fmla="*/ 2147483647 h 672"/>
              <a:gd name="T42" fmla="*/ 2147483647 w 136"/>
              <a:gd name="T43" fmla="*/ 2147483647 h 672"/>
              <a:gd name="T44" fmla="*/ 2147483647 w 136"/>
              <a:gd name="T45" fmla="*/ 2147483647 h 672"/>
              <a:gd name="T46" fmla="*/ 2147483647 w 136"/>
              <a:gd name="T47" fmla="*/ 2147483647 h 672"/>
              <a:gd name="T48" fmla="*/ 2147483647 w 136"/>
              <a:gd name="T49" fmla="*/ 2147483647 h 672"/>
              <a:gd name="T50" fmla="*/ 2147483647 w 136"/>
              <a:gd name="T51" fmla="*/ 2147483647 h 672"/>
              <a:gd name="T52" fmla="*/ 2147483647 w 136"/>
              <a:gd name="T53" fmla="*/ 2147483647 h 672"/>
              <a:gd name="T54" fmla="*/ 2147483647 w 136"/>
              <a:gd name="T55" fmla="*/ 2147483647 h 672"/>
              <a:gd name="T56" fmla="*/ 2147483647 w 136"/>
              <a:gd name="T57" fmla="*/ 2147483647 h 672"/>
              <a:gd name="T58" fmla="*/ 2147483647 w 136"/>
              <a:gd name="T59" fmla="*/ 2147483647 h 672"/>
              <a:gd name="T60" fmla="*/ 2147483647 w 136"/>
              <a:gd name="T61" fmla="*/ 2147483647 h 672"/>
              <a:gd name="T62" fmla="*/ 2147483647 w 136"/>
              <a:gd name="T63" fmla="*/ 2147483647 h 672"/>
              <a:gd name="T64" fmla="*/ 2147483647 w 136"/>
              <a:gd name="T65" fmla="*/ 2147483647 h 672"/>
              <a:gd name="T66" fmla="*/ 2147483647 w 136"/>
              <a:gd name="T67" fmla="*/ 2147483647 h 672"/>
              <a:gd name="T68" fmla="*/ 2147483647 w 136"/>
              <a:gd name="T69" fmla="*/ 2147483647 h 672"/>
              <a:gd name="T70" fmla="*/ 2147483647 w 136"/>
              <a:gd name="T71" fmla="*/ 2147483647 h 672"/>
              <a:gd name="T72" fmla="*/ 2147483647 w 136"/>
              <a:gd name="T73" fmla="*/ 2147483647 h 672"/>
              <a:gd name="T74" fmla="*/ 2147483647 w 136"/>
              <a:gd name="T75" fmla="*/ 2147483647 h 672"/>
              <a:gd name="T76" fmla="*/ 2147483647 w 136"/>
              <a:gd name="T77" fmla="*/ 2147483647 h 672"/>
              <a:gd name="T78" fmla="*/ 2147483647 w 136"/>
              <a:gd name="T79" fmla="*/ 2147483647 h 672"/>
              <a:gd name="T80" fmla="*/ 2147483647 w 136"/>
              <a:gd name="T81" fmla="*/ 2147483647 h 672"/>
              <a:gd name="T82" fmla="*/ 2147483647 w 136"/>
              <a:gd name="T83" fmla="*/ 2147483647 h 672"/>
              <a:gd name="T84" fmla="*/ 2147483647 w 136"/>
              <a:gd name="T85" fmla="*/ 2147483647 h 672"/>
              <a:gd name="T86" fmla="*/ 2147483647 w 136"/>
              <a:gd name="T87" fmla="*/ 2147483647 h 672"/>
              <a:gd name="T88" fmla="*/ 2147483647 w 136"/>
              <a:gd name="T89" fmla="*/ 2147483647 h 672"/>
              <a:gd name="T90" fmla="*/ 2147483647 w 136"/>
              <a:gd name="T91" fmla="*/ 2147483647 h 672"/>
              <a:gd name="T92" fmla="*/ 2147483647 w 136"/>
              <a:gd name="T93" fmla="*/ 2147483647 h 672"/>
              <a:gd name="T94" fmla="*/ 2147483647 w 136"/>
              <a:gd name="T95" fmla="*/ 2147483647 h 672"/>
              <a:gd name="T96" fmla="*/ 2147483647 w 136"/>
              <a:gd name="T97" fmla="*/ 2147483647 h 672"/>
              <a:gd name="T98" fmla="*/ 2147483647 w 136"/>
              <a:gd name="T99" fmla="*/ 2147483647 h 672"/>
              <a:gd name="T100" fmla="*/ 2147483647 w 136"/>
              <a:gd name="T101" fmla="*/ 2147483647 h 67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36"/>
              <a:gd name="T154" fmla="*/ 0 h 672"/>
              <a:gd name="T155" fmla="*/ 136 w 136"/>
              <a:gd name="T156" fmla="*/ 672 h 672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36" h="672">
                <a:moveTo>
                  <a:pt x="84" y="18"/>
                </a:moveTo>
                <a:lnTo>
                  <a:pt x="90" y="16"/>
                </a:lnTo>
                <a:lnTo>
                  <a:pt x="96" y="2"/>
                </a:lnTo>
                <a:lnTo>
                  <a:pt x="98" y="0"/>
                </a:lnTo>
                <a:lnTo>
                  <a:pt x="102" y="12"/>
                </a:lnTo>
                <a:lnTo>
                  <a:pt x="112" y="38"/>
                </a:lnTo>
                <a:lnTo>
                  <a:pt x="112" y="56"/>
                </a:lnTo>
                <a:lnTo>
                  <a:pt x="120" y="68"/>
                </a:lnTo>
                <a:lnTo>
                  <a:pt x="124" y="82"/>
                </a:lnTo>
                <a:lnTo>
                  <a:pt x="126" y="96"/>
                </a:lnTo>
                <a:lnTo>
                  <a:pt x="136" y="96"/>
                </a:lnTo>
                <a:lnTo>
                  <a:pt x="134" y="108"/>
                </a:lnTo>
                <a:lnTo>
                  <a:pt x="124" y="120"/>
                </a:lnTo>
                <a:lnTo>
                  <a:pt x="116" y="124"/>
                </a:lnTo>
                <a:lnTo>
                  <a:pt x="110" y="130"/>
                </a:lnTo>
                <a:lnTo>
                  <a:pt x="114" y="160"/>
                </a:lnTo>
                <a:lnTo>
                  <a:pt x="96" y="186"/>
                </a:lnTo>
                <a:lnTo>
                  <a:pt x="90" y="198"/>
                </a:lnTo>
                <a:lnTo>
                  <a:pt x="86" y="222"/>
                </a:lnTo>
                <a:lnTo>
                  <a:pt x="82" y="234"/>
                </a:lnTo>
                <a:lnTo>
                  <a:pt x="82" y="250"/>
                </a:lnTo>
                <a:lnTo>
                  <a:pt x="90" y="274"/>
                </a:lnTo>
                <a:lnTo>
                  <a:pt x="88" y="292"/>
                </a:lnTo>
                <a:lnTo>
                  <a:pt x="84" y="302"/>
                </a:lnTo>
                <a:lnTo>
                  <a:pt x="82" y="322"/>
                </a:lnTo>
                <a:lnTo>
                  <a:pt x="72" y="332"/>
                </a:lnTo>
                <a:lnTo>
                  <a:pt x="74" y="354"/>
                </a:lnTo>
                <a:lnTo>
                  <a:pt x="74" y="370"/>
                </a:lnTo>
                <a:lnTo>
                  <a:pt x="62" y="396"/>
                </a:lnTo>
                <a:lnTo>
                  <a:pt x="60" y="426"/>
                </a:lnTo>
                <a:lnTo>
                  <a:pt x="58" y="438"/>
                </a:lnTo>
                <a:lnTo>
                  <a:pt x="56" y="454"/>
                </a:lnTo>
                <a:lnTo>
                  <a:pt x="60" y="458"/>
                </a:lnTo>
                <a:lnTo>
                  <a:pt x="60" y="478"/>
                </a:lnTo>
                <a:lnTo>
                  <a:pt x="64" y="490"/>
                </a:lnTo>
                <a:lnTo>
                  <a:pt x="62" y="502"/>
                </a:lnTo>
                <a:lnTo>
                  <a:pt x="62" y="528"/>
                </a:lnTo>
                <a:lnTo>
                  <a:pt x="54" y="540"/>
                </a:lnTo>
                <a:lnTo>
                  <a:pt x="52" y="558"/>
                </a:lnTo>
                <a:lnTo>
                  <a:pt x="44" y="570"/>
                </a:lnTo>
                <a:lnTo>
                  <a:pt x="36" y="578"/>
                </a:lnTo>
                <a:lnTo>
                  <a:pt x="34" y="588"/>
                </a:lnTo>
                <a:lnTo>
                  <a:pt x="36" y="596"/>
                </a:lnTo>
                <a:lnTo>
                  <a:pt x="40" y="604"/>
                </a:lnTo>
                <a:lnTo>
                  <a:pt x="52" y="606"/>
                </a:lnTo>
                <a:lnTo>
                  <a:pt x="52" y="622"/>
                </a:lnTo>
                <a:lnTo>
                  <a:pt x="58" y="634"/>
                </a:lnTo>
                <a:lnTo>
                  <a:pt x="68" y="636"/>
                </a:lnTo>
                <a:lnTo>
                  <a:pt x="94" y="636"/>
                </a:lnTo>
                <a:lnTo>
                  <a:pt x="96" y="644"/>
                </a:lnTo>
                <a:lnTo>
                  <a:pt x="88" y="648"/>
                </a:lnTo>
                <a:lnTo>
                  <a:pt x="80" y="650"/>
                </a:lnTo>
                <a:lnTo>
                  <a:pt x="74" y="656"/>
                </a:lnTo>
                <a:lnTo>
                  <a:pt x="74" y="666"/>
                </a:lnTo>
                <a:lnTo>
                  <a:pt x="72" y="672"/>
                </a:lnTo>
                <a:lnTo>
                  <a:pt x="64" y="672"/>
                </a:lnTo>
                <a:lnTo>
                  <a:pt x="58" y="668"/>
                </a:lnTo>
                <a:lnTo>
                  <a:pt x="60" y="664"/>
                </a:lnTo>
                <a:lnTo>
                  <a:pt x="66" y="660"/>
                </a:lnTo>
                <a:lnTo>
                  <a:pt x="70" y="652"/>
                </a:lnTo>
                <a:lnTo>
                  <a:pt x="64" y="648"/>
                </a:lnTo>
                <a:lnTo>
                  <a:pt x="56" y="654"/>
                </a:lnTo>
                <a:lnTo>
                  <a:pt x="52" y="662"/>
                </a:lnTo>
                <a:lnTo>
                  <a:pt x="44" y="660"/>
                </a:lnTo>
                <a:lnTo>
                  <a:pt x="38" y="654"/>
                </a:lnTo>
                <a:lnTo>
                  <a:pt x="46" y="648"/>
                </a:lnTo>
                <a:lnTo>
                  <a:pt x="48" y="644"/>
                </a:lnTo>
                <a:lnTo>
                  <a:pt x="46" y="640"/>
                </a:lnTo>
                <a:lnTo>
                  <a:pt x="38" y="646"/>
                </a:lnTo>
                <a:lnTo>
                  <a:pt x="28" y="646"/>
                </a:lnTo>
                <a:lnTo>
                  <a:pt x="30" y="638"/>
                </a:lnTo>
                <a:lnTo>
                  <a:pt x="42" y="632"/>
                </a:lnTo>
                <a:lnTo>
                  <a:pt x="42" y="628"/>
                </a:lnTo>
                <a:lnTo>
                  <a:pt x="34" y="630"/>
                </a:lnTo>
                <a:lnTo>
                  <a:pt x="26" y="630"/>
                </a:lnTo>
                <a:lnTo>
                  <a:pt x="28" y="622"/>
                </a:lnTo>
                <a:lnTo>
                  <a:pt x="22" y="618"/>
                </a:lnTo>
                <a:lnTo>
                  <a:pt x="20" y="606"/>
                </a:lnTo>
                <a:lnTo>
                  <a:pt x="20" y="602"/>
                </a:lnTo>
                <a:lnTo>
                  <a:pt x="20" y="594"/>
                </a:lnTo>
                <a:lnTo>
                  <a:pt x="16" y="590"/>
                </a:lnTo>
                <a:lnTo>
                  <a:pt x="10" y="582"/>
                </a:lnTo>
                <a:lnTo>
                  <a:pt x="6" y="574"/>
                </a:lnTo>
                <a:lnTo>
                  <a:pt x="8" y="558"/>
                </a:lnTo>
                <a:lnTo>
                  <a:pt x="14" y="558"/>
                </a:lnTo>
                <a:lnTo>
                  <a:pt x="16" y="560"/>
                </a:lnTo>
                <a:lnTo>
                  <a:pt x="18" y="568"/>
                </a:lnTo>
                <a:lnTo>
                  <a:pt x="24" y="566"/>
                </a:lnTo>
                <a:lnTo>
                  <a:pt x="24" y="556"/>
                </a:lnTo>
                <a:lnTo>
                  <a:pt x="28" y="556"/>
                </a:lnTo>
                <a:lnTo>
                  <a:pt x="32" y="554"/>
                </a:lnTo>
                <a:lnTo>
                  <a:pt x="32" y="546"/>
                </a:lnTo>
                <a:lnTo>
                  <a:pt x="28" y="548"/>
                </a:lnTo>
                <a:lnTo>
                  <a:pt x="20" y="550"/>
                </a:lnTo>
                <a:lnTo>
                  <a:pt x="18" y="544"/>
                </a:lnTo>
                <a:lnTo>
                  <a:pt x="18" y="536"/>
                </a:lnTo>
                <a:lnTo>
                  <a:pt x="24" y="534"/>
                </a:lnTo>
                <a:lnTo>
                  <a:pt x="24" y="530"/>
                </a:lnTo>
                <a:lnTo>
                  <a:pt x="16" y="530"/>
                </a:lnTo>
                <a:lnTo>
                  <a:pt x="0" y="530"/>
                </a:lnTo>
                <a:lnTo>
                  <a:pt x="6" y="522"/>
                </a:lnTo>
                <a:lnTo>
                  <a:pt x="10" y="514"/>
                </a:lnTo>
                <a:lnTo>
                  <a:pt x="16" y="506"/>
                </a:lnTo>
                <a:lnTo>
                  <a:pt x="22" y="502"/>
                </a:lnTo>
                <a:lnTo>
                  <a:pt x="24" y="506"/>
                </a:lnTo>
                <a:lnTo>
                  <a:pt x="28" y="518"/>
                </a:lnTo>
                <a:lnTo>
                  <a:pt x="36" y="508"/>
                </a:lnTo>
                <a:lnTo>
                  <a:pt x="42" y="494"/>
                </a:lnTo>
                <a:lnTo>
                  <a:pt x="40" y="484"/>
                </a:lnTo>
                <a:lnTo>
                  <a:pt x="38" y="472"/>
                </a:lnTo>
                <a:lnTo>
                  <a:pt x="44" y="462"/>
                </a:lnTo>
                <a:lnTo>
                  <a:pt x="42" y="452"/>
                </a:lnTo>
                <a:lnTo>
                  <a:pt x="44" y="446"/>
                </a:lnTo>
                <a:lnTo>
                  <a:pt x="46" y="440"/>
                </a:lnTo>
                <a:lnTo>
                  <a:pt x="46" y="428"/>
                </a:lnTo>
                <a:lnTo>
                  <a:pt x="40" y="426"/>
                </a:lnTo>
                <a:lnTo>
                  <a:pt x="36" y="428"/>
                </a:lnTo>
                <a:lnTo>
                  <a:pt x="34" y="438"/>
                </a:lnTo>
                <a:lnTo>
                  <a:pt x="32" y="444"/>
                </a:lnTo>
                <a:lnTo>
                  <a:pt x="32" y="456"/>
                </a:lnTo>
                <a:lnTo>
                  <a:pt x="28" y="462"/>
                </a:lnTo>
                <a:lnTo>
                  <a:pt x="22" y="458"/>
                </a:lnTo>
                <a:lnTo>
                  <a:pt x="22" y="450"/>
                </a:lnTo>
                <a:lnTo>
                  <a:pt x="22" y="438"/>
                </a:lnTo>
                <a:lnTo>
                  <a:pt x="26" y="430"/>
                </a:lnTo>
                <a:lnTo>
                  <a:pt x="28" y="426"/>
                </a:lnTo>
                <a:lnTo>
                  <a:pt x="28" y="416"/>
                </a:lnTo>
                <a:lnTo>
                  <a:pt x="30" y="402"/>
                </a:lnTo>
                <a:lnTo>
                  <a:pt x="32" y="394"/>
                </a:lnTo>
                <a:lnTo>
                  <a:pt x="40" y="386"/>
                </a:lnTo>
                <a:lnTo>
                  <a:pt x="36" y="376"/>
                </a:lnTo>
                <a:lnTo>
                  <a:pt x="34" y="366"/>
                </a:lnTo>
                <a:lnTo>
                  <a:pt x="34" y="358"/>
                </a:lnTo>
                <a:lnTo>
                  <a:pt x="32" y="346"/>
                </a:lnTo>
                <a:lnTo>
                  <a:pt x="38" y="346"/>
                </a:lnTo>
                <a:lnTo>
                  <a:pt x="42" y="332"/>
                </a:lnTo>
                <a:lnTo>
                  <a:pt x="48" y="320"/>
                </a:lnTo>
                <a:lnTo>
                  <a:pt x="52" y="308"/>
                </a:lnTo>
                <a:lnTo>
                  <a:pt x="58" y="292"/>
                </a:lnTo>
                <a:lnTo>
                  <a:pt x="60" y="278"/>
                </a:lnTo>
                <a:lnTo>
                  <a:pt x="64" y="270"/>
                </a:lnTo>
                <a:lnTo>
                  <a:pt x="62" y="232"/>
                </a:lnTo>
                <a:lnTo>
                  <a:pt x="62" y="220"/>
                </a:lnTo>
                <a:lnTo>
                  <a:pt x="70" y="214"/>
                </a:lnTo>
                <a:lnTo>
                  <a:pt x="70" y="206"/>
                </a:lnTo>
                <a:lnTo>
                  <a:pt x="66" y="200"/>
                </a:lnTo>
                <a:lnTo>
                  <a:pt x="70" y="194"/>
                </a:lnTo>
                <a:lnTo>
                  <a:pt x="74" y="174"/>
                </a:lnTo>
                <a:lnTo>
                  <a:pt x="80" y="144"/>
                </a:lnTo>
                <a:lnTo>
                  <a:pt x="82" y="98"/>
                </a:lnTo>
                <a:lnTo>
                  <a:pt x="88" y="52"/>
                </a:lnTo>
                <a:lnTo>
                  <a:pt x="86" y="28"/>
                </a:lnTo>
                <a:lnTo>
                  <a:pt x="84" y="1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9" name="Freeform 79">
            <a:extLst>
              <a:ext uri="{FF2B5EF4-FFF2-40B4-BE49-F238E27FC236}">
                <a16:creationId xmlns:a16="http://schemas.microsoft.com/office/drawing/2014/main" id="{8D289223-0997-D9FC-285A-D41F7311333A}"/>
              </a:ext>
            </a:extLst>
          </p:cNvPr>
          <p:cNvSpPr>
            <a:spLocks/>
          </p:cNvSpPr>
          <p:nvPr/>
        </p:nvSpPr>
        <p:spPr bwMode="auto">
          <a:xfrm>
            <a:off x="3086101" y="6741585"/>
            <a:ext cx="105833" cy="97367"/>
          </a:xfrm>
          <a:custGeom>
            <a:avLst/>
            <a:gdLst>
              <a:gd name="T0" fmla="*/ 0 w 56"/>
              <a:gd name="T1" fmla="*/ 0 h 46"/>
              <a:gd name="T2" fmla="*/ 0 w 56"/>
              <a:gd name="T3" fmla="*/ 2147483647 h 46"/>
              <a:gd name="T4" fmla="*/ 2147483647 w 56"/>
              <a:gd name="T5" fmla="*/ 2147483647 h 46"/>
              <a:gd name="T6" fmla="*/ 2147483647 w 56"/>
              <a:gd name="T7" fmla="*/ 2147483647 h 46"/>
              <a:gd name="T8" fmla="*/ 2147483647 w 56"/>
              <a:gd name="T9" fmla="*/ 2147483647 h 46"/>
              <a:gd name="T10" fmla="*/ 2147483647 w 56"/>
              <a:gd name="T11" fmla="*/ 2147483647 h 46"/>
              <a:gd name="T12" fmla="*/ 2147483647 w 56"/>
              <a:gd name="T13" fmla="*/ 2147483647 h 46"/>
              <a:gd name="T14" fmla="*/ 2147483647 w 56"/>
              <a:gd name="T15" fmla="*/ 2147483647 h 46"/>
              <a:gd name="T16" fmla="*/ 2147483647 w 56"/>
              <a:gd name="T17" fmla="*/ 2147483647 h 46"/>
              <a:gd name="T18" fmla="*/ 2147483647 w 56"/>
              <a:gd name="T19" fmla="*/ 2147483647 h 46"/>
              <a:gd name="T20" fmla="*/ 2147483647 w 56"/>
              <a:gd name="T21" fmla="*/ 2147483647 h 46"/>
              <a:gd name="T22" fmla="*/ 2147483647 w 56"/>
              <a:gd name="T23" fmla="*/ 2147483647 h 46"/>
              <a:gd name="T24" fmla="*/ 2147483647 w 56"/>
              <a:gd name="T25" fmla="*/ 2147483647 h 46"/>
              <a:gd name="T26" fmla="*/ 0 w 56"/>
              <a:gd name="T27" fmla="*/ 0 h 4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56"/>
              <a:gd name="T43" fmla="*/ 0 h 46"/>
              <a:gd name="T44" fmla="*/ 56 w 56"/>
              <a:gd name="T45" fmla="*/ 46 h 4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56" h="46">
                <a:moveTo>
                  <a:pt x="0" y="0"/>
                </a:moveTo>
                <a:lnTo>
                  <a:pt x="0" y="42"/>
                </a:lnTo>
                <a:lnTo>
                  <a:pt x="12" y="42"/>
                </a:lnTo>
                <a:lnTo>
                  <a:pt x="22" y="42"/>
                </a:lnTo>
                <a:lnTo>
                  <a:pt x="36" y="46"/>
                </a:lnTo>
                <a:lnTo>
                  <a:pt x="50" y="44"/>
                </a:lnTo>
                <a:lnTo>
                  <a:pt x="56" y="42"/>
                </a:lnTo>
                <a:lnTo>
                  <a:pt x="48" y="40"/>
                </a:lnTo>
                <a:lnTo>
                  <a:pt x="32" y="36"/>
                </a:lnTo>
                <a:lnTo>
                  <a:pt x="20" y="28"/>
                </a:lnTo>
                <a:lnTo>
                  <a:pt x="8" y="16"/>
                </a:lnTo>
                <a:lnTo>
                  <a:pt x="6" y="8"/>
                </a:lnTo>
                <a:lnTo>
                  <a:pt x="4" y="2"/>
                </a:lnTo>
                <a:lnTo>
                  <a:pt x="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0" name="Freeform 80">
            <a:extLst>
              <a:ext uri="{FF2B5EF4-FFF2-40B4-BE49-F238E27FC236}">
                <a16:creationId xmlns:a16="http://schemas.microsoft.com/office/drawing/2014/main" id="{B7897C2C-8B2D-E986-46AF-A4C9BCF45A86}"/>
              </a:ext>
            </a:extLst>
          </p:cNvPr>
          <p:cNvSpPr>
            <a:spLocks/>
          </p:cNvSpPr>
          <p:nvPr/>
        </p:nvSpPr>
        <p:spPr bwMode="auto">
          <a:xfrm>
            <a:off x="2997200" y="6733118"/>
            <a:ext cx="135467" cy="124884"/>
          </a:xfrm>
          <a:custGeom>
            <a:avLst/>
            <a:gdLst>
              <a:gd name="T0" fmla="*/ 2147483647 w 68"/>
              <a:gd name="T1" fmla="*/ 2147483647 h 64"/>
              <a:gd name="T2" fmla="*/ 0 w 68"/>
              <a:gd name="T3" fmla="*/ 2147483647 h 64"/>
              <a:gd name="T4" fmla="*/ 2147483647 w 68"/>
              <a:gd name="T5" fmla="*/ 2147483647 h 64"/>
              <a:gd name="T6" fmla="*/ 2147483647 w 68"/>
              <a:gd name="T7" fmla="*/ 2147483647 h 64"/>
              <a:gd name="T8" fmla="*/ 2147483647 w 68"/>
              <a:gd name="T9" fmla="*/ 2147483647 h 64"/>
              <a:gd name="T10" fmla="*/ 2147483647 w 68"/>
              <a:gd name="T11" fmla="*/ 2147483647 h 64"/>
              <a:gd name="T12" fmla="*/ 2147483647 w 68"/>
              <a:gd name="T13" fmla="*/ 2147483647 h 64"/>
              <a:gd name="T14" fmla="*/ 2147483647 w 68"/>
              <a:gd name="T15" fmla="*/ 2147483647 h 64"/>
              <a:gd name="T16" fmla="*/ 2147483647 w 68"/>
              <a:gd name="T17" fmla="*/ 2147483647 h 64"/>
              <a:gd name="T18" fmla="*/ 2147483647 w 68"/>
              <a:gd name="T19" fmla="*/ 2147483647 h 64"/>
              <a:gd name="T20" fmla="*/ 2147483647 w 68"/>
              <a:gd name="T21" fmla="*/ 2147483647 h 64"/>
              <a:gd name="T22" fmla="*/ 2147483647 w 68"/>
              <a:gd name="T23" fmla="*/ 2147483647 h 64"/>
              <a:gd name="T24" fmla="*/ 2147483647 w 68"/>
              <a:gd name="T25" fmla="*/ 2147483647 h 64"/>
              <a:gd name="T26" fmla="*/ 2147483647 w 68"/>
              <a:gd name="T27" fmla="*/ 2147483647 h 64"/>
              <a:gd name="T28" fmla="*/ 2147483647 w 68"/>
              <a:gd name="T29" fmla="*/ 2147483647 h 64"/>
              <a:gd name="T30" fmla="*/ 2147483647 w 68"/>
              <a:gd name="T31" fmla="*/ 2147483647 h 64"/>
              <a:gd name="T32" fmla="*/ 2147483647 w 68"/>
              <a:gd name="T33" fmla="*/ 2147483647 h 64"/>
              <a:gd name="T34" fmla="*/ 2147483647 w 68"/>
              <a:gd name="T35" fmla="*/ 2147483647 h 64"/>
              <a:gd name="T36" fmla="*/ 2147483647 w 68"/>
              <a:gd name="T37" fmla="*/ 2147483647 h 64"/>
              <a:gd name="T38" fmla="*/ 2147483647 w 68"/>
              <a:gd name="T39" fmla="*/ 0 h 64"/>
              <a:gd name="T40" fmla="*/ 2147483647 w 68"/>
              <a:gd name="T41" fmla="*/ 0 h 64"/>
              <a:gd name="T42" fmla="*/ 2147483647 w 68"/>
              <a:gd name="T43" fmla="*/ 2147483647 h 64"/>
              <a:gd name="T44" fmla="*/ 2147483647 w 68"/>
              <a:gd name="T45" fmla="*/ 2147483647 h 64"/>
              <a:gd name="T46" fmla="*/ 2147483647 w 68"/>
              <a:gd name="T47" fmla="*/ 2147483647 h 64"/>
              <a:gd name="T48" fmla="*/ 2147483647 w 68"/>
              <a:gd name="T49" fmla="*/ 2147483647 h 64"/>
              <a:gd name="T50" fmla="*/ 2147483647 w 68"/>
              <a:gd name="T51" fmla="*/ 2147483647 h 64"/>
              <a:gd name="T52" fmla="*/ 2147483647 w 68"/>
              <a:gd name="T53" fmla="*/ 2147483647 h 64"/>
              <a:gd name="T54" fmla="*/ 2147483647 w 68"/>
              <a:gd name="T55" fmla="*/ 2147483647 h 64"/>
              <a:gd name="T56" fmla="*/ 2147483647 w 68"/>
              <a:gd name="T57" fmla="*/ 2147483647 h 64"/>
              <a:gd name="T58" fmla="*/ 2147483647 w 68"/>
              <a:gd name="T59" fmla="*/ 2147483647 h 64"/>
              <a:gd name="T60" fmla="*/ 2147483647 w 68"/>
              <a:gd name="T61" fmla="*/ 2147483647 h 64"/>
              <a:gd name="T62" fmla="*/ 2147483647 w 68"/>
              <a:gd name="T63" fmla="*/ 2147483647 h 64"/>
              <a:gd name="T64" fmla="*/ 2147483647 w 68"/>
              <a:gd name="T65" fmla="*/ 2147483647 h 64"/>
              <a:gd name="T66" fmla="*/ 2147483647 w 68"/>
              <a:gd name="T67" fmla="*/ 2147483647 h 64"/>
              <a:gd name="T68" fmla="*/ 2147483647 w 68"/>
              <a:gd name="T69" fmla="*/ 2147483647 h 64"/>
              <a:gd name="T70" fmla="*/ 2147483647 w 68"/>
              <a:gd name="T71" fmla="*/ 2147483647 h 64"/>
              <a:gd name="T72" fmla="*/ 2147483647 w 68"/>
              <a:gd name="T73" fmla="*/ 2147483647 h 64"/>
              <a:gd name="T74" fmla="*/ 2147483647 w 68"/>
              <a:gd name="T75" fmla="*/ 2147483647 h 64"/>
              <a:gd name="T76" fmla="*/ 2147483647 w 68"/>
              <a:gd name="T77" fmla="*/ 2147483647 h 64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68"/>
              <a:gd name="T118" fmla="*/ 0 h 64"/>
              <a:gd name="T119" fmla="*/ 68 w 68"/>
              <a:gd name="T120" fmla="*/ 64 h 64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68" h="64">
                <a:moveTo>
                  <a:pt x="2" y="46"/>
                </a:moveTo>
                <a:lnTo>
                  <a:pt x="0" y="40"/>
                </a:lnTo>
                <a:lnTo>
                  <a:pt x="6" y="38"/>
                </a:lnTo>
                <a:lnTo>
                  <a:pt x="10" y="38"/>
                </a:lnTo>
                <a:lnTo>
                  <a:pt x="20" y="38"/>
                </a:lnTo>
                <a:lnTo>
                  <a:pt x="26" y="40"/>
                </a:lnTo>
                <a:lnTo>
                  <a:pt x="30" y="38"/>
                </a:lnTo>
                <a:lnTo>
                  <a:pt x="22" y="32"/>
                </a:lnTo>
                <a:lnTo>
                  <a:pt x="16" y="28"/>
                </a:lnTo>
                <a:lnTo>
                  <a:pt x="18" y="22"/>
                </a:lnTo>
                <a:lnTo>
                  <a:pt x="22" y="22"/>
                </a:lnTo>
                <a:lnTo>
                  <a:pt x="28" y="20"/>
                </a:lnTo>
                <a:lnTo>
                  <a:pt x="26" y="14"/>
                </a:lnTo>
                <a:lnTo>
                  <a:pt x="20" y="16"/>
                </a:lnTo>
                <a:lnTo>
                  <a:pt x="14" y="18"/>
                </a:lnTo>
                <a:lnTo>
                  <a:pt x="12" y="12"/>
                </a:lnTo>
                <a:lnTo>
                  <a:pt x="14" y="8"/>
                </a:lnTo>
                <a:lnTo>
                  <a:pt x="20" y="6"/>
                </a:lnTo>
                <a:lnTo>
                  <a:pt x="24" y="2"/>
                </a:lnTo>
                <a:lnTo>
                  <a:pt x="32" y="0"/>
                </a:lnTo>
                <a:lnTo>
                  <a:pt x="38" y="0"/>
                </a:lnTo>
                <a:lnTo>
                  <a:pt x="42" y="6"/>
                </a:lnTo>
                <a:lnTo>
                  <a:pt x="42" y="48"/>
                </a:lnTo>
                <a:lnTo>
                  <a:pt x="64" y="48"/>
                </a:lnTo>
                <a:lnTo>
                  <a:pt x="68" y="52"/>
                </a:lnTo>
                <a:lnTo>
                  <a:pt x="68" y="56"/>
                </a:lnTo>
                <a:lnTo>
                  <a:pt x="60" y="58"/>
                </a:lnTo>
                <a:lnTo>
                  <a:pt x="52" y="58"/>
                </a:lnTo>
                <a:lnTo>
                  <a:pt x="44" y="60"/>
                </a:lnTo>
                <a:lnTo>
                  <a:pt x="42" y="64"/>
                </a:lnTo>
                <a:lnTo>
                  <a:pt x="34" y="62"/>
                </a:lnTo>
                <a:lnTo>
                  <a:pt x="24" y="60"/>
                </a:lnTo>
                <a:lnTo>
                  <a:pt x="20" y="56"/>
                </a:lnTo>
                <a:lnTo>
                  <a:pt x="20" y="50"/>
                </a:lnTo>
                <a:lnTo>
                  <a:pt x="16" y="50"/>
                </a:lnTo>
                <a:lnTo>
                  <a:pt x="12" y="50"/>
                </a:lnTo>
                <a:lnTo>
                  <a:pt x="12" y="56"/>
                </a:lnTo>
                <a:lnTo>
                  <a:pt x="2" y="52"/>
                </a:lnTo>
                <a:lnTo>
                  <a:pt x="2" y="4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1" name="Freeform 81">
            <a:extLst>
              <a:ext uri="{FF2B5EF4-FFF2-40B4-BE49-F238E27FC236}">
                <a16:creationId xmlns:a16="http://schemas.microsoft.com/office/drawing/2014/main" id="{8FED684D-5A52-6883-B23A-D3649DA983DD}"/>
              </a:ext>
            </a:extLst>
          </p:cNvPr>
          <p:cNvSpPr>
            <a:spLocks/>
          </p:cNvSpPr>
          <p:nvPr/>
        </p:nvSpPr>
        <p:spPr bwMode="auto">
          <a:xfrm>
            <a:off x="3325285" y="6673851"/>
            <a:ext cx="40217" cy="38100"/>
          </a:xfrm>
          <a:custGeom>
            <a:avLst/>
            <a:gdLst>
              <a:gd name="T0" fmla="*/ 2147483647 w 18"/>
              <a:gd name="T1" fmla="*/ 2147483647 h 18"/>
              <a:gd name="T2" fmla="*/ 2147483647 w 18"/>
              <a:gd name="T3" fmla="*/ 0 h 18"/>
              <a:gd name="T4" fmla="*/ 2147483647 w 18"/>
              <a:gd name="T5" fmla="*/ 2147483647 h 18"/>
              <a:gd name="T6" fmla="*/ 2147483647 w 18"/>
              <a:gd name="T7" fmla="*/ 2147483647 h 18"/>
              <a:gd name="T8" fmla="*/ 2147483647 w 18"/>
              <a:gd name="T9" fmla="*/ 2147483647 h 18"/>
              <a:gd name="T10" fmla="*/ 2147483647 w 18"/>
              <a:gd name="T11" fmla="*/ 2147483647 h 18"/>
              <a:gd name="T12" fmla="*/ 2147483647 w 18"/>
              <a:gd name="T13" fmla="*/ 2147483647 h 18"/>
              <a:gd name="T14" fmla="*/ 0 w 18"/>
              <a:gd name="T15" fmla="*/ 2147483647 h 18"/>
              <a:gd name="T16" fmla="*/ 0 w 18"/>
              <a:gd name="T17" fmla="*/ 2147483647 h 18"/>
              <a:gd name="T18" fmla="*/ 2147483647 w 18"/>
              <a:gd name="T19" fmla="*/ 2147483647 h 18"/>
              <a:gd name="T20" fmla="*/ 2147483647 w 18"/>
              <a:gd name="T21" fmla="*/ 2147483647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8"/>
              <a:gd name="T34" fmla="*/ 0 h 18"/>
              <a:gd name="T35" fmla="*/ 18 w 18"/>
              <a:gd name="T36" fmla="*/ 18 h 1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8" h="18">
                <a:moveTo>
                  <a:pt x="6" y="4"/>
                </a:moveTo>
                <a:lnTo>
                  <a:pt x="12" y="0"/>
                </a:lnTo>
                <a:lnTo>
                  <a:pt x="18" y="2"/>
                </a:lnTo>
                <a:lnTo>
                  <a:pt x="18" y="6"/>
                </a:lnTo>
                <a:lnTo>
                  <a:pt x="14" y="10"/>
                </a:lnTo>
                <a:lnTo>
                  <a:pt x="8" y="16"/>
                </a:lnTo>
                <a:lnTo>
                  <a:pt x="4" y="18"/>
                </a:lnTo>
                <a:lnTo>
                  <a:pt x="0" y="16"/>
                </a:lnTo>
                <a:lnTo>
                  <a:pt x="0" y="12"/>
                </a:lnTo>
                <a:lnTo>
                  <a:pt x="4" y="8"/>
                </a:lnTo>
                <a:lnTo>
                  <a:pt x="6" y="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2" name="Freeform 82">
            <a:extLst>
              <a:ext uri="{FF2B5EF4-FFF2-40B4-BE49-F238E27FC236}">
                <a16:creationId xmlns:a16="http://schemas.microsoft.com/office/drawing/2014/main" id="{5375CE46-F8CE-FE53-36FA-78392A97BB09}"/>
              </a:ext>
            </a:extLst>
          </p:cNvPr>
          <p:cNvSpPr>
            <a:spLocks/>
          </p:cNvSpPr>
          <p:nvPr/>
        </p:nvSpPr>
        <p:spPr bwMode="auto">
          <a:xfrm>
            <a:off x="3354917" y="6684434"/>
            <a:ext cx="59267" cy="38100"/>
          </a:xfrm>
          <a:custGeom>
            <a:avLst/>
            <a:gdLst>
              <a:gd name="T0" fmla="*/ 2147483647 w 28"/>
              <a:gd name="T1" fmla="*/ 2147483647 h 20"/>
              <a:gd name="T2" fmla="*/ 2147483647 w 28"/>
              <a:gd name="T3" fmla="*/ 0 h 20"/>
              <a:gd name="T4" fmla="*/ 2147483647 w 28"/>
              <a:gd name="T5" fmla="*/ 0 h 20"/>
              <a:gd name="T6" fmla="*/ 2147483647 w 28"/>
              <a:gd name="T7" fmla="*/ 0 h 20"/>
              <a:gd name="T8" fmla="*/ 2147483647 w 28"/>
              <a:gd name="T9" fmla="*/ 2147483647 h 20"/>
              <a:gd name="T10" fmla="*/ 2147483647 w 28"/>
              <a:gd name="T11" fmla="*/ 2147483647 h 20"/>
              <a:gd name="T12" fmla="*/ 2147483647 w 28"/>
              <a:gd name="T13" fmla="*/ 2147483647 h 20"/>
              <a:gd name="T14" fmla="*/ 2147483647 w 28"/>
              <a:gd name="T15" fmla="*/ 2147483647 h 20"/>
              <a:gd name="T16" fmla="*/ 2147483647 w 28"/>
              <a:gd name="T17" fmla="*/ 2147483647 h 20"/>
              <a:gd name="T18" fmla="*/ 2147483647 w 28"/>
              <a:gd name="T19" fmla="*/ 2147483647 h 20"/>
              <a:gd name="T20" fmla="*/ 2147483647 w 28"/>
              <a:gd name="T21" fmla="*/ 2147483647 h 20"/>
              <a:gd name="T22" fmla="*/ 2147483647 w 28"/>
              <a:gd name="T23" fmla="*/ 2147483647 h 20"/>
              <a:gd name="T24" fmla="*/ 0 w 28"/>
              <a:gd name="T25" fmla="*/ 2147483647 h 20"/>
              <a:gd name="T26" fmla="*/ 0 w 28"/>
              <a:gd name="T27" fmla="*/ 2147483647 h 20"/>
              <a:gd name="T28" fmla="*/ 2147483647 w 28"/>
              <a:gd name="T29" fmla="*/ 2147483647 h 20"/>
              <a:gd name="T30" fmla="*/ 2147483647 w 28"/>
              <a:gd name="T31" fmla="*/ 2147483647 h 2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28"/>
              <a:gd name="T49" fmla="*/ 0 h 20"/>
              <a:gd name="T50" fmla="*/ 28 w 28"/>
              <a:gd name="T51" fmla="*/ 20 h 2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28" h="20">
                <a:moveTo>
                  <a:pt x="6" y="8"/>
                </a:moveTo>
                <a:lnTo>
                  <a:pt x="10" y="0"/>
                </a:lnTo>
                <a:lnTo>
                  <a:pt x="16" y="0"/>
                </a:lnTo>
                <a:lnTo>
                  <a:pt x="22" y="0"/>
                </a:lnTo>
                <a:lnTo>
                  <a:pt x="28" y="2"/>
                </a:lnTo>
                <a:lnTo>
                  <a:pt x="28" y="6"/>
                </a:lnTo>
                <a:lnTo>
                  <a:pt x="22" y="8"/>
                </a:lnTo>
                <a:lnTo>
                  <a:pt x="18" y="10"/>
                </a:lnTo>
                <a:lnTo>
                  <a:pt x="16" y="10"/>
                </a:lnTo>
                <a:lnTo>
                  <a:pt x="12" y="14"/>
                </a:lnTo>
                <a:lnTo>
                  <a:pt x="8" y="16"/>
                </a:lnTo>
                <a:lnTo>
                  <a:pt x="6" y="20"/>
                </a:lnTo>
                <a:lnTo>
                  <a:pt x="0" y="18"/>
                </a:lnTo>
                <a:lnTo>
                  <a:pt x="0" y="12"/>
                </a:lnTo>
                <a:lnTo>
                  <a:pt x="2" y="10"/>
                </a:lnTo>
                <a:lnTo>
                  <a:pt x="6" y="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3" name="Freeform 83">
            <a:extLst>
              <a:ext uri="{FF2B5EF4-FFF2-40B4-BE49-F238E27FC236}">
                <a16:creationId xmlns:a16="http://schemas.microsoft.com/office/drawing/2014/main" id="{9F89D8E6-63AF-AD67-FC9B-E816BBF08B26}"/>
              </a:ext>
            </a:extLst>
          </p:cNvPr>
          <p:cNvSpPr>
            <a:spLocks/>
          </p:cNvSpPr>
          <p:nvPr/>
        </p:nvSpPr>
        <p:spPr bwMode="auto">
          <a:xfrm>
            <a:off x="2910418" y="4749801"/>
            <a:ext cx="1217084" cy="1257300"/>
          </a:xfrm>
          <a:custGeom>
            <a:avLst/>
            <a:gdLst>
              <a:gd name="T0" fmla="*/ 2147483647 w 620"/>
              <a:gd name="T1" fmla="*/ 2147483647 h 638"/>
              <a:gd name="T2" fmla="*/ 2147483647 w 620"/>
              <a:gd name="T3" fmla="*/ 2147483647 h 638"/>
              <a:gd name="T4" fmla="*/ 2147483647 w 620"/>
              <a:gd name="T5" fmla="*/ 2147483647 h 638"/>
              <a:gd name="T6" fmla="*/ 2147483647 w 620"/>
              <a:gd name="T7" fmla="*/ 2147483647 h 638"/>
              <a:gd name="T8" fmla="*/ 2147483647 w 620"/>
              <a:gd name="T9" fmla="*/ 2147483647 h 638"/>
              <a:gd name="T10" fmla="*/ 2147483647 w 620"/>
              <a:gd name="T11" fmla="*/ 2147483647 h 638"/>
              <a:gd name="T12" fmla="*/ 2147483647 w 620"/>
              <a:gd name="T13" fmla="*/ 2147483647 h 638"/>
              <a:gd name="T14" fmla="*/ 2147483647 w 620"/>
              <a:gd name="T15" fmla="*/ 2147483647 h 638"/>
              <a:gd name="T16" fmla="*/ 2147483647 w 620"/>
              <a:gd name="T17" fmla="*/ 2147483647 h 638"/>
              <a:gd name="T18" fmla="*/ 2147483647 w 620"/>
              <a:gd name="T19" fmla="*/ 2147483647 h 638"/>
              <a:gd name="T20" fmla="*/ 2147483647 w 620"/>
              <a:gd name="T21" fmla="*/ 2147483647 h 638"/>
              <a:gd name="T22" fmla="*/ 2147483647 w 620"/>
              <a:gd name="T23" fmla="*/ 2147483647 h 638"/>
              <a:gd name="T24" fmla="*/ 2147483647 w 620"/>
              <a:gd name="T25" fmla="*/ 2147483647 h 638"/>
              <a:gd name="T26" fmla="*/ 2147483647 w 620"/>
              <a:gd name="T27" fmla="*/ 2147483647 h 638"/>
              <a:gd name="T28" fmla="*/ 2147483647 w 620"/>
              <a:gd name="T29" fmla="*/ 2147483647 h 638"/>
              <a:gd name="T30" fmla="*/ 2147483647 w 620"/>
              <a:gd name="T31" fmla="*/ 2147483647 h 638"/>
              <a:gd name="T32" fmla="*/ 2147483647 w 620"/>
              <a:gd name="T33" fmla="*/ 2147483647 h 638"/>
              <a:gd name="T34" fmla="*/ 2147483647 w 620"/>
              <a:gd name="T35" fmla="*/ 2147483647 h 638"/>
              <a:gd name="T36" fmla="*/ 2147483647 w 620"/>
              <a:gd name="T37" fmla="*/ 2147483647 h 638"/>
              <a:gd name="T38" fmla="*/ 2147483647 w 620"/>
              <a:gd name="T39" fmla="*/ 2147483647 h 638"/>
              <a:gd name="T40" fmla="*/ 2147483647 w 620"/>
              <a:gd name="T41" fmla="*/ 2147483647 h 638"/>
              <a:gd name="T42" fmla="*/ 2147483647 w 620"/>
              <a:gd name="T43" fmla="*/ 2147483647 h 638"/>
              <a:gd name="T44" fmla="*/ 2147483647 w 620"/>
              <a:gd name="T45" fmla="*/ 2147483647 h 638"/>
              <a:gd name="T46" fmla="*/ 2147483647 w 620"/>
              <a:gd name="T47" fmla="*/ 2147483647 h 638"/>
              <a:gd name="T48" fmla="*/ 2147483647 w 620"/>
              <a:gd name="T49" fmla="*/ 2147483647 h 638"/>
              <a:gd name="T50" fmla="*/ 2147483647 w 620"/>
              <a:gd name="T51" fmla="*/ 2147483647 h 638"/>
              <a:gd name="T52" fmla="*/ 2147483647 w 620"/>
              <a:gd name="T53" fmla="*/ 2147483647 h 638"/>
              <a:gd name="T54" fmla="*/ 2147483647 w 620"/>
              <a:gd name="T55" fmla="*/ 2147483647 h 638"/>
              <a:gd name="T56" fmla="*/ 2147483647 w 620"/>
              <a:gd name="T57" fmla="*/ 2147483647 h 638"/>
              <a:gd name="T58" fmla="*/ 2147483647 w 620"/>
              <a:gd name="T59" fmla="*/ 2147483647 h 638"/>
              <a:gd name="T60" fmla="*/ 2147483647 w 620"/>
              <a:gd name="T61" fmla="*/ 2147483647 h 638"/>
              <a:gd name="T62" fmla="*/ 2147483647 w 620"/>
              <a:gd name="T63" fmla="*/ 2147483647 h 638"/>
              <a:gd name="T64" fmla="*/ 2147483647 w 620"/>
              <a:gd name="T65" fmla="*/ 2147483647 h 638"/>
              <a:gd name="T66" fmla="*/ 2147483647 w 620"/>
              <a:gd name="T67" fmla="*/ 2147483647 h 638"/>
              <a:gd name="T68" fmla="*/ 2147483647 w 620"/>
              <a:gd name="T69" fmla="*/ 2147483647 h 638"/>
              <a:gd name="T70" fmla="*/ 2147483647 w 620"/>
              <a:gd name="T71" fmla="*/ 2147483647 h 638"/>
              <a:gd name="T72" fmla="*/ 2147483647 w 620"/>
              <a:gd name="T73" fmla="*/ 2147483647 h 638"/>
              <a:gd name="T74" fmla="*/ 2147483647 w 620"/>
              <a:gd name="T75" fmla="*/ 2147483647 h 638"/>
              <a:gd name="T76" fmla="*/ 2147483647 w 620"/>
              <a:gd name="T77" fmla="*/ 2147483647 h 638"/>
              <a:gd name="T78" fmla="*/ 2147483647 w 620"/>
              <a:gd name="T79" fmla="*/ 2147483647 h 638"/>
              <a:gd name="T80" fmla="*/ 2147483647 w 620"/>
              <a:gd name="T81" fmla="*/ 2147483647 h 638"/>
              <a:gd name="T82" fmla="*/ 2147483647 w 620"/>
              <a:gd name="T83" fmla="*/ 2147483647 h 638"/>
              <a:gd name="T84" fmla="*/ 2147483647 w 620"/>
              <a:gd name="T85" fmla="*/ 2147483647 h 638"/>
              <a:gd name="T86" fmla="*/ 2147483647 w 620"/>
              <a:gd name="T87" fmla="*/ 2147483647 h 638"/>
              <a:gd name="T88" fmla="*/ 2147483647 w 620"/>
              <a:gd name="T89" fmla="*/ 2147483647 h 638"/>
              <a:gd name="T90" fmla="*/ 2147483647 w 620"/>
              <a:gd name="T91" fmla="*/ 2147483647 h 638"/>
              <a:gd name="T92" fmla="*/ 2147483647 w 620"/>
              <a:gd name="T93" fmla="*/ 2147483647 h 638"/>
              <a:gd name="T94" fmla="*/ 2147483647 w 620"/>
              <a:gd name="T95" fmla="*/ 2147483647 h 638"/>
              <a:gd name="T96" fmla="*/ 2147483647 w 620"/>
              <a:gd name="T97" fmla="*/ 2147483647 h 638"/>
              <a:gd name="T98" fmla="*/ 2147483647 w 620"/>
              <a:gd name="T99" fmla="*/ 2147483647 h 638"/>
              <a:gd name="T100" fmla="*/ 2147483647 w 620"/>
              <a:gd name="T101" fmla="*/ 2147483647 h 638"/>
              <a:gd name="T102" fmla="*/ 2147483647 w 620"/>
              <a:gd name="T103" fmla="*/ 2147483647 h 638"/>
              <a:gd name="T104" fmla="*/ 2147483647 w 620"/>
              <a:gd name="T105" fmla="*/ 2147483647 h 63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620"/>
              <a:gd name="T160" fmla="*/ 0 h 638"/>
              <a:gd name="T161" fmla="*/ 620 w 620"/>
              <a:gd name="T162" fmla="*/ 638 h 63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620" h="638">
                <a:moveTo>
                  <a:pt x="356" y="18"/>
                </a:moveTo>
                <a:lnTo>
                  <a:pt x="362" y="20"/>
                </a:lnTo>
                <a:lnTo>
                  <a:pt x="366" y="24"/>
                </a:lnTo>
                <a:lnTo>
                  <a:pt x="364" y="28"/>
                </a:lnTo>
                <a:lnTo>
                  <a:pt x="366" y="36"/>
                </a:lnTo>
                <a:lnTo>
                  <a:pt x="368" y="44"/>
                </a:lnTo>
                <a:lnTo>
                  <a:pt x="376" y="54"/>
                </a:lnTo>
                <a:lnTo>
                  <a:pt x="382" y="60"/>
                </a:lnTo>
                <a:lnTo>
                  <a:pt x="382" y="68"/>
                </a:lnTo>
                <a:lnTo>
                  <a:pt x="378" y="70"/>
                </a:lnTo>
                <a:lnTo>
                  <a:pt x="370" y="76"/>
                </a:lnTo>
                <a:lnTo>
                  <a:pt x="362" y="84"/>
                </a:lnTo>
                <a:lnTo>
                  <a:pt x="360" y="88"/>
                </a:lnTo>
                <a:lnTo>
                  <a:pt x="360" y="96"/>
                </a:lnTo>
                <a:lnTo>
                  <a:pt x="362" y="100"/>
                </a:lnTo>
                <a:lnTo>
                  <a:pt x="368" y="98"/>
                </a:lnTo>
                <a:lnTo>
                  <a:pt x="372" y="92"/>
                </a:lnTo>
                <a:lnTo>
                  <a:pt x="372" y="82"/>
                </a:lnTo>
                <a:lnTo>
                  <a:pt x="380" y="78"/>
                </a:lnTo>
                <a:lnTo>
                  <a:pt x="388" y="78"/>
                </a:lnTo>
                <a:lnTo>
                  <a:pt x="392" y="82"/>
                </a:lnTo>
                <a:lnTo>
                  <a:pt x="400" y="84"/>
                </a:lnTo>
                <a:lnTo>
                  <a:pt x="404" y="88"/>
                </a:lnTo>
                <a:lnTo>
                  <a:pt x="404" y="92"/>
                </a:lnTo>
                <a:lnTo>
                  <a:pt x="402" y="98"/>
                </a:lnTo>
                <a:lnTo>
                  <a:pt x="398" y="102"/>
                </a:lnTo>
                <a:lnTo>
                  <a:pt x="392" y="108"/>
                </a:lnTo>
                <a:lnTo>
                  <a:pt x="392" y="116"/>
                </a:lnTo>
                <a:lnTo>
                  <a:pt x="396" y="116"/>
                </a:lnTo>
                <a:lnTo>
                  <a:pt x="404" y="108"/>
                </a:lnTo>
                <a:lnTo>
                  <a:pt x="406" y="108"/>
                </a:lnTo>
                <a:lnTo>
                  <a:pt x="408" y="104"/>
                </a:lnTo>
                <a:lnTo>
                  <a:pt x="410" y="98"/>
                </a:lnTo>
                <a:lnTo>
                  <a:pt x="414" y="94"/>
                </a:lnTo>
                <a:lnTo>
                  <a:pt x="420" y="92"/>
                </a:lnTo>
                <a:lnTo>
                  <a:pt x="426" y="94"/>
                </a:lnTo>
                <a:lnTo>
                  <a:pt x="440" y="98"/>
                </a:lnTo>
                <a:lnTo>
                  <a:pt x="448" y="104"/>
                </a:lnTo>
                <a:lnTo>
                  <a:pt x="462" y="110"/>
                </a:lnTo>
                <a:lnTo>
                  <a:pt x="472" y="114"/>
                </a:lnTo>
                <a:lnTo>
                  <a:pt x="472" y="120"/>
                </a:lnTo>
                <a:lnTo>
                  <a:pt x="468" y="126"/>
                </a:lnTo>
                <a:lnTo>
                  <a:pt x="466" y="134"/>
                </a:lnTo>
                <a:lnTo>
                  <a:pt x="468" y="134"/>
                </a:lnTo>
                <a:lnTo>
                  <a:pt x="476" y="126"/>
                </a:lnTo>
                <a:lnTo>
                  <a:pt x="482" y="124"/>
                </a:lnTo>
                <a:lnTo>
                  <a:pt x="488" y="122"/>
                </a:lnTo>
                <a:lnTo>
                  <a:pt x="496" y="124"/>
                </a:lnTo>
                <a:lnTo>
                  <a:pt x="506" y="128"/>
                </a:lnTo>
                <a:lnTo>
                  <a:pt x="516" y="130"/>
                </a:lnTo>
                <a:lnTo>
                  <a:pt x="528" y="130"/>
                </a:lnTo>
                <a:lnTo>
                  <a:pt x="538" y="132"/>
                </a:lnTo>
                <a:lnTo>
                  <a:pt x="548" y="134"/>
                </a:lnTo>
                <a:lnTo>
                  <a:pt x="560" y="142"/>
                </a:lnTo>
                <a:lnTo>
                  <a:pt x="572" y="152"/>
                </a:lnTo>
                <a:lnTo>
                  <a:pt x="582" y="160"/>
                </a:lnTo>
                <a:lnTo>
                  <a:pt x="592" y="166"/>
                </a:lnTo>
                <a:lnTo>
                  <a:pt x="602" y="164"/>
                </a:lnTo>
                <a:lnTo>
                  <a:pt x="610" y="164"/>
                </a:lnTo>
                <a:lnTo>
                  <a:pt x="614" y="174"/>
                </a:lnTo>
                <a:lnTo>
                  <a:pt x="620" y="190"/>
                </a:lnTo>
                <a:lnTo>
                  <a:pt x="620" y="206"/>
                </a:lnTo>
                <a:lnTo>
                  <a:pt x="618" y="224"/>
                </a:lnTo>
                <a:lnTo>
                  <a:pt x="608" y="236"/>
                </a:lnTo>
                <a:lnTo>
                  <a:pt x="600" y="246"/>
                </a:lnTo>
                <a:lnTo>
                  <a:pt x="580" y="264"/>
                </a:lnTo>
                <a:lnTo>
                  <a:pt x="580" y="272"/>
                </a:lnTo>
                <a:lnTo>
                  <a:pt x="578" y="278"/>
                </a:lnTo>
                <a:lnTo>
                  <a:pt x="574" y="282"/>
                </a:lnTo>
                <a:lnTo>
                  <a:pt x="570" y="286"/>
                </a:lnTo>
                <a:lnTo>
                  <a:pt x="562" y="290"/>
                </a:lnTo>
                <a:lnTo>
                  <a:pt x="556" y="294"/>
                </a:lnTo>
                <a:lnTo>
                  <a:pt x="554" y="302"/>
                </a:lnTo>
                <a:lnTo>
                  <a:pt x="554" y="310"/>
                </a:lnTo>
                <a:lnTo>
                  <a:pt x="556" y="322"/>
                </a:lnTo>
                <a:lnTo>
                  <a:pt x="556" y="338"/>
                </a:lnTo>
                <a:lnTo>
                  <a:pt x="554" y="350"/>
                </a:lnTo>
                <a:lnTo>
                  <a:pt x="552" y="366"/>
                </a:lnTo>
                <a:lnTo>
                  <a:pt x="548" y="376"/>
                </a:lnTo>
                <a:lnTo>
                  <a:pt x="544" y="392"/>
                </a:lnTo>
                <a:lnTo>
                  <a:pt x="536" y="408"/>
                </a:lnTo>
                <a:lnTo>
                  <a:pt x="528" y="420"/>
                </a:lnTo>
                <a:lnTo>
                  <a:pt x="524" y="434"/>
                </a:lnTo>
                <a:lnTo>
                  <a:pt x="518" y="440"/>
                </a:lnTo>
                <a:lnTo>
                  <a:pt x="512" y="446"/>
                </a:lnTo>
                <a:lnTo>
                  <a:pt x="508" y="452"/>
                </a:lnTo>
                <a:lnTo>
                  <a:pt x="494" y="456"/>
                </a:lnTo>
                <a:lnTo>
                  <a:pt x="482" y="456"/>
                </a:lnTo>
                <a:lnTo>
                  <a:pt x="464" y="458"/>
                </a:lnTo>
                <a:lnTo>
                  <a:pt x="454" y="468"/>
                </a:lnTo>
                <a:lnTo>
                  <a:pt x="446" y="472"/>
                </a:lnTo>
                <a:lnTo>
                  <a:pt x="438" y="472"/>
                </a:lnTo>
                <a:lnTo>
                  <a:pt x="430" y="480"/>
                </a:lnTo>
                <a:lnTo>
                  <a:pt x="418" y="484"/>
                </a:lnTo>
                <a:lnTo>
                  <a:pt x="408" y="494"/>
                </a:lnTo>
                <a:lnTo>
                  <a:pt x="404" y="502"/>
                </a:lnTo>
                <a:lnTo>
                  <a:pt x="402" y="516"/>
                </a:lnTo>
                <a:lnTo>
                  <a:pt x="402" y="526"/>
                </a:lnTo>
                <a:lnTo>
                  <a:pt x="404" y="542"/>
                </a:lnTo>
                <a:lnTo>
                  <a:pt x="398" y="550"/>
                </a:lnTo>
                <a:lnTo>
                  <a:pt x="390" y="560"/>
                </a:lnTo>
                <a:lnTo>
                  <a:pt x="384" y="566"/>
                </a:lnTo>
                <a:lnTo>
                  <a:pt x="380" y="574"/>
                </a:lnTo>
                <a:lnTo>
                  <a:pt x="376" y="584"/>
                </a:lnTo>
                <a:lnTo>
                  <a:pt x="374" y="588"/>
                </a:lnTo>
                <a:lnTo>
                  <a:pt x="370" y="592"/>
                </a:lnTo>
                <a:lnTo>
                  <a:pt x="366" y="600"/>
                </a:lnTo>
                <a:lnTo>
                  <a:pt x="360" y="604"/>
                </a:lnTo>
                <a:lnTo>
                  <a:pt x="352" y="610"/>
                </a:lnTo>
                <a:lnTo>
                  <a:pt x="352" y="606"/>
                </a:lnTo>
                <a:lnTo>
                  <a:pt x="352" y="604"/>
                </a:lnTo>
                <a:lnTo>
                  <a:pt x="356" y="600"/>
                </a:lnTo>
                <a:lnTo>
                  <a:pt x="360" y="596"/>
                </a:lnTo>
                <a:lnTo>
                  <a:pt x="366" y="590"/>
                </a:lnTo>
                <a:lnTo>
                  <a:pt x="370" y="584"/>
                </a:lnTo>
                <a:lnTo>
                  <a:pt x="368" y="580"/>
                </a:lnTo>
                <a:lnTo>
                  <a:pt x="364" y="582"/>
                </a:lnTo>
                <a:lnTo>
                  <a:pt x="360" y="586"/>
                </a:lnTo>
                <a:lnTo>
                  <a:pt x="356" y="592"/>
                </a:lnTo>
                <a:lnTo>
                  <a:pt x="352" y="596"/>
                </a:lnTo>
                <a:lnTo>
                  <a:pt x="348" y="600"/>
                </a:lnTo>
                <a:lnTo>
                  <a:pt x="348" y="606"/>
                </a:lnTo>
                <a:lnTo>
                  <a:pt x="346" y="612"/>
                </a:lnTo>
                <a:lnTo>
                  <a:pt x="344" y="618"/>
                </a:lnTo>
                <a:lnTo>
                  <a:pt x="342" y="622"/>
                </a:lnTo>
                <a:lnTo>
                  <a:pt x="336" y="630"/>
                </a:lnTo>
                <a:lnTo>
                  <a:pt x="332" y="638"/>
                </a:lnTo>
                <a:lnTo>
                  <a:pt x="328" y="634"/>
                </a:lnTo>
                <a:lnTo>
                  <a:pt x="328" y="628"/>
                </a:lnTo>
                <a:lnTo>
                  <a:pt x="330" y="622"/>
                </a:lnTo>
                <a:lnTo>
                  <a:pt x="326" y="614"/>
                </a:lnTo>
                <a:lnTo>
                  <a:pt x="320" y="610"/>
                </a:lnTo>
                <a:lnTo>
                  <a:pt x="308" y="600"/>
                </a:lnTo>
                <a:lnTo>
                  <a:pt x="294" y="592"/>
                </a:lnTo>
                <a:lnTo>
                  <a:pt x="286" y="590"/>
                </a:lnTo>
                <a:lnTo>
                  <a:pt x="278" y="580"/>
                </a:lnTo>
                <a:lnTo>
                  <a:pt x="268" y="572"/>
                </a:lnTo>
                <a:lnTo>
                  <a:pt x="270" y="568"/>
                </a:lnTo>
                <a:lnTo>
                  <a:pt x="276" y="564"/>
                </a:lnTo>
                <a:lnTo>
                  <a:pt x="300" y="540"/>
                </a:lnTo>
                <a:lnTo>
                  <a:pt x="308" y="534"/>
                </a:lnTo>
                <a:lnTo>
                  <a:pt x="316" y="530"/>
                </a:lnTo>
                <a:lnTo>
                  <a:pt x="320" y="524"/>
                </a:lnTo>
                <a:lnTo>
                  <a:pt x="324" y="512"/>
                </a:lnTo>
                <a:lnTo>
                  <a:pt x="322" y="502"/>
                </a:lnTo>
                <a:lnTo>
                  <a:pt x="318" y="498"/>
                </a:lnTo>
                <a:lnTo>
                  <a:pt x="308" y="496"/>
                </a:lnTo>
                <a:lnTo>
                  <a:pt x="308" y="490"/>
                </a:lnTo>
                <a:lnTo>
                  <a:pt x="312" y="482"/>
                </a:lnTo>
                <a:lnTo>
                  <a:pt x="314" y="474"/>
                </a:lnTo>
                <a:lnTo>
                  <a:pt x="308" y="472"/>
                </a:lnTo>
                <a:lnTo>
                  <a:pt x="300" y="474"/>
                </a:lnTo>
                <a:lnTo>
                  <a:pt x="292" y="466"/>
                </a:lnTo>
                <a:lnTo>
                  <a:pt x="288" y="456"/>
                </a:lnTo>
                <a:lnTo>
                  <a:pt x="290" y="446"/>
                </a:lnTo>
                <a:lnTo>
                  <a:pt x="284" y="442"/>
                </a:lnTo>
                <a:lnTo>
                  <a:pt x="274" y="440"/>
                </a:lnTo>
                <a:lnTo>
                  <a:pt x="266" y="442"/>
                </a:lnTo>
                <a:lnTo>
                  <a:pt x="256" y="442"/>
                </a:lnTo>
                <a:lnTo>
                  <a:pt x="256" y="414"/>
                </a:lnTo>
                <a:lnTo>
                  <a:pt x="252" y="406"/>
                </a:lnTo>
                <a:lnTo>
                  <a:pt x="256" y="402"/>
                </a:lnTo>
                <a:lnTo>
                  <a:pt x="252" y="396"/>
                </a:lnTo>
                <a:lnTo>
                  <a:pt x="260" y="382"/>
                </a:lnTo>
                <a:lnTo>
                  <a:pt x="260" y="376"/>
                </a:lnTo>
                <a:lnTo>
                  <a:pt x="258" y="366"/>
                </a:lnTo>
                <a:lnTo>
                  <a:pt x="248" y="362"/>
                </a:lnTo>
                <a:lnTo>
                  <a:pt x="246" y="350"/>
                </a:lnTo>
                <a:lnTo>
                  <a:pt x="248" y="342"/>
                </a:lnTo>
                <a:lnTo>
                  <a:pt x="220" y="342"/>
                </a:lnTo>
                <a:lnTo>
                  <a:pt x="218" y="330"/>
                </a:lnTo>
                <a:lnTo>
                  <a:pt x="218" y="326"/>
                </a:lnTo>
                <a:lnTo>
                  <a:pt x="220" y="322"/>
                </a:lnTo>
                <a:lnTo>
                  <a:pt x="218" y="314"/>
                </a:lnTo>
                <a:lnTo>
                  <a:pt x="214" y="302"/>
                </a:lnTo>
                <a:lnTo>
                  <a:pt x="196" y="298"/>
                </a:lnTo>
                <a:lnTo>
                  <a:pt x="184" y="292"/>
                </a:lnTo>
                <a:lnTo>
                  <a:pt x="176" y="290"/>
                </a:lnTo>
                <a:lnTo>
                  <a:pt x="172" y="284"/>
                </a:lnTo>
                <a:lnTo>
                  <a:pt x="162" y="282"/>
                </a:lnTo>
                <a:lnTo>
                  <a:pt x="152" y="280"/>
                </a:lnTo>
                <a:lnTo>
                  <a:pt x="140" y="268"/>
                </a:lnTo>
                <a:lnTo>
                  <a:pt x="138" y="240"/>
                </a:lnTo>
                <a:lnTo>
                  <a:pt x="126" y="240"/>
                </a:lnTo>
                <a:lnTo>
                  <a:pt x="116" y="244"/>
                </a:lnTo>
                <a:lnTo>
                  <a:pt x="114" y="244"/>
                </a:lnTo>
                <a:lnTo>
                  <a:pt x="106" y="250"/>
                </a:lnTo>
                <a:lnTo>
                  <a:pt x="92" y="256"/>
                </a:lnTo>
                <a:lnTo>
                  <a:pt x="72" y="258"/>
                </a:lnTo>
                <a:lnTo>
                  <a:pt x="60" y="256"/>
                </a:lnTo>
                <a:lnTo>
                  <a:pt x="54" y="256"/>
                </a:lnTo>
                <a:lnTo>
                  <a:pt x="52" y="250"/>
                </a:lnTo>
                <a:lnTo>
                  <a:pt x="56" y="238"/>
                </a:lnTo>
                <a:lnTo>
                  <a:pt x="54" y="232"/>
                </a:lnTo>
                <a:lnTo>
                  <a:pt x="48" y="238"/>
                </a:lnTo>
                <a:lnTo>
                  <a:pt x="38" y="242"/>
                </a:lnTo>
                <a:lnTo>
                  <a:pt x="36" y="244"/>
                </a:lnTo>
                <a:lnTo>
                  <a:pt x="28" y="242"/>
                </a:lnTo>
                <a:lnTo>
                  <a:pt x="18" y="232"/>
                </a:lnTo>
                <a:lnTo>
                  <a:pt x="8" y="222"/>
                </a:lnTo>
                <a:lnTo>
                  <a:pt x="0" y="200"/>
                </a:lnTo>
                <a:lnTo>
                  <a:pt x="8" y="188"/>
                </a:lnTo>
                <a:lnTo>
                  <a:pt x="14" y="182"/>
                </a:lnTo>
                <a:lnTo>
                  <a:pt x="16" y="172"/>
                </a:lnTo>
                <a:lnTo>
                  <a:pt x="26" y="160"/>
                </a:lnTo>
                <a:lnTo>
                  <a:pt x="40" y="154"/>
                </a:lnTo>
                <a:lnTo>
                  <a:pt x="62" y="152"/>
                </a:lnTo>
                <a:lnTo>
                  <a:pt x="68" y="138"/>
                </a:lnTo>
                <a:lnTo>
                  <a:pt x="68" y="126"/>
                </a:lnTo>
                <a:lnTo>
                  <a:pt x="70" y="120"/>
                </a:lnTo>
                <a:lnTo>
                  <a:pt x="72" y="106"/>
                </a:lnTo>
                <a:lnTo>
                  <a:pt x="70" y="94"/>
                </a:lnTo>
                <a:lnTo>
                  <a:pt x="64" y="86"/>
                </a:lnTo>
                <a:lnTo>
                  <a:pt x="64" y="74"/>
                </a:lnTo>
                <a:lnTo>
                  <a:pt x="66" y="72"/>
                </a:lnTo>
                <a:lnTo>
                  <a:pt x="76" y="74"/>
                </a:lnTo>
                <a:lnTo>
                  <a:pt x="76" y="68"/>
                </a:lnTo>
                <a:lnTo>
                  <a:pt x="64" y="64"/>
                </a:lnTo>
                <a:lnTo>
                  <a:pt x="64" y="58"/>
                </a:lnTo>
                <a:lnTo>
                  <a:pt x="92" y="56"/>
                </a:lnTo>
                <a:lnTo>
                  <a:pt x="102" y="54"/>
                </a:lnTo>
                <a:lnTo>
                  <a:pt x="108" y="56"/>
                </a:lnTo>
                <a:lnTo>
                  <a:pt x="112" y="62"/>
                </a:lnTo>
                <a:lnTo>
                  <a:pt x="120" y="70"/>
                </a:lnTo>
                <a:lnTo>
                  <a:pt x="130" y="72"/>
                </a:lnTo>
                <a:lnTo>
                  <a:pt x="144" y="68"/>
                </a:lnTo>
                <a:lnTo>
                  <a:pt x="150" y="62"/>
                </a:lnTo>
                <a:lnTo>
                  <a:pt x="156" y="56"/>
                </a:lnTo>
                <a:lnTo>
                  <a:pt x="168" y="52"/>
                </a:lnTo>
                <a:lnTo>
                  <a:pt x="168" y="44"/>
                </a:lnTo>
                <a:lnTo>
                  <a:pt x="162" y="44"/>
                </a:lnTo>
                <a:lnTo>
                  <a:pt x="156" y="36"/>
                </a:lnTo>
                <a:lnTo>
                  <a:pt x="154" y="26"/>
                </a:lnTo>
                <a:lnTo>
                  <a:pt x="148" y="20"/>
                </a:lnTo>
                <a:lnTo>
                  <a:pt x="154" y="18"/>
                </a:lnTo>
                <a:lnTo>
                  <a:pt x="162" y="22"/>
                </a:lnTo>
                <a:lnTo>
                  <a:pt x="174" y="22"/>
                </a:lnTo>
                <a:lnTo>
                  <a:pt x="178" y="24"/>
                </a:lnTo>
                <a:lnTo>
                  <a:pt x="184" y="20"/>
                </a:lnTo>
                <a:lnTo>
                  <a:pt x="194" y="18"/>
                </a:lnTo>
                <a:lnTo>
                  <a:pt x="206" y="14"/>
                </a:lnTo>
                <a:lnTo>
                  <a:pt x="210" y="4"/>
                </a:lnTo>
                <a:lnTo>
                  <a:pt x="208" y="0"/>
                </a:lnTo>
                <a:lnTo>
                  <a:pt x="220" y="0"/>
                </a:lnTo>
                <a:lnTo>
                  <a:pt x="228" y="22"/>
                </a:lnTo>
                <a:lnTo>
                  <a:pt x="222" y="28"/>
                </a:lnTo>
                <a:lnTo>
                  <a:pt x="222" y="48"/>
                </a:lnTo>
                <a:lnTo>
                  <a:pt x="228" y="56"/>
                </a:lnTo>
                <a:lnTo>
                  <a:pt x="236" y="64"/>
                </a:lnTo>
                <a:lnTo>
                  <a:pt x="244" y="64"/>
                </a:lnTo>
                <a:lnTo>
                  <a:pt x="254" y="62"/>
                </a:lnTo>
                <a:lnTo>
                  <a:pt x="260" y="58"/>
                </a:lnTo>
                <a:lnTo>
                  <a:pt x="268" y="54"/>
                </a:lnTo>
                <a:lnTo>
                  <a:pt x="272" y="50"/>
                </a:lnTo>
                <a:lnTo>
                  <a:pt x="276" y="54"/>
                </a:lnTo>
                <a:lnTo>
                  <a:pt x="282" y="54"/>
                </a:lnTo>
                <a:lnTo>
                  <a:pt x="284" y="54"/>
                </a:lnTo>
                <a:lnTo>
                  <a:pt x="286" y="48"/>
                </a:lnTo>
                <a:lnTo>
                  <a:pt x="286" y="44"/>
                </a:lnTo>
                <a:lnTo>
                  <a:pt x="290" y="44"/>
                </a:lnTo>
                <a:lnTo>
                  <a:pt x="300" y="46"/>
                </a:lnTo>
                <a:lnTo>
                  <a:pt x="310" y="50"/>
                </a:lnTo>
                <a:lnTo>
                  <a:pt x="316" y="50"/>
                </a:lnTo>
                <a:lnTo>
                  <a:pt x="322" y="46"/>
                </a:lnTo>
                <a:lnTo>
                  <a:pt x="332" y="48"/>
                </a:lnTo>
                <a:lnTo>
                  <a:pt x="338" y="52"/>
                </a:lnTo>
                <a:lnTo>
                  <a:pt x="350" y="24"/>
                </a:lnTo>
                <a:lnTo>
                  <a:pt x="356" y="1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4" name="Freeform 84">
            <a:extLst>
              <a:ext uri="{FF2B5EF4-FFF2-40B4-BE49-F238E27FC236}">
                <a16:creationId xmlns:a16="http://schemas.microsoft.com/office/drawing/2014/main" id="{5CCB7943-94E4-13CA-C9F8-48E121324C35}"/>
              </a:ext>
            </a:extLst>
          </p:cNvPr>
          <p:cNvSpPr>
            <a:spLocks/>
          </p:cNvSpPr>
          <p:nvPr/>
        </p:nvSpPr>
        <p:spPr bwMode="auto">
          <a:xfrm>
            <a:off x="5983817" y="3901018"/>
            <a:ext cx="340784" cy="328084"/>
          </a:xfrm>
          <a:custGeom>
            <a:avLst/>
            <a:gdLst>
              <a:gd name="T0" fmla="*/ 2147483647 w 172"/>
              <a:gd name="T1" fmla="*/ 0 h 172"/>
              <a:gd name="T2" fmla="*/ 2147483647 w 172"/>
              <a:gd name="T3" fmla="*/ 2147483647 h 172"/>
              <a:gd name="T4" fmla="*/ 2147483647 w 172"/>
              <a:gd name="T5" fmla="*/ 2147483647 h 172"/>
              <a:gd name="T6" fmla="*/ 2147483647 w 172"/>
              <a:gd name="T7" fmla="*/ 2147483647 h 172"/>
              <a:gd name="T8" fmla="*/ 2147483647 w 172"/>
              <a:gd name="T9" fmla="*/ 2147483647 h 172"/>
              <a:gd name="T10" fmla="*/ 2147483647 w 172"/>
              <a:gd name="T11" fmla="*/ 2147483647 h 172"/>
              <a:gd name="T12" fmla="*/ 2147483647 w 172"/>
              <a:gd name="T13" fmla="*/ 2147483647 h 172"/>
              <a:gd name="T14" fmla="*/ 2147483647 w 172"/>
              <a:gd name="T15" fmla="*/ 2147483647 h 172"/>
              <a:gd name="T16" fmla="*/ 2147483647 w 172"/>
              <a:gd name="T17" fmla="*/ 2147483647 h 172"/>
              <a:gd name="T18" fmla="*/ 2147483647 w 172"/>
              <a:gd name="T19" fmla="*/ 2147483647 h 172"/>
              <a:gd name="T20" fmla="*/ 2147483647 w 172"/>
              <a:gd name="T21" fmla="*/ 2147483647 h 172"/>
              <a:gd name="T22" fmla="*/ 2147483647 w 172"/>
              <a:gd name="T23" fmla="*/ 2147483647 h 172"/>
              <a:gd name="T24" fmla="*/ 2147483647 w 172"/>
              <a:gd name="T25" fmla="*/ 2147483647 h 172"/>
              <a:gd name="T26" fmla="*/ 2147483647 w 172"/>
              <a:gd name="T27" fmla="*/ 2147483647 h 172"/>
              <a:gd name="T28" fmla="*/ 2147483647 w 172"/>
              <a:gd name="T29" fmla="*/ 2147483647 h 172"/>
              <a:gd name="T30" fmla="*/ 2147483647 w 172"/>
              <a:gd name="T31" fmla="*/ 2147483647 h 172"/>
              <a:gd name="T32" fmla="*/ 2147483647 w 172"/>
              <a:gd name="T33" fmla="*/ 2147483647 h 172"/>
              <a:gd name="T34" fmla="*/ 2147483647 w 172"/>
              <a:gd name="T35" fmla="*/ 2147483647 h 172"/>
              <a:gd name="T36" fmla="*/ 2147483647 w 172"/>
              <a:gd name="T37" fmla="*/ 2147483647 h 172"/>
              <a:gd name="T38" fmla="*/ 2147483647 w 172"/>
              <a:gd name="T39" fmla="*/ 2147483647 h 172"/>
              <a:gd name="T40" fmla="*/ 2147483647 w 172"/>
              <a:gd name="T41" fmla="*/ 2147483647 h 172"/>
              <a:gd name="T42" fmla="*/ 2147483647 w 172"/>
              <a:gd name="T43" fmla="*/ 2147483647 h 172"/>
              <a:gd name="T44" fmla="*/ 2147483647 w 172"/>
              <a:gd name="T45" fmla="*/ 2147483647 h 172"/>
              <a:gd name="T46" fmla="*/ 2147483647 w 172"/>
              <a:gd name="T47" fmla="*/ 2147483647 h 172"/>
              <a:gd name="T48" fmla="*/ 2147483647 w 172"/>
              <a:gd name="T49" fmla="*/ 2147483647 h 172"/>
              <a:gd name="T50" fmla="*/ 2147483647 w 172"/>
              <a:gd name="T51" fmla="*/ 2147483647 h 172"/>
              <a:gd name="T52" fmla="*/ 2147483647 w 172"/>
              <a:gd name="T53" fmla="*/ 2147483647 h 172"/>
              <a:gd name="T54" fmla="*/ 2147483647 w 172"/>
              <a:gd name="T55" fmla="*/ 2147483647 h 172"/>
              <a:gd name="T56" fmla="*/ 2147483647 w 172"/>
              <a:gd name="T57" fmla="*/ 2147483647 h 172"/>
              <a:gd name="T58" fmla="*/ 2147483647 w 172"/>
              <a:gd name="T59" fmla="*/ 2147483647 h 172"/>
              <a:gd name="T60" fmla="*/ 2147483647 w 172"/>
              <a:gd name="T61" fmla="*/ 2147483647 h 172"/>
              <a:gd name="T62" fmla="*/ 2147483647 w 172"/>
              <a:gd name="T63" fmla="*/ 2147483647 h 172"/>
              <a:gd name="T64" fmla="*/ 2147483647 w 172"/>
              <a:gd name="T65" fmla="*/ 2147483647 h 172"/>
              <a:gd name="T66" fmla="*/ 2147483647 w 172"/>
              <a:gd name="T67" fmla="*/ 2147483647 h 172"/>
              <a:gd name="T68" fmla="*/ 2147483647 w 172"/>
              <a:gd name="T69" fmla="*/ 2147483647 h 172"/>
              <a:gd name="T70" fmla="*/ 2147483647 w 172"/>
              <a:gd name="T71" fmla="*/ 2147483647 h 172"/>
              <a:gd name="T72" fmla="*/ 2147483647 w 172"/>
              <a:gd name="T73" fmla="*/ 2147483647 h 172"/>
              <a:gd name="T74" fmla="*/ 0 w 172"/>
              <a:gd name="T75" fmla="*/ 2147483647 h 172"/>
              <a:gd name="T76" fmla="*/ 2147483647 w 172"/>
              <a:gd name="T77" fmla="*/ 2147483647 h 172"/>
              <a:gd name="T78" fmla="*/ 2147483647 w 172"/>
              <a:gd name="T79" fmla="*/ 0 h 172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72"/>
              <a:gd name="T121" fmla="*/ 0 h 172"/>
              <a:gd name="T122" fmla="*/ 172 w 172"/>
              <a:gd name="T123" fmla="*/ 172 h 172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72" h="172">
                <a:moveTo>
                  <a:pt x="6" y="0"/>
                </a:moveTo>
                <a:lnTo>
                  <a:pt x="16" y="4"/>
                </a:lnTo>
                <a:lnTo>
                  <a:pt x="24" y="2"/>
                </a:lnTo>
                <a:lnTo>
                  <a:pt x="48" y="12"/>
                </a:lnTo>
                <a:lnTo>
                  <a:pt x="66" y="16"/>
                </a:lnTo>
                <a:lnTo>
                  <a:pt x="80" y="14"/>
                </a:lnTo>
                <a:lnTo>
                  <a:pt x="90" y="8"/>
                </a:lnTo>
                <a:lnTo>
                  <a:pt x="112" y="6"/>
                </a:lnTo>
                <a:lnTo>
                  <a:pt x="122" y="12"/>
                </a:lnTo>
                <a:lnTo>
                  <a:pt x="134" y="10"/>
                </a:lnTo>
                <a:lnTo>
                  <a:pt x="150" y="12"/>
                </a:lnTo>
                <a:lnTo>
                  <a:pt x="154" y="20"/>
                </a:lnTo>
                <a:lnTo>
                  <a:pt x="162" y="40"/>
                </a:lnTo>
                <a:lnTo>
                  <a:pt x="158" y="44"/>
                </a:lnTo>
                <a:lnTo>
                  <a:pt x="152" y="56"/>
                </a:lnTo>
                <a:lnTo>
                  <a:pt x="150" y="66"/>
                </a:lnTo>
                <a:lnTo>
                  <a:pt x="146" y="70"/>
                </a:lnTo>
                <a:lnTo>
                  <a:pt x="140" y="60"/>
                </a:lnTo>
                <a:lnTo>
                  <a:pt x="136" y="48"/>
                </a:lnTo>
                <a:lnTo>
                  <a:pt x="130" y="40"/>
                </a:lnTo>
                <a:lnTo>
                  <a:pt x="126" y="28"/>
                </a:lnTo>
                <a:lnTo>
                  <a:pt x="122" y="16"/>
                </a:lnTo>
                <a:lnTo>
                  <a:pt x="122" y="24"/>
                </a:lnTo>
                <a:lnTo>
                  <a:pt x="124" y="42"/>
                </a:lnTo>
                <a:lnTo>
                  <a:pt x="128" y="54"/>
                </a:lnTo>
                <a:lnTo>
                  <a:pt x="136" y="64"/>
                </a:lnTo>
                <a:lnTo>
                  <a:pt x="142" y="72"/>
                </a:lnTo>
                <a:lnTo>
                  <a:pt x="150" y="96"/>
                </a:lnTo>
                <a:lnTo>
                  <a:pt x="170" y="130"/>
                </a:lnTo>
                <a:lnTo>
                  <a:pt x="172" y="136"/>
                </a:lnTo>
                <a:lnTo>
                  <a:pt x="172" y="152"/>
                </a:lnTo>
                <a:lnTo>
                  <a:pt x="164" y="152"/>
                </a:lnTo>
                <a:lnTo>
                  <a:pt x="144" y="172"/>
                </a:lnTo>
                <a:lnTo>
                  <a:pt x="134" y="166"/>
                </a:lnTo>
                <a:lnTo>
                  <a:pt x="6" y="164"/>
                </a:lnTo>
                <a:lnTo>
                  <a:pt x="6" y="38"/>
                </a:lnTo>
                <a:lnTo>
                  <a:pt x="2" y="36"/>
                </a:lnTo>
                <a:lnTo>
                  <a:pt x="0" y="24"/>
                </a:lnTo>
                <a:lnTo>
                  <a:pt x="6" y="20"/>
                </a:lnTo>
                <a:lnTo>
                  <a:pt x="6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5" name="Freeform 85">
            <a:extLst>
              <a:ext uri="{FF2B5EF4-FFF2-40B4-BE49-F238E27FC236}">
                <a16:creationId xmlns:a16="http://schemas.microsoft.com/office/drawing/2014/main" id="{65C8E3DE-161D-23EC-052F-ACC4DEDC80DA}"/>
              </a:ext>
            </a:extLst>
          </p:cNvPr>
          <p:cNvSpPr>
            <a:spLocks/>
          </p:cNvSpPr>
          <p:nvPr/>
        </p:nvSpPr>
        <p:spPr bwMode="auto">
          <a:xfrm>
            <a:off x="5511800" y="3843867"/>
            <a:ext cx="482600" cy="444500"/>
          </a:xfrm>
          <a:custGeom>
            <a:avLst/>
            <a:gdLst>
              <a:gd name="T0" fmla="*/ 2147483647 w 249"/>
              <a:gd name="T1" fmla="*/ 0 h 222"/>
              <a:gd name="T2" fmla="*/ 2147483647 w 249"/>
              <a:gd name="T3" fmla="*/ 2147483647 h 222"/>
              <a:gd name="T4" fmla="*/ 2147483647 w 249"/>
              <a:gd name="T5" fmla="*/ 2147483647 h 222"/>
              <a:gd name="T6" fmla="*/ 2147483647 w 249"/>
              <a:gd name="T7" fmla="*/ 2147483647 h 222"/>
              <a:gd name="T8" fmla="*/ 2147483647 w 249"/>
              <a:gd name="T9" fmla="*/ 2147483647 h 222"/>
              <a:gd name="T10" fmla="*/ 2147483647 w 249"/>
              <a:gd name="T11" fmla="*/ 2147483647 h 222"/>
              <a:gd name="T12" fmla="*/ 2147483647 w 249"/>
              <a:gd name="T13" fmla="*/ 2147483647 h 222"/>
              <a:gd name="T14" fmla="*/ 2147483647 w 249"/>
              <a:gd name="T15" fmla="*/ 2147483647 h 222"/>
              <a:gd name="T16" fmla="*/ 2147483647 w 249"/>
              <a:gd name="T17" fmla="*/ 2147483647 h 222"/>
              <a:gd name="T18" fmla="*/ 2147483647 w 249"/>
              <a:gd name="T19" fmla="*/ 2147483647 h 222"/>
              <a:gd name="T20" fmla="*/ 2147483647 w 249"/>
              <a:gd name="T21" fmla="*/ 2147483647 h 222"/>
              <a:gd name="T22" fmla="*/ 2147483647 w 249"/>
              <a:gd name="T23" fmla="*/ 2147483647 h 222"/>
              <a:gd name="T24" fmla="*/ 2147483647 w 249"/>
              <a:gd name="T25" fmla="*/ 2147483647 h 222"/>
              <a:gd name="T26" fmla="*/ 2147483647 w 249"/>
              <a:gd name="T27" fmla="*/ 2147483647 h 222"/>
              <a:gd name="T28" fmla="*/ 2147483647 w 249"/>
              <a:gd name="T29" fmla="*/ 2147483647 h 222"/>
              <a:gd name="T30" fmla="*/ 2147483647 w 249"/>
              <a:gd name="T31" fmla="*/ 2147483647 h 222"/>
              <a:gd name="T32" fmla="*/ 2147483647 w 249"/>
              <a:gd name="T33" fmla="*/ 2147483647 h 222"/>
              <a:gd name="T34" fmla="*/ 2147483647 w 249"/>
              <a:gd name="T35" fmla="*/ 2147483647 h 222"/>
              <a:gd name="T36" fmla="*/ 2147483647 w 249"/>
              <a:gd name="T37" fmla="*/ 2147483647 h 222"/>
              <a:gd name="T38" fmla="*/ 2147483647 w 249"/>
              <a:gd name="T39" fmla="*/ 2147483647 h 222"/>
              <a:gd name="T40" fmla="*/ 2147483647 w 249"/>
              <a:gd name="T41" fmla="*/ 2147483647 h 222"/>
              <a:gd name="T42" fmla="*/ 2147483647 w 249"/>
              <a:gd name="T43" fmla="*/ 2147483647 h 222"/>
              <a:gd name="T44" fmla="*/ 2147483647 w 249"/>
              <a:gd name="T45" fmla="*/ 2147483647 h 222"/>
              <a:gd name="T46" fmla="*/ 2147483647 w 249"/>
              <a:gd name="T47" fmla="*/ 2147483647 h 222"/>
              <a:gd name="T48" fmla="*/ 2147483647 w 249"/>
              <a:gd name="T49" fmla="*/ 2147483647 h 222"/>
              <a:gd name="T50" fmla="*/ 2147483647 w 249"/>
              <a:gd name="T51" fmla="*/ 2147483647 h 222"/>
              <a:gd name="T52" fmla="*/ 2147483647 w 249"/>
              <a:gd name="T53" fmla="*/ 2147483647 h 222"/>
              <a:gd name="T54" fmla="*/ 2147483647 w 249"/>
              <a:gd name="T55" fmla="*/ 2147483647 h 222"/>
              <a:gd name="T56" fmla="*/ 2147483647 w 249"/>
              <a:gd name="T57" fmla="*/ 2147483647 h 222"/>
              <a:gd name="T58" fmla="*/ 2147483647 w 249"/>
              <a:gd name="T59" fmla="*/ 2147483647 h 222"/>
              <a:gd name="T60" fmla="*/ 2147483647 w 249"/>
              <a:gd name="T61" fmla="*/ 2147483647 h 222"/>
              <a:gd name="T62" fmla="*/ 2147483647 w 249"/>
              <a:gd name="T63" fmla="*/ 2147483647 h 222"/>
              <a:gd name="T64" fmla="*/ 2147483647 w 249"/>
              <a:gd name="T65" fmla="*/ 2147483647 h 222"/>
              <a:gd name="T66" fmla="*/ 2147483647 w 249"/>
              <a:gd name="T67" fmla="*/ 2147483647 h 222"/>
              <a:gd name="T68" fmla="*/ 2147483647 w 249"/>
              <a:gd name="T69" fmla="*/ 2147483647 h 222"/>
              <a:gd name="T70" fmla="*/ 2147483647 w 249"/>
              <a:gd name="T71" fmla="*/ 2147483647 h 222"/>
              <a:gd name="T72" fmla="*/ 0 w 249"/>
              <a:gd name="T73" fmla="*/ 2147483647 h 222"/>
              <a:gd name="T74" fmla="*/ 2147483647 w 249"/>
              <a:gd name="T75" fmla="*/ 2147483647 h 222"/>
              <a:gd name="T76" fmla="*/ 2147483647 w 249"/>
              <a:gd name="T77" fmla="*/ 2147483647 h 222"/>
              <a:gd name="T78" fmla="*/ 2147483647 w 249"/>
              <a:gd name="T79" fmla="*/ 2147483647 h 222"/>
              <a:gd name="T80" fmla="*/ 2147483647 w 249"/>
              <a:gd name="T81" fmla="*/ 2147483647 h 222"/>
              <a:gd name="T82" fmla="*/ 2147483647 w 249"/>
              <a:gd name="T83" fmla="*/ 2147483647 h 222"/>
              <a:gd name="T84" fmla="*/ 2147483647 w 249"/>
              <a:gd name="T85" fmla="*/ 2147483647 h 222"/>
              <a:gd name="T86" fmla="*/ 2147483647 w 249"/>
              <a:gd name="T87" fmla="*/ 2147483647 h 222"/>
              <a:gd name="T88" fmla="*/ 2147483647 w 249"/>
              <a:gd name="T89" fmla="*/ 0 h 22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249"/>
              <a:gd name="T136" fmla="*/ 0 h 222"/>
              <a:gd name="T137" fmla="*/ 249 w 249"/>
              <a:gd name="T138" fmla="*/ 222 h 22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249" h="222">
                <a:moveTo>
                  <a:pt x="35" y="0"/>
                </a:moveTo>
                <a:lnTo>
                  <a:pt x="51" y="4"/>
                </a:lnTo>
                <a:lnTo>
                  <a:pt x="79" y="8"/>
                </a:lnTo>
                <a:lnTo>
                  <a:pt x="93" y="16"/>
                </a:lnTo>
                <a:lnTo>
                  <a:pt x="99" y="28"/>
                </a:lnTo>
                <a:lnTo>
                  <a:pt x="107" y="34"/>
                </a:lnTo>
                <a:lnTo>
                  <a:pt x="125" y="34"/>
                </a:lnTo>
                <a:lnTo>
                  <a:pt x="137" y="42"/>
                </a:lnTo>
                <a:lnTo>
                  <a:pt x="157" y="54"/>
                </a:lnTo>
                <a:lnTo>
                  <a:pt x="171" y="40"/>
                </a:lnTo>
                <a:lnTo>
                  <a:pt x="173" y="30"/>
                </a:lnTo>
                <a:lnTo>
                  <a:pt x="167" y="22"/>
                </a:lnTo>
                <a:lnTo>
                  <a:pt x="177" y="12"/>
                </a:lnTo>
                <a:lnTo>
                  <a:pt x="191" y="6"/>
                </a:lnTo>
                <a:lnTo>
                  <a:pt x="209" y="8"/>
                </a:lnTo>
                <a:lnTo>
                  <a:pt x="223" y="16"/>
                </a:lnTo>
                <a:lnTo>
                  <a:pt x="237" y="22"/>
                </a:lnTo>
                <a:lnTo>
                  <a:pt x="249" y="24"/>
                </a:lnTo>
                <a:lnTo>
                  <a:pt x="249" y="44"/>
                </a:lnTo>
                <a:lnTo>
                  <a:pt x="243" y="48"/>
                </a:lnTo>
                <a:lnTo>
                  <a:pt x="245" y="60"/>
                </a:lnTo>
                <a:lnTo>
                  <a:pt x="249" y="62"/>
                </a:lnTo>
                <a:lnTo>
                  <a:pt x="249" y="188"/>
                </a:lnTo>
                <a:lnTo>
                  <a:pt x="249" y="222"/>
                </a:lnTo>
                <a:lnTo>
                  <a:pt x="231" y="222"/>
                </a:lnTo>
                <a:lnTo>
                  <a:pt x="97" y="168"/>
                </a:lnTo>
                <a:lnTo>
                  <a:pt x="91" y="174"/>
                </a:lnTo>
                <a:lnTo>
                  <a:pt x="79" y="180"/>
                </a:lnTo>
                <a:lnTo>
                  <a:pt x="69" y="172"/>
                </a:lnTo>
                <a:lnTo>
                  <a:pt x="59" y="168"/>
                </a:lnTo>
                <a:lnTo>
                  <a:pt x="43" y="164"/>
                </a:lnTo>
                <a:lnTo>
                  <a:pt x="37" y="158"/>
                </a:lnTo>
                <a:lnTo>
                  <a:pt x="33" y="150"/>
                </a:lnTo>
                <a:lnTo>
                  <a:pt x="14" y="148"/>
                </a:lnTo>
                <a:lnTo>
                  <a:pt x="8" y="136"/>
                </a:lnTo>
                <a:lnTo>
                  <a:pt x="4" y="126"/>
                </a:lnTo>
                <a:lnTo>
                  <a:pt x="0" y="116"/>
                </a:lnTo>
                <a:lnTo>
                  <a:pt x="8" y="112"/>
                </a:lnTo>
                <a:lnTo>
                  <a:pt x="8" y="66"/>
                </a:lnTo>
                <a:lnTo>
                  <a:pt x="4" y="48"/>
                </a:lnTo>
                <a:lnTo>
                  <a:pt x="12" y="42"/>
                </a:lnTo>
                <a:lnTo>
                  <a:pt x="12" y="26"/>
                </a:lnTo>
                <a:lnTo>
                  <a:pt x="33" y="12"/>
                </a:lnTo>
                <a:lnTo>
                  <a:pt x="35" y="10"/>
                </a:lnTo>
                <a:lnTo>
                  <a:pt x="35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6" name="Freeform 86">
            <a:extLst>
              <a:ext uri="{FF2B5EF4-FFF2-40B4-BE49-F238E27FC236}">
                <a16:creationId xmlns:a16="http://schemas.microsoft.com/office/drawing/2014/main" id="{BB055887-88EF-A3E1-0DA4-B2FFD9AE93CF}"/>
              </a:ext>
            </a:extLst>
          </p:cNvPr>
          <p:cNvSpPr>
            <a:spLocks/>
          </p:cNvSpPr>
          <p:nvPr/>
        </p:nvSpPr>
        <p:spPr bwMode="auto">
          <a:xfrm>
            <a:off x="5452534" y="3706285"/>
            <a:ext cx="124884" cy="241300"/>
          </a:xfrm>
          <a:custGeom>
            <a:avLst/>
            <a:gdLst>
              <a:gd name="T0" fmla="*/ 2147483647 w 65"/>
              <a:gd name="T1" fmla="*/ 2147483647 h 122"/>
              <a:gd name="T2" fmla="*/ 2147483647 w 65"/>
              <a:gd name="T3" fmla="*/ 0 h 122"/>
              <a:gd name="T4" fmla="*/ 2147483647 w 65"/>
              <a:gd name="T5" fmla="*/ 0 h 122"/>
              <a:gd name="T6" fmla="*/ 2147483647 w 65"/>
              <a:gd name="T7" fmla="*/ 2147483647 h 122"/>
              <a:gd name="T8" fmla="*/ 2147483647 w 65"/>
              <a:gd name="T9" fmla="*/ 2147483647 h 122"/>
              <a:gd name="T10" fmla="*/ 2147483647 w 65"/>
              <a:gd name="T11" fmla="*/ 2147483647 h 122"/>
              <a:gd name="T12" fmla="*/ 2147483647 w 65"/>
              <a:gd name="T13" fmla="*/ 2147483647 h 122"/>
              <a:gd name="T14" fmla="*/ 2147483647 w 65"/>
              <a:gd name="T15" fmla="*/ 2147483647 h 122"/>
              <a:gd name="T16" fmla="*/ 2147483647 w 65"/>
              <a:gd name="T17" fmla="*/ 2147483647 h 122"/>
              <a:gd name="T18" fmla="*/ 2147483647 w 65"/>
              <a:gd name="T19" fmla="*/ 2147483647 h 122"/>
              <a:gd name="T20" fmla="*/ 2147483647 w 65"/>
              <a:gd name="T21" fmla="*/ 2147483647 h 122"/>
              <a:gd name="T22" fmla="*/ 2147483647 w 65"/>
              <a:gd name="T23" fmla="*/ 2147483647 h 122"/>
              <a:gd name="T24" fmla="*/ 2147483647 w 65"/>
              <a:gd name="T25" fmla="*/ 2147483647 h 122"/>
              <a:gd name="T26" fmla="*/ 2147483647 w 65"/>
              <a:gd name="T27" fmla="*/ 2147483647 h 122"/>
              <a:gd name="T28" fmla="*/ 2147483647 w 65"/>
              <a:gd name="T29" fmla="*/ 2147483647 h 122"/>
              <a:gd name="T30" fmla="*/ 2147483647 w 65"/>
              <a:gd name="T31" fmla="*/ 2147483647 h 122"/>
              <a:gd name="T32" fmla="*/ 2147483647 w 65"/>
              <a:gd name="T33" fmla="*/ 2147483647 h 122"/>
              <a:gd name="T34" fmla="*/ 2147483647 w 65"/>
              <a:gd name="T35" fmla="*/ 2147483647 h 122"/>
              <a:gd name="T36" fmla="*/ 2147483647 w 65"/>
              <a:gd name="T37" fmla="*/ 2147483647 h 122"/>
              <a:gd name="T38" fmla="*/ 2147483647 w 65"/>
              <a:gd name="T39" fmla="*/ 2147483647 h 122"/>
              <a:gd name="T40" fmla="*/ 2147483647 w 65"/>
              <a:gd name="T41" fmla="*/ 2147483647 h 122"/>
              <a:gd name="T42" fmla="*/ 2147483647 w 65"/>
              <a:gd name="T43" fmla="*/ 2147483647 h 122"/>
              <a:gd name="T44" fmla="*/ 2147483647 w 65"/>
              <a:gd name="T45" fmla="*/ 2147483647 h 122"/>
              <a:gd name="T46" fmla="*/ 2147483647 w 65"/>
              <a:gd name="T47" fmla="*/ 2147483647 h 122"/>
              <a:gd name="T48" fmla="*/ 2147483647 w 65"/>
              <a:gd name="T49" fmla="*/ 2147483647 h 122"/>
              <a:gd name="T50" fmla="*/ 2147483647 w 65"/>
              <a:gd name="T51" fmla="*/ 2147483647 h 122"/>
              <a:gd name="T52" fmla="*/ 2147483647 w 65"/>
              <a:gd name="T53" fmla="*/ 2147483647 h 122"/>
              <a:gd name="T54" fmla="*/ 2147483647 w 65"/>
              <a:gd name="T55" fmla="*/ 2147483647 h 122"/>
              <a:gd name="T56" fmla="*/ 0 w 65"/>
              <a:gd name="T57" fmla="*/ 2147483647 h 122"/>
              <a:gd name="T58" fmla="*/ 0 w 65"/>
              <a:gd name="T59" fmla="*/ 2147483647 h 122"/>
              <a:gd name="T60" fmla="*/ 2147483647 w 65"/>
              <a:gd name="T61" fmla="*/ 2147483647 h 122"/>
              <a:gd name="T62" fmla="*/ 2147483647 w 65"/>
              <a:gd name="T63" fmla="*/ 2147483647 h 122"/>
              <a:gd name="T64" fmla="*/ 2147483647 w 65"/>
              <a:gd name="T65" fmla="*/ 2147483647 h 122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65"/>
              <a:gd name="T100" fmla="*/ 0 h 122"/>
              <a:gd name="T101" fmla="*/ 65 w 65"/>
              <a:gd name="T102" fmla="*/ 122 h 122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65" h="122">
                <a:moveTo>
                  <a:pt x="16" y="6"/>
                </a:moveTo>
                <a:lnTo>
                  <a:pt x="30" y="0"/>
                </a:lnTo>
                <a:lnTo>
                  <a:pt x="38" y="0"/>
                </a:lnTo>
                <a:lnTo>
                  <a:pt x="42" y="8"/>
                </a:lnTo>
                <a:lnTo>
                  <a:pt x="48" y="10"/>
                </a:lnTo>
                <a:lnTo>
                  <a:pt x="54" y="6"/>
                </a:lnTo>
                <a:lnTo>
                  <a:pt x="58" y="8"/>
                </a:lnTo>
                <a:lnTo>
                  <a:pt x="56" y="14"/>
                </a:lnTo>
                <a:lnTo>
                  <a:pt x="50" y="16"/>
                </a:lnTo>
                <a:lnTo>
                  <a:pt x="46" y="24"/>
                </a:lnTo>
                <a:lnTo>
                  <a:pt x="50" y="28"/>
                </a:lnTo>
                <a:lnTo>
                  <a:pt x="58" y="32"/>
                </a:lnTo>
                <a:lnTo>
                  <a:pt x="58" y="38"/>
                </a:lnTo>
                <a:lnTo>
                  <a:pt x="52" y="44"/>
                </a:lnTo>
                <a:lnTo>
                  <a:pt x="46" y="46"/>
                </a:lnTo>
                <a:lnTo>
                  <a:pt x="40" y="54"/>
                </a:lnTo>
                <a:lnTo>
                  <a:pt x="44" y="64"/>
                </a:lnTo>
                <a:lnTo>
                  <a:pt x="54" y="64"/>
                </a:lnTo>
                <a:lnTo>
                  <a:pt x="58" y="70"/>
                </a:lnTo>
                <a:lnTo>
                  <a:pt x="65" y="74"/>
                </a:lnTo>
                <a:lnTo>
                  <a:pt x="65" y="84"/>
                </a:lnTo>
                <a:lnTo>
                  <a:pt x="42" y="100"/>
                </a:lnTo>
                <a:lnTo>
                  <a:pt x="42" y="116"/>
                </a:lnTo>
                <a:lnTo>
                  <a:pt x="34" y="122"/>
                </a:lnTo>
                <a:lnTo>
                  <a:pt x="28" y="120"/>
                </a:lnTo>
                <a:lnTo>
                  <a:pt x="26" y="108"/>
                </a:lnTo>
                <a:lnTo>
                  <a:pt x="24" y="92"/>
                </a:lnTo>
                <a:lnTo>
                  <a:pt x="10" y="76"/>
                </a:lnTo>
                <a:lnTo>
                  <a:pt x="0" y="64"/>
                </a:lnTo>
                <a:lnTo>
                  <a:pt x="0" y="56"/>
                </a:lnTo>
                <a:lnTo>
                  <a:pt x="12" y="46"/>
                </a:lnTo>
                <a:lnTo>
                  <a:pt x="12" y="10"/>
                </a:lnTo>
                <a:lnTo>
                  <a:pt x="16" y="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7" name="Freeform 87">
            <a:extLst>
              <a:ext uri="{FF2B5EF4-FFF2-40B4-BE49-F238E27FC236}">
                <a16:creationId xmlns:a16="http://schemas.microsoft.com/office/drawing/2014/main" id="{A0A50964-772D-3DE9-5798-F3FCBCBD17B4}"/>
              </a:ext>
            </a:extLst>
          </p:cNvPr>
          <p:cNvSpPr>
            <a:spLocks/>
          </p:cNvSpPr>
          <p:nvPr/>
        </p:nvSpPr>
        <p:spPr bwMode="auto">
          <a:xfrm>
            <a:off x="4950884" y="3716867"/>
            <a:ext cx="645584" cy="607484"/>
          </a:xfrm>
          <a:custGeom>
            <a:avLst/>
            <a:gdLst>
              <a:gd name="T0" fmla="*/ 0 w 331"/>
              <a:gd name="T1" fmla="*/ 2147483647 h 310"/>
              <a:gd name="T2" fmla="*/ 0 w 331"/>
              <a:gd name="T3" fmla="*/ 2147483647 h 310"/>
              <a:gd name="T4" fmla="*/ 2147483647 w 331"/>
              <a:gd name="T5" fmla="*/ 2147483647 h 310"/>
              <a:gd name="T6" fmla="*/ 2147483647 w 331"/>
              <a:gd name="T7" fmla="*/ 2147483647 h 310"/>
              <a:gd name="T8" fmla="*/ 2147483647 w 331"/>
              <a:gd name="T9" fmla="*/ 2147483647 h 310"/>
              <a:gd name="T10" fmla="*/ 2147483647 w 331"/>
              <a:gd name="T11" fmla="*/ 2147483647 h 310"/>
              <a:gd name="T12" fmla="*/ 2147483647 w 331"/>
              <a:gd name="T13" fmla="*/ 2147483647 h 310"/>
              <a:gd name="T14" fmla="*/ 2147483647 w 331"/>
              <a:gd name="T15" fmla="*/ 2147483647 h 310"/>
              <a:gd name="T16" fmla="*/ 2147483647 w 331"/>
              <a:gd name="T17" fmla="*/ 2147483647 h 310"/>
              <a:gd name="T18" fmla="*/ 2147483647 w 331"/>
              <a:gd name="T19" fmla="*/ 2147483647 h 310"/>
              <a:gd name="T20" fmla="*/ 2147483647 w 331"/>
              <a:gd name="T21" fmla="*/ 2147483647 h 310"/>
              <a:gd name="T22" fmla="*/ 2147483647 w 331"/>
              <a:gd name="T23" fmla="*/ 2147483647 h 310"/>
              <a:gd name="T24" fmla="*/ 2147483647 w 331"/>
              <a:gd name="T25" fmla="*/ 2147483647 h 310"/>
              <a:gd name="T26" fmla="*/ 2147483647 w 331"/>
              <a:gd name="T27" fmla="*/ 2147483647 h 310"/>
              <a:gd name="T28" fmla="*/ 2147483647 w 331"/>
              <a:gd name="T29" fmla="*/ 2147483647 h 310"/>
              <a:gd name="T30" fmla="*/ 2147483647 w 331"/>
              <a:gd name="T31" fmla="*/ 2147483647 h 310"/>
              <a:gd name="T32" fmla="*/ 2147483647 w 331"/>
              <a:gd name="T33" fmla="*/ 2147483647 h 310"/>
              <a:gd name="T34" fmla="*/ 2147483647 w 331"/>
              <a:gd name="T35" fmla="*/ 2147483647 h 310"/>
              <a:gd name="T36" fmla="*/ 2147483647 w 331"/>
              <a:gd name="T37" fmla="*/ 2147483647 h 310"/>
              <a:gd name="T38" fmla="*/ 2147483647 w 331"/>
              <a:gd name="T39" fmla="*/ 0 h 310"/>
              <a:gd name="T40" fmla="*/ 2147483647 w 331"/>
              <a:gd name="T41" fmla="*/ 0 h 310"/>
              <a:gd name="T42" fmla="*/ 2147483647 w 331"/>
              <a:gd name="T43" fmla="*/ 0 h 310"/>
              <a:gd name="T44" fmla="*/ 2147483647 w 331"/>
              <a:gd name="T45" fmla="*/ 2147483647 h 310"/>
              <a:gd name="T46" fmla="*/ 2147483647 w 331"/>
              <a:gd name="T47" fmla="*/ 2147483647 h 310"/>
              <a:gd name="T48" fmla="*/ 2147483647 w 331"/>
              <a:gd name="T49" fmla="*/ 2147483647 h 310"/>
              <a:gd name="T50" fmla="*/ 2147483647 w 331"/>
              <a:gd name="T51" fmla="*/ 2147483647 h 310"/>
              <a:gd name="T52" fmla="*/ 2147483647 w 331"/>
              <a:gd name="T53" fmla="*/ 2147483647 h 310"/>
              <a:gd name="T54" fmla="*/ 2147483647 w 331"/>
              <a:gd name="T55" fmla="*/ 2147483647 h 310"/>
              <a:gd name="T56" fmla="*/ 2147483647 w 331"/>
              <a:gd name="T57" fmla="*/ 2147483647 h 310"/>
              <a:gd name="T58" fmla="*/ 2147483647 w 331"/>
              <a:gd name="T59" fmla="*/ 2147483647 h 310"/>
              <a:gd name="T60" fmla="*/ 2147483647 w 331"/>
              <a:gd name="T61" fmla="*/ 2147483647 h 310"/>
              <a:gd name="T62" fmla="*/ 2147483647 w 331"/>
              <a:gd name="T63" fmla="*/ 2147483647 h 310"/>
              <a:gd name="T64" fmla="*/ 2147483647 w 331"/>
              <a:gd name="T65" fmla="*/ 2147483647 h 310"/>
              <a:gd name="T66" fmla="*/ 2147483647 w 331"/>
              <a:gd name="T67" fmla="*/ 2147483647 h 310"/>
              <a:gd name="T68" fmla="*/ 2147483647 w 331"/>
              <a:gd name="T69" fmla="*/ 2147483647 h 310"/>
              <a:gd name="T70" fmla="*/ 2147483647 w 331"/>
              <a:gd name="T71" fmla="*/ 2147483647 h 310"/>
              <a:gd name="T72" fmla="*/ 2147483647 w 331"/>
              <a:gd name="T73" fmla="*/ 2147483647 h 310"/>
              <a:gd name="T74" fmla="*/ 2147483647 w 331"/>
              <a:gd name="T75" fmla="*/ 2147483647 h 310"/>
              <a:gd name="T76" fmla="*/ 2147483647 w 331"/>
              <a:gd name="T77" fmla="*/ 2147483647 h 310"/>
              <a:gd name="T78" fmla="*/ 2147483647 w 331"/>
              <a:gd name="T79" fmla="*/ 2147483647 h 310"/>
              <a:gd name="T80" fmla="*/ 2147483647 w 331"/>
              <a:gd name="T81" fmla="*/ 2147483647 h 310"/>
              <a:gd name="T82" fmla="*/ 2147483647 w 331"/>
              <a:gd name="T83" fmla="*/ 2147483647 h 310"/>
              <a:gd name="T84" fmla="*/ 2147483647 w 331"/>
              <a:gd name="T85" fmla="*/ 2147483647 h 310"/>
              <a:gd name="T86" fmla="*/ 2147483647 w 331"/>
              <a:gd name="T87" fmla="*/ 2147483647 h 310"/>
              <a:gd name="T88" fmla="*/ 0 w 331"/>
              <a:gd name="T89" fmla="*/ 2147483647 h 31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331"/>
              <a:gd name="T136" fmla="*/ 0 h 310"/>
              <a:gd name="T137" fmla="*/ 331 w 331"/>
              <a:gd name="T138" fmla="*/ 310 h 310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331" h="310">
                <a:moveTo>
                  <a:pt x="0" y="164"/>
                </a:moveTo>
                <a:lnTo>
                  <a:pt x="0" y="146"/>
                </a:lnTo>
                <a:lnTo>
                  <a:pt x="32" y="126"/>
                </a:lnTo>
                <a:lnTo>
                  <a:pt x="54" y="124"/>
                </a:lnTo>
                <a:lnTo>
                  <a:pt x="78" y="104"/>
                </a:lnTo>
                <a:lnTo>
                  <a:pt x="80" y="96"/>
                </a:lnTo>
                <a:lnTo>
                  <a:pt x="96" y="86"/>
                </a:lnTo>
                <a:lnTo>
                  <a:pt x="120" y="84"/>
                </a:lnTo>
                <a:lnTo>
                  <a:pt x="120" y="76"/>
                </a:lnTo>
                <a:lnTo>
                  <a:pt x="112" y="66"/>
                </a:lnTo>
                <a:lnTo>
                  <a:pt x="112" y="40"/>
                </a:lnTo>
                <a:lnTo>
                  <a:pt x="110" y="34"/>
                </a:lnTo>
                <a:lnTo>
                  <a:pt x="126" y="22"/>
                </a:lnTo>
                <a:lnTo>
                  <a:pt x="138" y="20"/>
                </a:lnTo>
                <a:lnTo>
                  <a:pt x="154" y="10"/>
                </a:lnTo>
                <a:lnTo>
                  <a:pt x="180" y="6"/>
                </a:lnTo>
                <a:lnTo>
                  <a:pt x="204" y="2"/>
                </a:lnTo>
                <a:lnTo>
                  <a:pt x="218" y="4"/>
                </a:lnTo>
                <a:lnTo>
                  <a:pt x="226" y="6"/>
                </a:lnTo>
                <a:lnTo>
                  <a:pt x="238" y="0"/>
                </a:lnTo>
                <a:lnTo>
                  <a:pt x="254" y="0"/>
                </a:lnTo>
                <a:lnTo>
                  <a:pt x="262" y="0"/>
                </a:lnTo>
                <a:lnTo>
                  <a:pt x="270" y="4"/>
                </a:lnTo>
                <a:lnTo>
                  <a:pt x="270" y="40"/>
                </a:lnTo>
                <a:lnTo>
                  <a:pt x="258" y="50"/>
                </a:lnTo>
                <a:lnTo>
                  <a:pt x="258" y="58"/>
                </a:lnTo>
                <a:lnTo>
                  <a:pt x="282" y="86"/>
                </a:lnTo>
                <a:lnTo>
                  <a:pt x="286" y="114"/>
                </a:lnTo>
                <a:lnTo>
                  <a:pt x="292" y="116"/>
                </a:lnTo>
                <a:lnTo>
                  <a:pt x="294" y="132"/>
                </a:lnTo>
                <a:lnTo>
                  <a:pt x="296" y="180"/>
                </a:lnTo>
                <a:lnTo>
                  <a:pt x="288" y="184"/>
                </a:lnTo>
                <a:lnTo>
                  <a:pt x="292" y="194"/>
                </a:lnTo>
                <a:lnTo>
                  <a:pt x="302" y="216"/>
                </a:lnTo>
                <a:lnTo>
                  <a:pt x="321" y="218"/>
                </a:lnTo>
                <a:lnTo>
                  <a:pt x="325" y="226"/>
                </a:lnTo>
                <a:lnTo>
                  <a:pt x="331" y="232"/>
                </a:lnTo>
                <a:lnTo>
                  <a:pt x="264" y="272"/>
                </a:lnTo>
                <a:lnTo>
                  <a:pt x="226" y="304"/>
                </a:lnTo>
                <a:lnTo>
                  <a:pt x="206" y="308"/>
                </a:lnTo>
                <a:lnTo>
                  <a:pt x="188" y="310"/>
                </a:lnTo>
                <a:lnTo>
                  <a:pt x="190" y="294"/>
                </a:lnTo>
                <a:lnTo>
                  <a:pt x="170" y="286"/>
                </a:lnTo>
                <a:lnTo>
                  <a:pt x="160" y="276"/>
                </a:lnTo>
                <a:lnTo>
                  <a:pt x="0" y="16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8" name="Freeform 88">
            <a:extLst>
              <a:ext uri="{FF2B5EF4-FFF2-40B4-BE49-F238E27FC236}">
                <a16:creationId xmlns:a16="http://schemas.microsoft.com/office/drawing/2014/main" id="{42E21A19-4C46-B9EB-6728-61DCF9379C3C}"/>
              </a:ext>
            </a:extLst>
          </p:cNvPr>
          <p:cNvSpPr>
            <a:spLocks/>
          </p:cNvSpPr>
          <p:nvPr/>
        </p:nvSpPr>
        <p:spPr bwMode="auto">
          <a:xfrm>
            <a:off x="4804834" y="3754967"/>
            <a:ext cx="376767" cy="281517"/>
          </a:xfrm>
          <a:custGeom>
            <a:avLst/>
            <a:gdLst>
              <a:gd name="T0" fmla="*/ 2147483647 w 188"/>
              <a:gd name="T1" fmla="*/ 2147483647 h 144"/>
              <a:gd name="T2" fmla="*/ 0 w 188"/>
              <a:gd name="T3" fmla="*/ 2147483647 h 144"/>
              <a:gd name="T4" fmla="*/ 2147483647 w 188"/>
              <a:gd name="T5" fmla="*/ 2147483647 h 144"/>
              <a:gd name="T6" fmla="*/ 2147483647 w 188"/>
              <a:gd name="T7" fmla="*/ 2147483647 h 144"/>
              <a:gd name="T8" fmla="*/ 2147483647 w 188"/>
              <a:gd name="T9" fmla="*/ 2147483647 h 144"/>
              <a:gd name="T10" fmla="*/ 2147483647 w 188"/>
              <a:gd name="T11" fmla="*/ 2147483647 h 144"/>
              <a:gd name="T12" fmla="*/ 2147483647 w 188"/>
              <a:gd name="T13" fmla="*/ 2147483647 h 144"/>
              <a:gd name="T14" fmla="*/ 2147483647 w 188"/>
              <a:gd name="T15" fmla="*/ 2147483647 h 144"/>
              <a:gd name="T16" fmla="*/ 2147483647 w 188"/>
              <a:gd name="T17" fmla="*/ 2147483647 h 144"/>
              <a:gd name="T18" fmla="*/ 2147483647 w 188"/>
              <a:gd name="T19" fmla="*/ 2147483647 h 144"/>
              <a:gd name="T20" fmla="*/ 2147483647 w 188"/>
              <a:gd name="T21" fmla="*/ 2147483647 h 144"/>
              <a:gd name="T22" fmla="*/ 2147483647 w 188"/>
              <a:gd name="T23" fmla="*/ 2147483647 h 144"/>
              <a:gd name="T24" fmla="*/ 2147483647 w 188"/>
              <a:gd name="T25" fmla="*/ 2147483647 h 144"/>
              <a:gd name="T26" fmla="*/ 2147483647 w 188"/>
              <a:gd name="T27" fmla="*/ 0 h 144"/>
              <a:gd name="T28" fmla="*/ 2147483647 w 188"/>
              <a:gd name="T29" fmla="*/ 0 h 144"/>
              <a:gd name="T30" fmla="*/ 2147483647 w 188"/>
              <a:gd name="T31" fmla="*/ 2147483647 h 144"/>
              <a:gd name="T32" fmla="*/ 2147483647 w 188"/>
              <a:gd name="T33" fmla="*/ 2147483647 h 144"/>
              <a:gd name="T34" fmla="*/ 2147483647 w 188"/>
              <a:gd name="T35" fmla="*/ 2147483647 h 144"/>
              <a:gd name="T36" fmla="*/ 2147483647 w 188"/>
              <a:gd name="T37" fmla="*/ 2147483647 h 144"/>
              <a:gd name="T38" fmla="*/ 2147483647 w 188"/>
              <a:gd name="T39" fmla="*/ 2147483647 h 144"/>
              <a:gd name="T40" fmla="*/ 2147483647 w 188"/>
              <a:gd name="T41" fmla="*/ 2147483647 h 144"/>
              <a:gd name="T42" fmla="*/ 2147483647 w 188"/>
              <a:gd name="T43" fmla="*/ 2147483647 h 144"/>
              <a:gd name="T44" fmla="*/ 2147483647 w 188"/>
              <a:gd name="T45" fmla="*/ 2147483647 h 144"/>
              <a:gd name="T46" fmla="*/ 2147483647 w 188"/>
              <a:gd name="T47" fmla="*/ 2147483647 h 144"/>
              <a:gd name="T48" fmla="*/ 2147483647 w 188"/>
              <a:gd name="T49" fmla="*/ 2147483647 h 144"/>
              <a:gd name="T50" fmla="*/ 2147483647 w 188"/>
              <a:gd name="T51" fmla="*/ 2147483647 h 144"/>
              <a:gd name="T52" fmla="*/ 2147483647 w 188"/>
              <a:gd name="T53" fmla="*/ 2147483647 h 144"/>
              <a:gd name="T54" fmla="*/ 2147483647 w 188"/>
              <a:gd name="T55" fmla="*/ 2147483647 h 144"/>
              <a:gd name="T56" fmla="*/ 2147483647 w 188"/>
              <a:gd name="T57" fmla="*/ 2147483647 h 144"/>
              <a:gd name="T58" fmla="*/ 2147483647 w 188"/>
              <a:gd name="T59" fmla="*/ 2147483647 h 144"/>
              <a:gd name="T60" fmla="*/ 2147483647 w 188"/>
              <a:gd name="T61" fmla="*/ 2147483647 h 144"/>
              <a:gd name="T62" fmla="*/ 2147483647 w 188"/>
              <a:gd name="T63" fmla="*/ 2147483647 h 14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88"/>
              <a:gd name="T97" fmla="*/ 0 h 144"/>
              <a:gd name="T98" fmla="*/ 188 w 188"/>
              <a:gd name="T99" fmla="*/ 144 h 14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88" h="144">
                <a:moveTo>
                  <a:pt x="68" y="144"/>
                </a:moveTo>
                <a:lnTo>
                  <a:pt x="0" y="144"/>
                </a:lnTo>
                <a:lnTo>
                  <a:pt x="10" y="138"/>
                </a:lnTo>
                <a:lnTo>
                  <a:pt x="28" y="128"/>
                </a:lnTo>
                <a:lnTo>
                  <a:pt x="50" y="110"/>
                </a:lnTo>
                <a:lnTo>
                  <a:pt x="52" y="104"/>
                </a:lnTo>
                <a:lnTo>
                  <a:pt x="52" y="68"/>
                </a:lnTo>
                <a:lnTo>
                  <a:pt x="62" y="56"/>
                </a:lnTo>
                <a:lnTo>
                  <a:pt x="74" y="44"/>
                </a:lnTo>
                <a:lnTo>
                  <a:pt x="88" y="40"/>
                </a:lnTo>
                <a:lnTo>
                  <a:pt x="102" y="30"/>
                </a:lnTo>
                <a:lnTo>
                  <a:pt x="108" y="14"/>
                </a:lnTo>
                <a:lnTo>
                  <a:pt x="112" y="4"/>
                </a:lnTo>
                <a:lnTo>
                  <a:pt x="116" y="0"/>
                </a:lnTo>
                <a:lnTo>
                  <a:pt x="122" y="0"/>
                </a:lnTo>
                <a:lnTo>
                  <a:pt x="126" y="8"/>
                </a:lnTo>
                <a:lnTo>
                  <a:pt x="132" y="12"/>
                </a:lnTo>
                <a:lnTo>
                  <a:pt x="154" y="10"/>
                </a:lnTo>
                <a:lnTo>
                  <a:pt x="164" y="10"/>
                </a:lnTo>
                <a:lnTo>
                  <a:pt x="168" y="14"/>
                </a:lnTo>
                <a:lnTo>
                  <a:pt x="178" y="14"/>
                </a:lnTo>
                <a:lnTo>
                  <a:pt x="180" y="20"/>
                </a:lnTo>
                <a:lnTo>
                  <a:pt x="180" y="46"/>
                </a:lnTo>
                <a:lnTo>
                  <a:pt x="188" y="56"/>
                </a:lnTo>
                <a:lnTo>
                  <a:pt x="188" y="64"/>
                </a:lnTo>
                <a:lnTo>
                  <a:pt x="164" y="66"/>
                </a:lnTo>
                <a:lnTo>
                  <a:pt x="148" y="76"/>
                </a:lnTo>
                <a:lnTo>
                  <a:pt x="146" y="84"/>
                </a:lnTo>
                <a:lnTo>
                  <a:pt x="122" y="104"/>
                </a:lnTo>
                <a:lnTo>
                  <a:pt x="100" y="106"/>
                </a:lnTo>
                <a:lnTo>
                  <a:pt x="68" y="126"/>
                </a:lnTo>
                <a:lnTo>
                  <a:pt x="68" y="14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9" name="Freeform 89">
            <a:extLst>
              <a:ext uri="{FF2B5EF4-FFF2-40B4-BE49-F238E27FC236}">
                <a16:creationId xmlns:a16="http://schemas.microsoft.com/office/drawing/2014/main" id="{04578201-B2A6-1835-167C-6652E83BB146}"/>
              </a:ext>
            </a:extLst>
          </p:cNvPr>
          <p:cNvSpPr>
            <a:spLocks/>
          </p:cNvSpPr>
          <p:nvPr/>
        </p:nvSpPr>
        <p:spPr bwMode="auto">
          <a:xfrm>
            <a:off x="4690534" y="4036484"/>
            <a:ext cx="260351" cy="213784"/>
          </a:xfrm>
          <a:custGeom>
            <a:avLst/>
            <a:gdLst>
              <a:gd name="T0" fmla="*/ 0 w 132"/>
              <a:gd name="T1" fmla="*/ 2147483647 h 106"/>
              <a:gd name="T2" fmla="*/ 2147483647 w 132"/>
              <a:gd name="T3" fmla="*/ 2147483647 h 106"/>
              <a:gd name="T4" fmla="*/ 2147483647 w 132"/>
              <a:gd name="T5" fmla="*/ 2147483647 h 106"/>
              <a:gd name="T6" fmla="*/ 2147483647 w 132"/>
              <a:gd name="T7" fmla="*/ 2147483647 h 106"/>
              <a:gd name="T8" fmla="*/ 2147483647 w 132"/>
              <a:gd name="T9" fmla="*/ 2147483647 h 106"/>
              <a:gd name="T10" fmla="*/ 2147483647 w 132"/>
              <a:gd name="T11" fmla="*/ 2147483647 h 106"/>
              <a:gd name="T12" fmla="*/ 2147483647 w 132"/>
              <a:gd name="T13" fmla="*/ 2147483647 h 106"/>
              <a:gd name="T14" fmla="*/ 2147483647 w 132"/>
              <a:gd name="T15" fmla="*/ 2147483647 h 106"/>
              <a:gd name="T16" fmla="*/ 2147483647 w 132"/>
              <a:gd name="T17" fmla="*/ 2147483647 h 106"/>
              <a:gd name="T18" fmla="*/ 2147483647 w 132"/>
              <a:gd name="T19" fmla="*/ 0 h 106"/>
              <a:gd name="T20" fmla="*/ 2147483647 w 132"/>
              <a:gd name="T21" fmla="*/ 0 h 106"/>
              <a:gd name="T22" fmla="*/ 2147483647 w 132"/>
              <a:gd name="T23" fmla="*/ 2147483647 h 106"/>
              <a:gd name="T24" fmla="*/ 2147483647 w 132"/>
              <a:gd name="T25" fmla="*/ 2147483647 h 106"/>
              <a:gd name="T26" fmla="*/ 2147483647 w 132"/>
              <a:gd name="T27" fmla="*/ 2147483647 h 106"/>
              <a:gd name="T28" fmla="*/ 2147483647 w 132"/>
              <a:gd name="T29" fmla="*/ 2147483647 h 106"/>
              <a:gd name="T30" fmla="*/ 2147483647 w 132"/>
              <a:gd name="T31" fmla="*/ 2147483647 h 106"/>
              <a:gd name="T32" fmla="*/ 2147483647 w 132"/>
              <a:gd name="T33" fmla="*/ 2147483647 h 106"/>
              <a:gd name="T34" fmla="*/ 2147483647 w 132"/>
              <a:gd name="T35" fmla="*/ 2147483647 h 106"/>
              <a:gd name="T36" fmla="*/ 0 w 132"/>
              <a:gd name="T37" fmla="*/ 2147483647 h 10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32"/>
              <a:gd name="T58" fmla="*/ 0 h 106"/>
              <a:gd name="T59" fmla="*/ 132 w 132"/>
              <a:gd name="T60" fmla="*/ 106 h 10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32" h="106">
                <a:moveTo>
                  <a:pt x="0" y="106"/>
                </a:moveTo>
                <a:lnTo>
                  <a:pt x="4" y="94"/>
                </a:lnTo>
                <a:lnTo>
                  <a:pt x="14" y="78"/>
                </a:lnTo>
                <a:lnTo>
                  <a:pt x="20" y="62"/>
                </a:lnTo>
                <a:lnTo>
                  <a:pt x="30" y="54"/>
                </a:lnTo>
                <a:lnTo>
                  <a:pt x="36" y="38"/>
                </a:lnTo>
                <a:lnTo>
                  <a:pt x="46" y="24"/>
                </a:lnTo>
                <a:lnTo>
                  <a:pt x="52" y="18"/>
                </a:lnTo>
                <a:lnTo>
                  <a:pt x="60" y="8"/>
                </a:lnTo>
                <a:lnTo>
                  <a:pt x="64" y="0"/>
                </a:lnTo>
                <a:lnTo>
                  <a:pt x="132" y="0"/>
                </a:lnTo>
                <a:lnTo>
                  <a:pt x="132" y="28"/>
                </a:lnTo>
                <a:lnTo>
                  <a:pt x="82" y="28"/>
                </a:lnTo>
                <a:lnTo>
                  <a:pt x="82" y="70"/>
                </a:lnTo>
                <a:lnTo>
                  <a:pt x="72" y="70"/>
                </a:lnTo>
                <a:lnTo>
                  <a:pt x="64" y="74"/>
                </a:lnTo>
                <a:lnTo>
                  <a:pt x="64" y="82"/>
                </a:lnTo>
                <a:lnTo>
                  <a:pt x="64" y="106"/>
                </a:lnTo>
                <a:lnTo>
                  <a:pt x="0" y="10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0" name="Freeform 90">
            <a:extLst>
              <a:ext uri="{FF2B5EF4-FFF2-40B4-BE49-F238E27FC236}">
                <a16:creationId xmlns:a16="http://schemas.microsoft.com/office/drawing/2014/main" id="{2CA8C843-625D-4570-FC50-AA3E618D1E20}"/>
              </a:ext>
            </a:extLst>
          </p:cNvPr>
          <p:cNvSpPr>
            <a:spLocks/>
          </p:cNvSpPr>
          <p:nvPr/>
        </p:nvSpPr>
        <p:spPr bwMode="auto">
          <a:xfrm>
            <a:off x="4698999" y="4519084"/>
            <a:ext cx="95251" cy="59267"/>
          </a:xfrm>
          <a:custGeom>
            <a:avLst/>
            <a:gdLst>
              <a:gd name="T0" fmla="*/ 0 w 48"/>
              <a:gd name="T1" fmla="*/ 2147483647 h 28"/>
              <a:gd name="T2" fmla="*/ 2147483647 w 48"/>
              <a:gd name="T3" fmla="*/ 2147483647 h 28"/>
              <a:gd name="T4" fmla="*/ 2147483647 w 48"/>
              <a:gd name="T5" fmla="*/ 0 h 28"/>
              <a:gd name="T6" fmla="*/ 2147483647 w 48"/>
              <a:gd name="T7" fmla="*/ 0 h 28"/>
              <a:gd name="T8" fmla="*/ 2147483647 w 48"/>
              <a:gd name="T9" fmla="*/ 2147483647 h 28"/>
              <a:gd name="T10" fmla="*/ 2147483647 w 48"/>
              <a:gd name="T11" fmla="*/ 2147483647 h 28"/>
              <a:gd name="T12" fmla="*/ 2147483647 w 48"/>
              <a:gd name="T13" fmla="*/ 2147483647 h 28"/>
              <a:gd name="T14" fmla="*/ 2147483647 w 48"/>
              <a:gd name="T15" fmla="*/ 2147483647 h 28"/>
              <a:gd name="T16" fmla="*/ 2147483647 w 48"/>
              <a:gd name="T17" fmla="*/ 2147483647 h 28"/>
              <a:gd name="T18" fmla="*/ 2147483647 w 48"/>
              <a:gd name="T19" fmla="*/ 2147483647 h 28"/>
              <a:gd name="T20" fmla="*/ 2147483647 w 48"/>
              <a:gd name="T21" fmla="*/ 2147483647 h 28"/>
              <a:gd name="T22" fmla="*/ 0 w 48"/>
              <a:gd name="T23" fmla="*/ 2147483647 h 2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8"/>
              <a:gd name="T37" fmla="*/ 0 h 28"/>
              <a:gd name="T38" fmla="*/ 48 w 48"/>
              <a:gd name="T39" fmla="*/ 28 h 2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8" h="28">
                <a:moveTo>
                  <a:pt x="0" y="6"/>
                </a:moveTo>
                <a:lnTo>
                  <a:pt x="18" y="4"/>
                </a:lnTo>
                <a:lnTo>
                  <a:pt x="22" y="0"/>
                </a:lnTo>
                <a:lnTo>
                  <a:pt x="48" y="0"/>
                </a:lnTo>
                <a:lnTo>
                  <a:pt x="44" y="10"/>
                </a:lnTo>
                <a:lnTo>
                  <a:pt x="42" y="16"/>
                </a:lnTo>
                <a:lnTo>
                  <a:pt x="30" y="20"/>
                </a:lnTo>
                <a:lnTo>
                  <a:pt x="22" y="28"/>
                </a:lnTo>
                <a:lnTo>
                  <a:pt x="16" y="22"/>
                </a:lnTo>
                <a:lnTo>
                  <a:pt x="8" y="14"/>
                </a:lnTo>
                <a:lnTo>
                  <a:pt x="6" y="12"/>
                </a:lnTo>
                <a:lnTo>
                  <a:pt x="0" y="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1" name="Freeform 91">
            <a:extLst>
              <a:ext uri="{FF2B5EF4-FFF2-40B4-BE49-F238E27FC236}">
                <a16:creationId xmlns:a16="http://schemas.microsoft.com/office/drawing/2014/main" id="{45D398C4-BB30-B5E8-C0A9-2B988959D216}"/>
              </a:ext>
            </a:extLst>
          </p:cNvPr>
          <p:cNvSpPr>
            <a:spLocks/>
          </p:cNvSpPr>
          <p:nvPr/>
        </p:nvSpPr>
        <p:spPr bwMode="auto">
          <a:xfrm>
            <a:off x="4804832" y="4605867"/>
            <a:ext cx="86784" cy="97367"/>
          </a:xfrm>
          <a:custGeom>
            <a:avLst/>
            <a:gdLst>
              <a:gd name="T0" fmla="*/ 0 w 44"/>
              <a:gd name="T1" fmla="*/ 2147483647 h 48"/>
              <a:gd name="T2" fmla="*/ 2147483647 w 44"/>
              <a:gd name="T3" fmla="*/ 2147483647 h 48"/>
              <a:gd name="T4" fmla="*/ 2147483647 w 44"/>
              <a:gd name="T5" fmla="*/ 2147483647 h 48"/>
              <a:gd name="T6" fmla="*/ 2147483647 w 44"/>
              <a:gd name="T7" fmla="*/ 0 h 48"/>
              <a:gd name="T8" fmla="*/ 2147483647 w 44"/>
              <a:gd name="T9" fmla="*/ 2147483647 h 48"/>
              <a:gd name="T10" fmla="*/ 2147483647 w 44"/>
              <a:gd name="T11" fmla="*/ 2147483647 h 48"/>
              <a:gd name="T12" fmla="*/ 2147483647 w 44"/>
              <a:gd name="T13" fmla="*/ 2147483647 h 48"/>
              <a:gd name="T14" fmla="*/ 2147483647 w 44"/>
              <a:gd name="T15" fmla="*/ 2147483647 h 48"/>
              <a:gd name="T16" fmla="*/ 2147483647 w 44"/>
              <a:gd name="T17" fmla="*/ 2147483647 h 48"/>
              <a:gd name="T18" fmla="*/ 2147483647 w 44"/>
              <a:gd name="T19" fmla="*/ 2147483647 h 48"/>
              <a:gd name="T20" fmla="*/ 2147483647 w 44"/>
              <a:gd name="T21" fmla="*/ 2147483647 h 48"/>
              <a:gd name="T22" fmla="*/ 2147483647 w 44"/>
              <a:gd name="T23" fmla="*/ 2147483647 h 48"/>
              <a:gd name="T24" fmla="*/ 0 w 44"/>
              <a:gd name="T25" fmla="*/ 2147483647 h 48"/>
              <a:gd name="T26" fmla="*/ 0 w 44"/>
              <a:gd name="T27" fmla="*/ 2147483647 h 4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44"/>
              <a:gd name="T43" fmla="*/ 0 h 48"/>
              <a:gd name="T44" fmla="*/ 44 w 44"/>
              <a:gd name="T45" fmla="*/ 48 h 48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44" h="48">
                <a:moveTo>
                  <a:pt x="0" y="16"/>
                </a:moveTo>
                <a:lnTo>
                  <a:pt x="8" y="8"/>
                </a:lnTo>
                <a:lnTo>
                  <a:pt x="16" y="2"/>
                </a:lnTo>
                <a:lnTo>
                  <a:pt x="30" y="0"/>
                </a:lnTo>
                <a:lnTo>
                  <a:pt x="38" y="8"/>
                </a:lnTo>
                <a:lnTo>
                  <a:pt x="44" y="16"/>
                </a:lnTo>
                <a:lnTo>
                  <a:pt x="42" y="24"/>
                </a:lnTo>
                <a:lnTo>
                  <a:pt x="40" y="32"/>
                </a:lnTo>
                <a:lnTo>
                  <a:pt x="34" y="40"/>
                </a:lnTo>
                <a:lnTo>
                  <a:pt x="24" y="48"/>
                </a:lnTo>
                <a:lnTo>
                  <a:pt x="16" y="44"/>
                </a:lnTo>
                <a:lnTo>
                  <a:pt x="4" y="32"/>
                </a:lnTo>
                <a:lnTo>
                  <a:pt x="0" y="24"/>
                </a:lnTo>
                <a:lnTo>
                  <a:pt x="0" y="1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2" name="Freeform 92">
            <a:extLst>
              <a:ext uri="{FF2B5EF4-FFF2-40B4-BE49-F238E27FC236}">
                <a16:creationId xmlns:a16="http://schemas.microsoft.com/office/drawing/2014/main" id="{CD2889F1-2C67-F9BB-00BA-ACB321D98C7E}"/>
              </a:ext>
            </a:extLst>
          </p:cNvPr>
          <p:cNvSpPr>
            <a:spLocks/>
          </p:cNvSpPr>
          <p:nvPr/>
        </p:nvSpPr>
        <p:spPr bwMode="auto">
          <a:xfrm>
            <a:off x="4690534" y="4036484"/>
            <a:ext cx="385233" cy="425451"/>
          </a:xfrm>
          <a:custGeom>
            <a:avLst/>
            <a:gdLst>
              <a:gd name="T0" fmla="*/ 0 w 198"/>
              <a:gd name="T1" fmla="*/ 2147483647 h 214"/>
              <a:gd name="T2" fmla="*/ 2147483647 w 198"/>
              <a:gd name="T3" fmla="*/ 2147483647 h 214"/>
              <a:gd name="T4" fmla="*/ 2147483647 w 198"/>
              <a:gd name="T5" fmla="*/ 2147483647 h 214"/>
              <a:gd name="T6" fmla="*/ 2147483647 w 198"/>
              <a:gd name="T7" fmla="*/ 2147483647 h 214"/>
              <a:gd name="T8" fmla="*/ 2147483647 w 198"/>
              <a:gd name="T9" fmla="*/ 2147483647 h 214"/>
              <a:gd name="T10" fmla="*/ 2147483647 w 198"/>
              <a:gd name="T11" fmla="*/ 2147483647 h 214"/>
              <a:gd name="T12" fmla="*/ 2147483647 w 198"/>
              <a:gd name="T13" fmla="*/ 2147483647 h 214"/>
              <a:gd name="T14" fmla="*/ 2147483647 w 198"/>
              <a:gd name="T15" fmla="*/ 2147483647 h 214"/>
              <a:gd name="T16" fmla="*/ 2147483647 w 198"/>
              <a:gd name="T17" fmla="*/ 2147483647 h 214"/>
              <a:gd name="T18" fmla="*/ 2147483647 w 198"/>
              <a:gd name="T19" fmla="*/ 0 h 214"/>
              <a:gd name="T20" fmla="*/ 2147483647 w 198"/>
              <a:gd name="T21" fmla="*/ 2147483647 h 214"/>
              <a:gd name="T22" fmla="*/ 2147483647 w 198"/>
              <a:gd name="T23" fmla="*/ 2147483647 h 214"/>
              <a:gd name="T24" fmla="*/ 2147483647 w 198"/>
              <a:gd name="T25" fmla="*/ 2147483647 h 214"/>
              <a:gd name="T26" fmla="*/ 2147483647 w 198"/>
              <a:gd name="T27" fmla="*/ 2147483647 h 214"/>
              <a:gd name="T28" fmla="*/ 2147483647 w 198"/>
              <a:gd name="T29" fmla="*/ 2147483647 h 214"/>
              <a:gd name="T30" fmla="*/ 2147483647 w 198"/>
              <a:gd name="T31" fmla="*/ 2147483647 h 214"/>
              <a:gd name="T32" fmla="*/ 2147483647 w 198"/>
              <a:gd name="T33" fmla="*/ 2147483647 h 214"/>
              <a:gd name="T34" fmla="*/ 2147483647 w 198"/>
              <a:gd name="T35" fmla="*/ 2147483647 h 214"/>
              <a:gd name="T36" fmla="*/ 2147483647 w 198"/>
              <a:gd name="T37" fmla="*/ 2147483647 h 214"/>
              <a:gd name="T38" fmla="*/ 2147483647 w 198"/>
              <a:gd name="T39" fmla="*/ 2147483647 h 214"/>
              <a:gd name="T40" fmla="*/ 2147483647 w 198"/>
              <a:gd name="T41" fmla="*/ 2147483647 h 214"/>
              <a:gd name="T42" fmla="*/ 2147483647 w 198"/>
              <a:gd name="T43" fmla="*/ 2147483647 h 214"/>
              <a:gd name="T44" fmla="*/ 2147483647 w 198"/>
              <a:gd name="T45" fmla="*/ 2147483647 h 214"/>
              <a:gd name="T46" fmla="*/ 2147483647 w 198"/>
              <a:gd name="T47" fmla="*/ 2147483647 h 214"/>
              <a:gd name="T48" fmla="*/ 2147483647 w 198"/>
              <a:gd name="T49" fmla="*/ 2147483647 h 214"/>
              <a:gd name="T50" fmla="*/ 2147483647 w 198"/>
              <a:gd name="T51" fmla="*/ 2147483647 h 214"/>
              <a:gd name="T52" fmla="*/ 2147483647 w 198"/>
              <a:gd name="T53" fmla="*/ 2147483647 h 214"/>
              <a:gd name="T54" fmla="*/ 2147483647 w 198"/>
              <a:gd name="T55" fmla="*/ 2147483647 h 214"/>
              <a:gd name="T56" fmla="*/ 2147483647 w 198"/>
              <a:gd name="T57" fmla="*/ 2147483647 h 214"/>
              <a:gd name="T58" fmla="*/ 2147483647 w 198"/>
              <a:gd name="T59" fmla="*/ 2147483647 h 214"/>
              <a:gd name="T60" fmla="*/ 0 w 198"/>
              <a:gd name="T61" fmla="*/ 2147483647 h 214"/>
              <a:gd name="T62" fmla="*/ 0 w 198"/>
              <a:gd name="T63" fmla="*/ 2147483647 h 21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98"/>
              <a:gd name="T97" fmla="*/ 0 h 214"/>
              <a:gd name="T98" fmla="*/ 198 w 198"/>
              <a:gd name="T99" fmla="*/ 214 h 21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98" h="214">
                <a:moveTo>
                  <a:pt x="0" y="106"/>
                </a:moveTo>
                <a:lnTo>
                  <a:pt x="64" y="106"/>
                </a:lnTo>
                <a:lnTo>
                  <a:pt x="64" y="82"/>
                </a:lnTo>
                <a:lnTo>
                  <a:pt x="64" y="74"/>
                </a:lnTo>
                <a:lnTo>
                  <a:pt x="68" y="72"/>
                </a:lnTo>
                <a:lnTo>
                  <a:pt x="72" y="70"/>
                </a:lnTo>
                <a:lnTo>
                  <a:pt x="82" y="70"/>
                </a:lnTo>
                <a:lnTo>
                  <a:pt x="82" y="28"/>
                </a:lnTo>
                <a:lnTo>
                  <a:pt x="132" y="28"/>
                </a:lnTo>
                <a:lnTo>
                  <a:pt x="132" y="0"/>
                </a:lnTo>
                <a:lnTo>
                  <a:pt x="198" y="48"/>
                </a:lnTo>
                <a:lnTo>
                  <a:pt x="168" y="48"/>
                </a:lnTo>
                <a:lnTo>
                  <a:pt x="180" y="184"/>
                </a:lnTo>
                <a:lnTo>
                  <a:pt x="186" y="192"/>
                </a:lnTo>
                <a:lnTo>
                  <a:pt x="184" y="202"/>
                </a:lnTo>
                <a:lnTo>
                  <a:pt x="84" y="200"/>
                </a:lnTo>
                <a:lnTo>
                  <a:pt x="78" y="214"/>
                </a:lnTo>
                <a:lnTo>
                  <a:pt x="68" y="206"/>
                </a:lnTo>
                <a:lnTo>
                  <a:pt x="60" y="194"/>
                </a:lnTo>
                <a:lnTo>
                  <a:pt x="52" y="188"/>
                </a:lnTo>
                <a:lnTo>
                  <a:pt x="40" y="182"/>
                </a:lnTo>
                <a:lnTo>
                  <a:pt x="26" y="182"/>
                </a:lnTo>
                <a:lnTo>
                  <a:pt x="12" y="184"/>
                </a:lnTo>
                <a:lnTo>
                  <a:pt x="12" y="172"/>
                </a:lnTo>
                <a:lnTo>
                  <a:pt x="18" y="152"/>
                </a:lnTo>
                <a:lnTo>
                  <a:pt x="12" y="144"/>
                </a:lnTo>
                <a:lnTo>
                  <a:pt x="8" y="138"/>
                </a:lnTo>
                <a:lnTo>
                  <a:pt x="12" y="130"/>
                </a:lnTo>
                <a:lnTo>
                  <a:pt x="12" y="122"/>
                </a:lnTo>
                <a:lnTo>
                  <a:pt x="8" y="116"/>
                </a:lnTo>
                <a:lnTo>
                  <a:pt x="0" y="112"/>
                </a:lnTo>
                <a:lnTo>
                  <a:pt x="0" y="10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3" name="Freeform 93">
            <a:extLst>
              <a:ext uri="{FF2B5EF4-FFF2-40B4-BE49-F238E27FC236}">
                <a16:creationId xmlns:a16="http://schemas.microsoft.com/office/drawing/2014/main" id="{1D4DECE4-8733-6552-2BCD-650E900A1BE3}"/>
              </a:ext>
            </a:extLst>
          </p:cNvPr>
          <p:cNvSpPr>
            <a:spLocks/>
          </p:cNvSpPr>
          <p:nvPr/>
        </p:nvSpPr>
        <p:spPr bwMode="auto">
          <a:xfrm>
            <a:off x="4739218" y="4519085"/>
            <a:ext cx="230717" cy="175684"/>
          </a:xfrm>
          <a:custGeom>
            <a:avLst/>
            <a:gdLst>
              <a:gd name="T0" fmla="*/ 2147483647 w 116"/>
              <a:gd name="T1" fmla="*/ 2147483647 h 88"/>
              <a:gd name="T2" fmla="*/ 2147483647 w 116"/>
              <a:gd name="T3" fmla="*/ 2147483647 h 88"/>
              <a:gd name="T4" fmla="*/ 2147483647 w 116"/>
              <a:gd name="T5" fmla="*/ 2147483647 h 88"/>
              <a:gd name="T6" fmla="*/ 2147483647 w 116"/>
              <a:gd name="T7" fmla="*/ 2147483647 h 88"/>
              <a:gd name="T8" fmla="*/ 2147483647 w 116"/>
              <a:gd name="T9" fmla="*/ 2147483647 h 88"/>
              <a:gd name="T10" fmla="*/ 2147483647 w 116"/>
              <a:gd name="T11" fmla="*/ 2147483647 h 88"/>
              <a:gd name="T12" fmla="*/ 2147483647 w 116"/>
              <a:gd name="T13" fmla="*/ 2147483647 h 88"/>
              <a:gd name="T14" fmla="*/ 2147483647 w 116"/>
              <a:gd name="T15" fmla="*/ 2147483647 h 88"/>
              <a:gd name="T16" fmla="*/ 2147483647 w 116"/>
              <a:gd name="T17" fmla="*/ 2147483647 h 88"/>
              <a:gd name="T18" fmla="*/ 2147483647 w 116"/>
              <a:gd name="T19" fmla="*/ 2147483647 h 88"/>
              <a:gd name="T20" fmla="*/ 2147483647 w 116"/>
              <a:gd name="T21" fmla="*/ 2147483647 h 88"/>
              <a:gd name="T22" fmla="*/ 2147483647 w 116"/>
              <a:gd name="T23" fmla="*/ 2147483647 h 88"/>
              <a:gd name="T24" fmla="*/ 2147483647 w 116"/>
              <a:gd name="T25" fmla="*/ 2147483647 h 88"/>
              <a:gd name="T26" fmla="*/ 2147483647 w 116"/>
              <a:gd name="T27" fmla="*/ 2147483647 h 88"/>
              <a:gd name="T28" fmla="*/ 2147483647 w 116"/>
              <a:gd name="T29" fmla="*/ 2147483647 h 88"/>
              <a:gd name="T30" fmla="*/ 2147483647 w 116"/>
              <a:gd name="T31" fmla="*/ 2147483647 h 88"/>
              <a:gd name="T32" fmla="*/ 2147483647 w 116"/>
              <a:gd name="T33" fmla="*/ 2147483647 h 88"/>
              <a:gd name="T34" fmla="*/ 2147483647 w 116"/>
              <a:gd name="T35" fmla="*/ 2147483647 h 88"/>
              <a:gd name="T36" fmla="*/ 2147483647 w 116"/>
              <a:gd name="T37" fmla="*/ 2147483647 h 88"/>
              <a:gd name="T38" fmla="*/ 2147483647 w 116"/>
              <a:gd name="T39" fmla="*/ 2147483647 h 88"/>
              <a:gd name="T40" fmla="*/ 2147483647 w 116"/>
              <a:gd name="T41" fmla="*/ 2147483647 h 88"/>
              <a:gd name="T42" fmla="*/ 2147483647 w 116"/>
              <a:gd name="T43" fmla="*/ 2147483647 h 88"/>
              <a:gd name="T44" fmla="*/ 2147483647 w 116"/>
              <a:gd name="T45" fmla="*/ 2147483647 h 88"/>
              <a:gd name="T46" fmla="*/ 2147483647 w 116"/>
              <a:gd name="T47" fmla="*/ 2147483647 h 88"/>
              <a:gd name="T48" fmla="*/ 2147483647 w 116"/>
              <a:gd name="T49" fmla="*/ 2147483647 h 88"/>
              <a:gd name="T50" fmla="*/ 2147483647 w 116"/>
              <a:gd name="T51" fmla="*/ 2147483647 h 88"/>
              <a:gd name="T52" fmla="*/ 2147483647 w 116"/>
              <a:gd name="T53" fmla="*/ 2147483647 h 88"/>
              <a:gd name="T54" fmla="*/ 2147483647 w 116"/>
              <a:gd name="T55" fmla="*/ 2147483647 h 88"/>
              <a:gd name="T56" fmla="*/ 2147483647 w 116"/>
              <a:gd name="T57" fmla="*/ 2147483647 h 88"/>
              <a:gd name="T58" fmla="*/ 2147483647 w 116"/>
              <a:gd name="T59" fmla="*/ 2147483647 h 88"/>
              <a:gd name="T60" fmla="*/ 0 w 116"/>
              <a:gd name="T61" fmla="*/ 2147483647 h 88"/>
              <a:gd name="T62" fmla="*/ 2147483647 w 116"/>
              <a:gd name="T63" fmla="*/ 2147483647 h 88"/>
              <a:gd name="T64" fmla="*/ 2147483647 w 116"/>
              <a:gd name="T65" fmla="*/ 2147483647 h 88"/>
              <a:gd name="T66" fmla="*/ 2147483647 w 116"/>
              <a:gd name="T67" fmla="*/ 2147483647 h 88"/>
              <a:gd name="T68" fmla="*/ 2147483647 w 116"/>
              <a:gd name="T69" fmla="*/ 0 h 88"/>
              <a:gd name="T70" fmla="*/ 2147483647 w 116"/>
              <a:gd name="T71" fmla="*/ 0 h 88"/>
              <a:gd name="T72" fmla="*/ 2147483647 w 116"/>
              <a:gd name="T73" fmla="*/ 2147483647 h 88"/>
              <a:gd name="T74" fmla="*/ 2147483647 w 116"/>
              <a:gd name="T75" fmla="*/ 2147483647 h 88"/>
              <a:gd name="T76" fmla="*/ 2147483647 w 116"/>
              <a:gd name="T77" fmla="*/ 2147483647 h 8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16"/>
              <a:gd name="T118" fmla="*/ 0 h 88"/>
              <a:gd name="T119" fmla="*/ 116 w 116"/>
              <a:gd name="T120" fmla="*/ 88 h 88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16" h="88">
                <a:moveTo>
                  <a:pt x="60" y="6"/>
                </a:moveTo>
                <a:lnTo>
                  <a:pt x="60" y="8"/>
                </a:lnTo>
                <a:lnTo>
                  <a:pt x="72" y="12"/>
                </a:lnTo>
                <a:lnTo>
                  <a:pt x="84" y="8"/>
                </a:lnTo>
                <a:lnTo>
                  <a:pt x="98" y="6"/>
                </a:lnTo>
                <a:lnTo>
                  <a:pt x="100" y="14"/>
                </a:lnTo>
                <a:lnTo>
                  <a:pt x="106" y="24"/>
                </a:lnTo>
                <a:lnTo>
                  <a:pt x="112" y="38"/>
                </a:lnTo>
                <a:lnTo>
                  <a:pt x="110" y="46"/>
                </a:lnTo>
                <a:lnTo>
                  <a:pt x="112" y="50"/>
                </a:lnTo>
                <a:lnTo>
                  <a:pt x="114" y="54"/>
                </a:lnTo>
                <a:lnTo>
                  <a:pt x="116" y="68"/>
                </a:lnTo>
                <a:lnTo>
                  <a:pt x="110" y="70"/>
                </a:lnTo>
                <a:lnTo>
                  <a:pt x="112" y="80"/>
                </a:lnTo>
                <a:lnTo>
                  <a:pt x="106" y="84"/>
                </a:lnTo>
                <a:lnTo>
                  <a:pt x="100" y="82"/>
                </a:lnTo>
                <a:lnTo>
                  <a:pt x="96" y="88"/>
                </a:lnTo>
                <a:lnTo>
                  <a:pt x="90" y="86"/>
                </a:lnTo>
                <a:lnTo>
                  <a:pt x="88" y="72"/>
                </a:lnTo>
                <a:lnTo>
                  <a:pt x="82" y="70"/>
                </a:lnTo>
                <a:lnTo>
                  <a:pt x="74" y="68"/>
                </a:lnTo>
                <a:lnTo>
                  <a:pt x="76" y="60"/>
                </a:lnTo>
                <a:lnTo>
                  <a:pt x="70" y="52"/>
                </a:lnTo>
                <a:lnTo>
                  <a:pt x="62" y="44"/>
                </a:lnTo>
                <a:lnTo>
                  <a:pt x="48" y="46"/>
                </a:lnTo>
                <a:lnTo>
                  <a:pt x="40" y="52"/>
                </a:lnTo>
                <a:lnTo>
                  <a:pt x="32" y="60"/>
                </a:lnTo>
                <a:lnTo>
                  <a:pt x="24" y="50"/>
                </a:lnTo>
                <a:lnTo>
                  <a:pt x="14" y="40"/>
                </a:lnTo>
                <a:lnTo>
                  <a:pt x="6" y="38"/>
                </a:lnTo>
                <a:lnTo>
                  <a:pt x="0" y="28"/>
                </a:lnTo>
                <a:lnTo>
                  <a:pt x="8" y="20"/>
                </a:lnTo>
                <a:lnTo>
                  <a:pt x="20" y="16"/>
                </a:lnTo>
                <a:lnTo>
                  <a:pt x="22" y="10"/>
                </a:lnTo>
                <a:lnTo>
                  <a:pt x="26" y="0"/>
                </a:lnTo>
                <a:lnTo>
                  <a:pt x="32" y="0"/>
                </a:lnTo>
                <a:lnTo>
                  <a:pt x="38" y="4"/>
                </a:lnTo>
                <a:lnTo>
                  <a:pt x="50" y="4"/>
                </a:lnTo>
                <a:lnTo>
                  <a:pt x="60" y="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4" name="Freeform 94">
            <a:extLst>
              <a:ext uri="{FF2B5EF4-FFF2-40B4-BE49-F238E27FC236}">
                <a16:creationId xmlns:a16="http://schemas.microsoft.com/office/drawing/2014/main" id="{70F22043-222D-9E4B-A848-910E70196238}"/>
              </a:ext>
            </a:extLst>
          </p:cNvPr>
          <p:cNvSpPr>
            <a:spLocks/>
          </p:cNvSpPr>
          <p:nvPr/>
        </p:nvSpPr>
        <p:spPr bwMode="auto">
          <a:xfrm>
            <a:off x="4853518" y="4654551"/>
            <a:ext cx="124884" cy="124884"/>
          </a:xfrm>
          <a:custGeom>
            <a:avLst/>
            <a:gdLst>
              <a:gd name="T0" fmla="*/ 2147483647 w 66"/>
              <a:gd name="T1" fmla="*/ 2147483647 h 66"/>
              <a:gd name="T2" fmla="*/ 2147483647 w 66"/>
              <a:gd name="T3" fmla="*/ 2147483647 h 66"/>
              <a:gd name="T4" fmla="*/ 2147483647 w 66"/>
              <a:gd name="T5" fmla="*/ 2147483647 h 66"/>
              <a:gd name="T6" fmla="*/ 2147483647 w 66"/>
              <a:gd name="T7" fmla="*/ 2147483647 h 66"/>
              <a:gd name="T8" fmla="*/ 2147483647 w 66"/>
              <a:gd name="T9" fmla="*/ 2147483647 h 66"/>
              <a:gd name="T10" fmla="*/ 2147483647 w 66"/>
              <a:gd name="T11" fmla="*/ 2147483647 h 66"/>
              <a:gd name="T12" fmla="*/ 2147483647 w 66"/>
              <a:gd name="T13" fmla="*/ 2147483647 h 66"/>
              <a:gd name="T14" fmla="*/ 2147483647 w 66"/>
              <a:gd name="T15" fmla="*/ 2147483647 h 66"/>
              <a:gd name="T16" fmla="*/ 2147483647 w 66"/>
              <a:gd name="T17" fmla="*/ 2147483647 h 66"/>
              <a:gd name="T18" fmla="*/ 2147483647 w 66"/>
              <a:gd name="T19" fmla="*/ 2147483647 h 66"/>
              <a:gd name="T20" fmla="*/ 2147483647 w 66"/>
              <a:gd name="T21" fmla="*/ 2147483647 h 66"/>
              <a:gd name="T22" fmla="*/ 2147483647 w 66"/>
              <a:gd name="T23" fmla="*/ 2147483647 h 66"/>
              <a:gd name="T24" fmla="*/ 2147483647 w 66"/>
              <a:gd name="T25" fmla="*/ 2147483647 h 66"/>
              <a:gd name="T26" fmla="*/ 0 w 66"/>
              <a:gd name="T27" fmla="*/ 2147483647 h 66"/>
              <a:gd name="T28" fmla="*/ 2147483647 w 66"/>
              <a:gd name="T29" fmla="*/ 2147483647 h 66"/>
              <a:gd name="T30" fmla="*/ 2147483647 w 66"/>
              <a:gd name="T31" fmla="*/ 0 h 66"/>
              <a:gd name="T32" fmla="*/ 2147483647 w 66"/>
              <a:gd name="T33" fmla="*/ 0 h 66"/>
              <a:gd name="T34" fmla="*/ 2147483647 w 66"/>
              <a:gd name="T35" fmla="*/ 2147483647 h 66"/>
              <a:gd name="T36" fmla="*/ 2147483647 w 66"/>
              <a:gd name="T37" fmla="*/ 2147483647 h 66"/>
              <a:gd name="T38" fmla="*/ 2147483647 w 66"/>
              <a:gd name="T39" fmla="*/ 2147483647 h 66"/>
              <a:gd name="T40" fmla="*/ 2147483647 w 66"/>
              <a:gd name="T41" fmla="*/ 2147483647 h 66"/>
              <a:gd name="T42" fmla="*/ 2147483647 w 66"/>
              <a:gd name="T43" fmla="*/ 2147483647 h 6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66"/>
              <a:gd name="T67" fmla="*/ 0 h 66"/>
              <a:gd name="T68" fmla="*/ 66 w 66"/>
              <a:gd name="T69" fmla="*/ 66 h 6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66" h="66">
                <a:moveTo>
                  <a:pt x="50" y="16"/>
                </a:moveTo>
                <a:lnTo>
                  <a:pt x="50" y="26"/>
                </a:lnTo>
                <a:lnTo>
                  <a:pt x="50" y="34"/>
                </a:lnTo>
                <a:lnTo>
                  <a:pt x="58" y="36"/>
                </a:lnTo>
                <a:lnTo>
                  <a:pt x="64" y="40"/>
                </a:lnTo>
                <a:lnTo>
                  <a:pt x="66" y="46"/>
                </a:lnTo>
                <a:lnTo>
                  <a:pt x="66" y="54"/>
                </a:lnTo>
                <a:lnTo>
                  <a:pt x="62" y="66"/>
                </a:lnTo>
                <a:lnTo>
                  <a:pt x="50" y="62"/>
                </a:lnTo>
                <a:lnTo>
                  <a:pt x="38" y="54"/>
                </a:lnTo>
                <a:lnTo>
                  <a:pt x="30" y="44"/>
                </a:lnTo>
                <a:lnTo>
                  <a:pt x="18" y="36"/>
                </a:lnTo>
                <a:lnTo>
                  <a:pt x="8" y="32"/>
                </a:lnTo>
                <a:lnTo>
                  <a:pt x="0" y="24"/>
                </a:lnTo>
                <a:lnTo>
                  <a:pt x="16" y="8"/>
                </a:lnTo>
                <a:lnTo>
                  <a:pt x="18" y="0"/>
                </a:lnTo>
                <a:lnTo>
                  <a:pt x="24" y="0"/>
                </a:lnTo>
                <a:lnTo>
                  <a:pt x="32" y="4"/>
                </a:lnTo>
                <a:lnTo>
                  <a:pt x="34" y="18"/>
                </a:lnTo>
                <a:lnTo>
                  <a:pt x="40" y="20"/>
                </a:lnTo>
                <a:lnTo>
                  <a:pt x="44" y="14"/>
                </a:lnTo>
                <a:lnTo>
                  <a:pt x="50" y="1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5" name="Freeform 95">
            <a:extLst>
              <a:ext uri="{FF2B5EF4-FFF2-40B4-BE49-F238E27FC236}">
                <a16:creationId xmlns:a16="http://schemas.microsoft.com/office/drawing/2014/main" id="{8B17B75B-3101-BF86-B70F-98346E3641F3}"/>
              </a:ext>
            </a:extLst>
          </p:cNvPr>
          <p:cNvSpPr>
            <a:spLocks/>
          </p:cNvSpPr>
          <p:nvPr/>
        </p:nvSpPr>
        <p:spPr bwMode="auto">
          <a:xfrm>
            <a:off x="5626100" y="4180418"/>
            <a:ext cx="330200" cy="503767"/>
          </a:xfrm>
          <a:custGeom>
            <a:avLst/>
            <a:gdLst>
              <a:gd name="T0" fmla="*/ 2147483647 w 168"/>
              <a:gd name="T1" fmla="*/ 2147483647 h 258"/>
              <a:gd name="T2" fmla="*/ 2147483647 w 168"/>
              <a:gd name="T3" fmla="*/ 2147483647 h 258"/>
              <a:gd name="T4" fmla="*/ 2147483647 w 168"/>
              <a:gd name="T5" fmla="*/ 2147483647 h 258"/>
              <a:gd name="T6" fmla="*/ 2147483647 w 168"/>
              <a:gd name="T7" fmla="*/ 2147483647 h 258"/>
              <a:gd name="T8" fmla="*/ 2147483647 w 168"/>
              <a:gd name="T9" fmla="*/ 2147483647 h 258"/>
              <a:gd name="T10" fmla="*/ 2147483647 w 168"/>
              <a:gd name="T11" fmla="*/ 2147483647 h 258"/>
              <a:gd name="T12" fmla="*/ 2147483647 w 168"/>
              <a:gd name="T13" fmla="*/ 2147483647 h 258"/>
              <a:gd name="T14" fmla="*/ 2147483647 w 168"/>
              <a:gd name="T15" fmla="*/ 2147483647 h 258"/>
              <a:gd name="T16" fmla="*/ 2147483647 w 168"/>
              <a:gd name="T17" fmla="*/ 2147483647 h 258"/>
              <a:gd name="T18" fmla="*/ 2147483647 w 168"/>
              <a:gd name="T19" fmla="*/ 2147483647 h 258"/>
              <a:gd name="T20" fmla="*/ 2147483647 w 168"/>
              <a:gd name="T21" fmla="*/ 2147483647 h 258"/>
              <a:gd name="T22" fmla="*/ 2147483647 w 168"/>
              <a:gd name="T23" fmla="*/ 2147483647 h 258"/>
              <a:gd name="T24" fmla="*/ 2147483647 w 168"/>
              <a:gd name="T25" fmla="*/ 2147483647 h 258"/>
              <a:gd name="T26" fmla="*/ 2147483647 w 168"/>
              <a:gd name="T27" fmla="*/ 2147483647 h 258"/>
              <a:gd name="T28" fmla="*/ 2147483647 w 168"/>
              <a:gd name="T29" fmla="*/ 2147483647 h 258"/>
              <a:gd name="T30" fmla="*/ 2147483647 w 168"/>
              <a:gd name="T31" fmla="*/ 2147483647 h 258"/>
              <a:gd name="T32" fmla="*/ 2147483647 w 168"/>
              <a:gd name="T33" fmla="*/ 2147483647 h 258"/>
              <a:gd name="T34" fmla="*/ 2147483647 w 168"/>
              <a:gd name="T35" fmla="*/ 2147483647 h 258"/>
              <a:gd name="T36" fmla="*/ 2147483647 w 168"/>
              <a:gd name="T37" fmla="*/ 2147483647 h 258"/>
              <a:gd name="T38" fmla="*/ 0 w 168"/>
              <a:gd name="T39" fmla="*/ 2147483647 h 258"/>
              <a:gd name="T40" fmla="*/ 2147483647 w 168"/>
              <a:gd name="T41" fmla="*/ 2147483647 h 258"/>
              <a:gd name="T42" fmla="*/ 2147483647 w 168"/>
              <a:gd name="T43" fmla="*/ 2147483647 h 258"/>
              <a:gd name="T44" fmla="*/ 2147483647 w 168"/>
              <a:gd name="T45" fmla="*/ 2147483647 h 258"/>
              <a:gd name="T46" fmla="*/ 2147483647 w 168"/>
              <a:gd name="T47" fmla="*/ 2147483647 h 258"/>
              <a:gd name="T48" fmla="*/ 2147483647 w 168"/>
              <a:gd name="T49" fmla="*/ 0 h 258"/>
              <a:gd name="T50" fmla="*/ 2147483647 w 168"/>
              <a:gd name="T51" fmla="*/ 2147483647 h 258"/>
              <a:gd name="T52" fmla="*/ 2147483647 w 168"/>
              <a:gd name="T53" fmla="*/ 2147483647 h 258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68"/>
              <a:gd name="T82" fmla="*/ 0 h 258"/>
              <a:gd name="T83" fmla="*/ 168 w 168"/>
              <a:gd name="T84" fmla="*/ 258 h 258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68" h="258">
                <a:moveTo>
                  <a:pt x="166" y="128"/>
                </a:moveTo>
                <a:lnTo>
                  <a:pt x="152" y="130"/>
                </a:lnTo>
                <a:lnTo>
                  <a:pt x="148" y="142"/>
                </a:lnTo>
                <a:lnTo>
                  <a:pt x="136" y="170"/>
                </a:lnTo>
                <a:lnTo>
                  <a:pt x="144" y="178"/>
                </a:lnTo>
                <a:lnTo>
                  <a:pt x="148" y="204"/>
                </a:lnTo>
                <a:lnTo>
                  <a:pt x="136" y="206"/>
                </a:lnTo>
                <a:lnTo>
                  <a:pt x="112" y="230"/>
                </a:lnTo>
                <a:lnTo>
                  <a:pt x="88" y="234"/>
                </a:lnTo>
                <a:lnTo>
                  <a:pt x="86" y="246"/>
                </a:lnTo>
                <a:lnTo>
                  <a:pt x="40" y="258"/>
                </a:lnTo>
                <a:lnTo>
                  <a:pt x="30" y="246"/>
                </a:lnTo>
                <a:lnTo>
                  <a:pt x="10" y="226"/>
                </a:lnTo>
                <a:lnTo>
                  <a:pt x="12" y="216"/>
                </a:lnTo>
                <a:lnTo>
                  <a:pt x="32" y="216"/>
                </a:lnTo>
                <a:lnTo>
                  <a:pt x="26" y="206"/>
                </a:lnTo>
                <a:lnTo>
                  <a:pt x="24" y="182"/>
                </a:lnTo>
                <a:lnTo>
                  <a:pt x="16" y="170"/>
                </a:lnTo>
                <a:lnTo>
                  <a:pt x="2" y="156"/>
                </a:lnTo>
                <a:lnTo>
                  <a:pt x="0" y="144"/>
                </a:lnTo>
                <a:lnTo>
                  <a:pt x="32" y="106"/>
                </a:lnTo>
                <a:lnTo>
                  <a:pt x="36" y="66"/>
                </a:lnTo>
                <a:lnTo>
                  <a:pt x="40" y="50"/>
                </a:lnTo>
                <a:lnTo>
                  <a:pt x="28" y="6"/>
                </a:lnTo>
                <a:lnTo>
                  <a:pt x="34" y="0"/>
                </a:lnTo>
                <a:lnTo>
                  <a:pt x="168" y="54"/>
                </a:lnTo>
                <a:lnTo>
                  <a:pt x="166" y="12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6" name="Freeform 96">
            <a:extLst>
              <a:ext uri="{FF2B5EF4-FFF2-40B4-BE49-F238E27FC236}">
                <a16:creationId xmlns:a16="http://schemas.microsoft.com/office/drawing/2014/main" id="{29A8D908-1396-60DF-E9A8-77ADAEFEC8EF}"/>
              </a:ext>
            </a:extLst>
          </p:cNvPr>
          <p:cNvSpPr>
            <a:spLocks/>
          </p:cNvSpPr>
          <p:nvPr/>
        </p:nvSpPr>
        <p:spPr bwMode="auto">
          <a:xfrm>
            <a:off x="5219699" y="4171951"/>
            <a:ext cx="493184" cy="376767"/>
          </a:xfrm>
          <a:custGeom>
            <a:avLst/>
            <a:gdLst>
              <a:gd name="T0" fmla="*/ 2147483647 w 251"/>
              <a:gd name="T1" fmla="*/ 2147483647 h 194"/>
              <a:gd name="T2" fmla="*/ 2147483647 w 251"/>
              <a:gd name="T3" fmla="*/ 2147483647 h 194"/>
              <a:gd name="T4" fmla="*/ 2147483647 w 251"/>
              <a:gd name="T5" fmla="*/ 2147483647 h 194"/>
              <a:gd name="T6" fmla="*/ 2147483647 w 251"/>
              <a:gd name="T7" fmla="*/ 2147483647 h 194"/>
              <a:gd name="T8" fmla="*/ 2147483647 w 251"/>
              <a:gd name="T9" fmla="*/ 2147483647 h 194"/>
              <a:gd name="T10" fmla="*/ 2147483647 w 251"/>
              <a:gd name="T11" fmla="*/ 2147483647 h 194"/>
              <a:gd name="T12" fmla="*/ 2147483647 w 251"/>
              <a:gd name="T13" fmla="*/ 2147483647 h 194"/>
              <a:gd name="T14" fmla="*/ 2147483647 w 251"/>
              <a:gd name="T15" fmla="*/ 0 h 194"/>
              <a:gd name="T16" fmla="*/ 2147483647 w 251"/>
              <a:gd name="T17" fmla="*/ 2147483647 h 194"/>
              <a:gd name="T18" fmla="*/ 2147483647 w 251"/>
              <a:gd name="T19" fmla="*/ 2147483647 h 194"/>
              <a:gd name="T20" fmla="*/ 2147483647 w 251"/>
              <a:gd name="T21" fmla="*/ 2147483647 h 194"/>
              <a:gd name="T22" fmla="*/ 2147483647 w 251"/>
              <a:gd name="T23" fmla="*/ 2147483647 h 194"/>
              <a:gd name="T24" fmla="*/ 2147483647 w 251"/>
              <a:gd name="T25" fmla="*/ 2147483647 h 194"/>
              <a:gd name="T26" fmla="*/ 2147483647 w 251"/>
              <a:gd name="T27" fmla="*/ 2147483647 h 194"/>
              <a:gd name="T28" fmla="*/ 2147483647 w 251"/>
              <a:gd name="T29" fmla="*/ 2147483647 h 194"/>
              <a:gd name="T30" fmla="*/ 2147483647 w 251"/>
              <a:gd name="T31" fmla="*/ 2147483647 h 194"/>
              <a:gd name="T32" fmla="*/ 2147483647 w 251"/>
              <a:gd name="T33" fmla="*/ 2147483647 h 194"/>
              <a:gd name="T34" fmla="*/ 2147483647 w 251"/>
              <a:gd name="T35" fmla="*/ 2147483647 h 194"/>
              <a:gd name="T36" fmla="*/ 2147483647 w 251"/>
              <a:gd name="T37" fmla="*/ 2147483647 h 194"/>
              <a:gd name="T38" fmla="*/ 2147483647 w 251"/>
              <a:gd name="T39" fmla="*/ 2147483647 h 194"/>
              <a:gd name="T40" fmla="*/ 2147483647 w 251"/>
              <a:gd name="T41" fmla="*/ 2147483647 h 194"/>
              <a:gd name="T42" fmla="*/ 2147483647 w 251"/>
              <a:gd name="T43" fmla="*/ 2147483647 h 194"/>
              <a:gd name="T44" fmla="*/ 2147483647 w 251"/>
              <a:gd name="T45" fmla="*/ 2147483647 h 194"/>
              <a:gd name="T46" fmla="*/ 2147483647 w 251"/>
              <a:gd name="T47" fmla="*/ 2147483647 h 194"/>
              <a:gd name="T48" fmla="*/ 2147483647 w 251"/>
              <a:gd name="T49" fmla="*/ 2147483647 h 194"/>
              <a:gd name="T50" fmla="*/ 2147483647 w 251"/>
              <a:gd name="T51" fmla="*/ 2147483647 h 194"/>
              <a:gd name="T52" fmla="*/ 2147483647 w 251"/>
              <a:gd name="T53" fmla="*/ 2147483647 h 194"/>
              <a:gd name="T54" fmla="*/ 2147483647 w 251"/>
              <a:gd name="T55" fmla="*/ 2147483647 h 194"/>
              <a:gd name="T56" fmla="*/ 2147483647 w 251"/>
              <a:gd name="T57" fmla="*/ 2147483647 h 194"/>
              <a:gd name="T58" fmla="*/ 2147483647 w 251"/>
              <a:gd name="T59" fmla="*/ 2147483647 h 194"/>
              <a:gd name="T60" fmla="*/ 2147483647 w 251"/>
              <a:gd name="T61" fmla="*/ 2147483647 h 194"/>
              <a:gd name="T62" fmla="*/ 2147483647 w 251"/>
              <a:gd name="T63" fmla="*/ 2147483647 h 194"/>
              <a:gd name="T64" fmla="*/ 0 w 251"/>
              <a:gd name="T65" fmla="*/ 2147483647 h 194"/>
              <a:gd name="T66" fmla="*/ 2147483647 w 251"/>
              <a:gd name="T67" fmla="*/ 2147483647 h 194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51"/>
              <a:gd name="T103" fmla="*/ 0 h 194"/>
              <a:gd name="T104" fmla="*/ 251 w 251"/>
              <a:gd name="T105" fmla="*/ 194 h 194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51" h="194">
                <a:moveTo>
                  <a:pt x="4" y="142"/>
                </a:moveTo>
                <a:lnTo>
                  <a:pt x="18" y="142"/>
                </a:lnTo>
                <a:lnTo>
                  <a:pt x="52" y="136"/>
                </a:lnTo>
                <a:lnTo>
                  <a:pt x="64" y="118"/>
                </a:lnTo>
                <a:lnTo>
                  <a:pt x="66" y="76"/>
                </a:lnTo>
                <a:lnTo>
                  <a:pt x="86" y="72"/>
                </a:lnTo>
                <a:lnTo>
                  <a:pt x="124" y="40"/>
                </a:lnTo>
                <a:lnTo>
                  <a:pt x="191" y="0"/>
                </a:lnTo>
                <a:lnTo>
                  <a:pt x="199" y="2"/>
                </a:lnTo>
                <a:lnTo>
                  <a:pt x="207" y="4"/>
                </a:lnTo>
                <a:lnTo>
                  <a:pt x="217" y="8"/>
                </a:lnTo>
                <a:lnTo>
                  <a:pt x="227" y="16"/>
                </a:lnTo>
                <a:lnTo>
                  <a:pt x="239" y="10"/>
                </a:lnTo>
                <a:lnTo>
                  <a:pt x="251" y="54"/>
                </a:lnTo>
                <a:lnTo>
                  <a:pt x="247" y="70"/>
                </a:lnTo>
                <a:lnTo>
                  <a:pt x="243" y="110"/>
                </a:lnTo>
                <a:lnTo>
                  <a:pt x="211" y="148"/>
                </a:lnTo>
                <a:lnTo>
                  <a:pt x="213" y="160"/>
                </a:lnTo>
                <a:lnTo>
                  <a:pt x="191" y="174"/>
                </a:lnTo>
                <a:lnTo>
                  <a:pt x="156" y="170"/>
                </a:lnTo>
                <a:lnTo>
                  <a:pt x="150" y="178"/>
                </a:lnTo>
                <a:lnTo>
                  <a:pt x="122" y="168"/>
                </a:lnTo>
                <a:lnTo>
                  <a:pt x="112" y="174"/>
                </a:lnTo>
                <a:lnTo>
                  <a:pt x="96" y="162"/>
                </a:lnTo>
                <a:lnTo>
                  <a:pt x="66" y="162"/>
                </a:lnTo>
                <a:lnTo>
                  <a:pt x="54" y="194"/>
                </a:lnTo>
                <a:lnTo>
                  <a:pt x="44" y="184"/>
                </a:lnTo>
                <a:lnTo>
                  <a:pt x="30" y="186"/>
                </a:lnTo>
                <a:lnTo>
                  <a:pt x="16" y="178"/>
                </a:lnTo>
                <a:lnTo>
                  <a:pt x="12" y="176"/>
                </a:lnTo>
                <a:lnTo>
                  <a:pt x="14" y="170"/>
                </a:lnTo>
                <a:lnTo>
                  <a:pt x="4" y="158"/>
                </a:lnTo>
                <a:lnTo>
                  <a:pt x="0" y="150"/>
                </a:lnTo>
                <a:lnTo>
                  <a:pt x="4" y="14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7" name="Freeform 97">
            <a:extLst>
              <a:ext uri="{FF2B5EF4-FFF2-40B4-BE49-F238E27FC236}">
                <a16:creationId xmlns:a16="http://schemas.microsoft.com/office/drawing/2014/main" id="{60796BA6-7BF1-CA81-1B55-B69D1B636163}"/>
              </a:ext>
            </a:extLst>
          </p:cNvPr>
          <p:cNvSpPr>
            <a:spLocks/>
          </p:cNvSpPr>
          <p:nvPr/>
        </p:nvSpPr>
        <p:spPr bwMode="auto">
          <a:xfrm>
            <a:off x="5674785" y="4578351"/>
            <a:ext cx="395817" cy="260351"/>
          </a:xfrm>
          <a:custGeom>
            <a:avLst/>
            <a:gdLst>
              <a:gd name="T0" fmla="*/ 2147483647 w 202"/>
              <a:gd name="T1" fmla="*/ 2147483647 h 128"/>
              <a:gd name="T2" fmla="*/ 2147483647 w 202"/>
              <a:gd name="T3" fmla="*/ 2147483647 h 128"/>
              <a:gd name="T4" fmla="*/ 2147483647 w 202"/>
              <a:gd name="T5" fmla="*/ 2147483647 h 128"/>
              <a:gd name="T6" fmla="*/ 2147483647 w 202"/>
              <a:gd name="T7" fmla="*/ 2147483647 h 128"/>
              <a:gd name="T8" fmla="*/ 2147483647 w 202"/>
              <a:gd name="T9" fmla="*/ 2147483647 h 128"/>
              <a:gd name="T10" fmla="*/ 2147483647 w 202"/>
              <a:gd name="T11" fmla="*/ 0 h 128"/>
              <a:gd name="T12" fmla="*/ 2147483647 w 202"/>
              <a:gd name="T13" fmla="*/ 2147483647 h 128"/>
              <a:gd name="T14" fmla="*/ 2147483647 w 202"/>
              <a:gd name="T15" fmla="*/ 2147483647 h 128"/>
              <a:gd name="T16" fmla="*/ 2147483647 w 202"/>
              <a:gd name="T17" fmla="*/ 2147483647 h 128"/>
              <a:gd name="T18" fmla="*/ 2147483647 w 202"/>
              <a:gd name="T19" fmla="*/ 2147483647 h 128"/>
              <a:gd name="T20" fmla="*/ 2147483647 w 202"/>
              <a:gd name="T21" fmla="*/ 2147483647 h 128"/>
              <a:gd name="T22" fmla="*/ 2147483647 w 202"/>
              <a:gd name="T23" fmla="*/ 2147483647 h 128"/>
              <a:gd name="T24" fmla="*/ 2147483647 w 202"/>
              <a:gd name="T25" fmla="*/ 2147483647 h 128"/>
              <a:gd name="T26" fmla="*/ 2147483647 w 202"/>
              <a:gd name="T27" fmla="*/ 2147483647 h 128"/>
              <a:gd name="T28" fmla="*/ 2147483647 w 202"/>
              <a:gd name="T29" fmla="*/ 2147483647 h 128"/>
              <a:gd name="T30" fmla="*/ 2147483647 w 202"/>
              <a:gd name="T31" fmla="*/ 2147483647 h 128"/>
              <a:gd name="T32" fmla="*/ 2147483647 w 202"/>
              <a:gd name="T33" fmla="*/ 2147483647 h 128"/>
              <a:gd name="T34" fmla="*/ 2147483647 w 202"/>
              <a:gd name="T35" fmla="*/ 2147483647 h 128"/>
              <a:gd name="T36" fmla="*/ 2147483647 w 202"/>
              <a:gd name="T37" fmla="*/ 2147483647 h 128"/>
              <a:gd name="T38" fmla="*/ 2147483647 w 202"/>
              <a:gd name="T39" fmla="*/ 2147483647 h 128"/>
              <a:gd name="T40" fmla="*/ 2147483647 w 202"/>
              <a:gd name="T41" fmla="*/ 2147483647 h 128"/>
              <a:gd name="T42" fmla="*/ 2147483647 w 202"/>
              <a:gd name="T43" fmla="*/ 2147483647 h 128"/>
              <a:gd name="T44" fmla="*/ 0 w 202"/>
              <a:gd name="T45" fmla="*/ 2147483647 h 128"/>
              <a:gd name="T46" fmla="*/ 0 w 202"/>
              <a:gd name="T47" fmla="*/ 2147483647 h 128"/>
              <a:gd name="T48" fmla="*/ 2147483647 w 202"/>
              <a:gd name="T49" fmla="*/ 2147483647 h 12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202"/>
              <a:gd name="T76" fmla="*/ 0 h 128"/>
              <a:gd name="T77" fmla="*/ 202 w 202"/>
              <a:gd name="T78" fmla="*/ 128 h 128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202" h="128">
                <a:moveTo>
                  <a:pt x="20" y="54"/>
                </a:moveTo>
                <a:lnTo>
                  <a:pt x="66" y="42"/>
                </a:lnTo>
                <a:lnTo>
                  <a:pt x="68" y="30"/>
                </a:lnTo>
                <a:lnTo>
                  <a:pt x="92" y="26"/>
                </a:lnTo>
                <a:lnTo>
                  <a:pt x="116" y="2"/>
                </a:lnTo>
                <a:lnTo>
                  <a:pt x="128" y="0"/>
                </a:lnTo>
                <a:lnTo>
                  <a:pt x="140" y="8"/>
                </a:lnTo>
                <a:lnTo>
                  <a:pt x="142" y="22"/>
                </a:lnTo>
                <a:lnTo>
                  <a:pt x="142" y="34"/>
                </a:lnTo>
                <a:lnTo>
                  <a:pt x="180" y="60"/>
                </a:lnTo>
                <a:lnTo>
                  <a:pt x="202" y="92"/>
                </a:lnTo>
                <a:lnTo>
                  <a:pt x="172" y="90"/>
                </a:lnTo>
                <a:lnTo>
                  <a:pt x="138" y="100"/>
                </a:lnTo>
                <a:lnTo>
                  <a:pt x="126" y="108"/>
                </a:lnTo>
                <a:lnTo>
                  <a:pt x="104" y="106"/>
                </a:lnTo>
                <a:lnTo>
                  <a:pt x="92" y="102"/>
                </a:lnTo>
                <a:lnTo>
                  <a:pt x="78" y="88"/>
                </a:lnTo>
                <a:lnTo>
                  <a:pt x="64" y="104"/>
                </a:lnTo>
                <a:lnTo>
                  <a:pt x="62" y="118"/>
                </a:lnTo>
                <a:lnTo>
                  <a:pt x="32" y="116"/>
                </a:lnTo>
                <a:lnTo>
                  <a:pt x="24" y="128"/>
                </a:lnTo>
                <a:lnTo>
                  <a:pt x="10" y="112"/>
                </a:lnTo>
                <a:lnTo>
                  <a:pt x="0" y="86"/>
                </a:lnTo>
                <a:lnTo>
                  <a:pt x="0" y="70"/>
                </a:lnTo>
                <a:lnTo>
                  <a:pt x="20" y="5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8" name="Freeform 98">
            <a:extLst>
              <a:ext uri="{FF2B5EF4-FFF2-40B4-BE49-F238E27FC236}">
                <a16:creationId xmlns:a16="http://schemas.microsoft.com/office/drawing/2014/main" id="{F403FC71-ACD7-FBCD-B81B-DBE6913E1BB3}"/>
              </a:ext>
            </a:extLst>
          </p:cNvPr>
          <p:cNvSpPr>
            <a:spLocks/>
          </p:cNvSpPr>
          <p:nvPr/>
        </p:nvSpPr>
        <p:spPr bwMode="auto">
          <a:xfrm>
            <a:off x="5899151" y="4191001"/>
            <a:ext cx="520700" cy="607484"/>
          </a:xfrm>
          <a:custGeom>
            <a:avLst/>
            <a:gdLst>
              <a:gd name="T0" fmla="*/ 2147483647 w 264"/>
              <a:gd name="T1" fmla="*/ 2147483647 h 308"/>
              <a:gd name="T2" fmla="*/ 2147483647 w 264"/>
              <a:gd name="T3" fmla="*/ 0 h 308"/>
              <a:gd name="T4" fmla="*/ 2147483647 w 264"/>
              <a:gd name="T5" fmla="*/ 0 h 308"/>
              <a:gd name="T6" fmla="*/ 2147483647 w 264"/>
              <a:gd name="T7" fmla="*/ 2147483647 h 308"/>
              <a:gd name="T8" fmla="*/ 2147483647 w 264"/>
              <a:gd name="T9" fmla="*/ 2147483647 h 308"/>
              <a:gd name="T10" fmla="*/ 2147483647 w 264"/>
              <a:gd name="T11" fmla="*/ 2147483647 h 308"/>
              <a:gd name="T12" fmla="*/ 2147483647 w 264"/>
              <a:gd name="T13" fmla="*/ 2147483647 h 308"/>
              <a:gd name="T14" fmla="*/ 2147483647 w 264"/>
              <a:gd name="T15" fmla="*/ 2147483647 h 308"/>
              <a:gd name="T16" fmla="*/ 2147483647 w 264"/>
              <a:gd name="T17" fmla="*/ 2147483647 h 308"/>
              <a:gd name="T18" fmla="*/ 2147483647 w 264"/>
              <a:gd name="T19" fmla="*/ 2147483647 h 308"/>
              <a:gd name="T20" fmla="*/ 2147483647 w 264"/>
              <a:gd name="T21" fmla="*/ 2147483647 h 308"/>
              <a:gd name="T22" fmla="*/ 2147483647 w 264"/>
              <a:gd name="T23" fmla="*/ 2147483647 h 308"/>
              <a:gd name="T24" fmla="*/ 2147483647 w 264"/>
              <a:gd name="T25" fmla="*/ 2147483647 h 308"/>
              <a:gd name="T26" fmla="*/ 2147483647 w 264"/>
              <a:gd name="T27" fmla="*/ 2147483647 h 308"/>
              <a:gd name="T28" fmla="*/ 2147483647 w 264"/>
              <a:gd name="T29" fmla="*/ 2147483647 h 308"/>
              <a:gd name="T30" fmla="*/ 2147483647 w 264"/>
              <a:gd name="T31" fmla="*/ 2147483647 h 308"/>
              <a:gd name="T32" fmla="*/ 2147483647 w 264"/>
              <a:gd name="T33" fmla="*/ 2147483647 h 308"/>
              <a:gd name="T34" fmla="*/ 2147483647 w 264"/>
              <a:gd name="T35" fmla="*/ 2147483647 h 308"/>
              <a:gd name="T36" fmla="*/ 2147483647 w 264"/>
              <a:gd name="T37" fmla="*/ 2147483647 h 308"/>
              <a:gd name="T38" fmla="*/ 2147483647 w 264"/>
              <a:gd name="T39" fmla="*/ 2147483647 h 308"/>
              <a:gd name="T40" fmla="*/ 2147483647 w 264"/>
              <a:gd name="T41" fmla="*/ 2147483647 h 308"/>
              <a:gd name="T42" fmla="*/ 2147483647 w 264"/>
              <a:gd name="T43" fmla="*/ 2147483647 h 308"/>
              <a:gd name="T44" fmla="*/ 2147483647 w 264"/>
              <a:gd name="T45" fmla="*/ 2147483647 h 308"/>
              <a:gd name="T46" fmla="*/ 2147483647 w 264"/>
              <a:gd name="T47" fmla="*/ 2147483647 h 308"/>
              <a:gd name="T48" fmla="*/ 2147483647 w 264"/>
              <a:gd name="T49" fmla="*/ 2147483647 h 308"/>
              <a:gd name="T50" fmla="*/ 2147483647 w 264"/>
              <a:gd name="T51" fmla="*/ 2147483647 h 308"/>
              <a:gd name="T52" fmla="*/ 2147483647 w 264"/>
              <a:gd name="T53" fmla="*/ 2147483647 h 308"/>
              <a:gd name="T54" fmla="*/ 2147483647 w 264"/>
              <a:gd name="T55" fmla="*/ 2147483647 h 308"/>
              <a:gd name="T56" fmla="*/ 2147483647 w 264"/>
              <a:gd name="T57" fmla="*/ 2147483647 h 308"/>
              <a:gd name="T58" fmla="*/ 2147483647 w 264"/>
              <a:gd name="T59" fmla="*/ 2147483647 h 308"/>
              <a:gd name="T60" fmla="*/ 2147483647 w 264"/>
              <a:gd name="T61" fmla="*/ 2147483647 h 308"/>
              <a:gd name="T62" fmla="*/ 0 w 264"/>
              <a:gd name="T63" fmla="*/ 2147483647 h 308"/>
              <a:gd name="T64" fmla="*/ 2147483647 w 264"/>
              <a:gd name="T65" fmla="*/ 2147483647 h 308"/>
              <a:gd name="T66" fmla="*/ 2147483647 w 264"/>
              <a:gd name="T67" fmla="*/ 2147483647 h 308"/>
              <a:gd name="T68" fmla="*/ 2147483647 w 264"/>
              <a:gd name="T69" fmla="*/ 2147483647 h 308"/>
              <a:gd name="T70" fmla="*/ 2147483647 w 264"/>
              <a:gd name="T71" fmla="*/ 2147483647 h 308"/>
              <a:gd name="T72" fmla="*/ 2147483647 w 264"/>
              <a:gd name="T73" fmla="*/ 2147483647 h 308"/>
              <a:gd name="T74" fmla="*/ 2147483647 w 264"/>
              <a:gd name="T75" fmla="*/ 2147483647 h 308"/>
              <a:gd name="T76" fmla="*/ 2147483647 w 264"/>
              <a:gd name="T77" fmla="*/ 2147483647 h 30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264"/>
              <a:gd name="T118" fmla="*/ 0 h 308"/>
              <a:gd name="T119" fmla="*/ 264 w 264"/>
              <a:gd name="T120" fmla="*/ 308 h 308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264" h="308">
                <a:moveTo>
                  <a:pt x="188" y="20"/>
                </a:moveTo>
                <a:lnTo>
                  <a:pt x="208" y="0"/>
                </a:lnTo>
                <a:lnTo>
                  <a:pt x="216" y="0"/>
                </a:lnTo>
                <a:lnTo>
                  <a:pt x="238" y="18"/>
                </a:lnTo>
                <a:lnTo>
                  <a:pt x="242" y="32"/>
                </a:lnTo>
                <a:lnTo>
                  <a:pt x="240" y="60"/>
                </a:lnTo>
                <a:lnTo>
                  <a:pt x="264" y="86"/>
                </a:lnTo>
                <a:lnTo>
                  <a:pt x="236" y="98"/>
                </a:lnTo>
                <a:lnTo>
                  <a:pt x="230" y="128"/>
                </a:lnTo>
                <a:lnTo>
                  <a:pt x="230" y="142"/>
                </a:lnTo>
                <a:lnTo>
                  <a:pt x="206" y="180"/>
                </a:lnTo>
                <a:lnTo>
                  <a:pt x="206" y="196"/>
                </a:lnTo>
                <a:lnTo>
                  <a:pt x="194" y="198"/>
                </a:lnTo>
                <a:lnTo>
                  <a:pt x="194" y="234"/>
                </a:lnTo>
                <a:lnTo>
                  <a:pt x="174" y="234"/>
                </a:lnTo>
                <a:lnTo>
                  <a:pt x="178" y="248"/>
                </a:lnTo>
                <a:lnTo>
                  <a:pt x="188" y="250"/>
                </a:lnTo>
                <a:lnTo>
                  <a:pt x="212" y="282"/>
                </a:lnTo>
                <a:lnTo>
                  <a:pt x="218" y="282"/>
                </a:lnTo>
                <a:lnTo>
                  <a:pt x="218" y="296"/>
                </a:lnTo>
                <a:lnTo>
                  <a:pt x="198" y="296"/>
                </a:lnTo>
                <a:lnTo>
                  <a:pt x="190" y="304"/>
                </a:lnTo>
                <a:lnTo>
                  <a:pt x="138" y="308"/>
                </a:lnTo>
                <a:lnTo>
                  <a:pt x="122" y="296"/>
                </a:lnTo>
                <a:lnTo>
                  <a:pt x="94" y="298"/>
                </a:lnTo>
                <a:lnTo>
                  <a:pt x="86" y="288"/>
                </a:lnTo>
                <a:lnTo>
                  <a:pt x="64" y="256"/>
                </a:lnTo>
                <a:lnTo>
                  <a:pt x="26" y="230"/>
                </a:lnTo>
                <a:lnTo>
                  <a:pt x="24" y="204"/>
                </a:lnTo>
                <a:lnTo>
                  <a:pt x="12" y="196"/>
                </a:lnTo>
                <a:lnTo>
                  <a:pt x="8" y="170"/>
                </a:lnTo>
                <a:lnTo>
                  <a:pt x="0" y="162"/>
                </a:lnTo>
                <a:lnTo>
                  <a:pt x="16" y="122"/>
                </a:lnTo>
                <a:lnTo>
                  <a:pt x="30" y="120"/>
                </a:lnTo>
                <a:lnTo>
                  <a:pt x="32" y="46"/>
                </a:lnTo>
                <a:lnTo>
                  <a:pt x="50" y="46"/>
                </a:lnTo>
                <a:lnTo>
                  <a:pt x="50" y="12"/>
                </a:lnTo>
                <a:lnTo>
                  <a:pt x="178" y="14"/>
                </a:lnTo>
                <a:lnTo>
                  <a:pt x="188" y="2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9" name="Freeform 99">
            <a:extLst>
              <a:ext uri="{FF2B5EF4-FFF2-40B4-BE49-F238E27FC236}">
                <a16:creationId xmlns:a16="http://schemas.microsoft.com/office/drawing/2014/main" id="{5262C0D0-2699-832D-0BD7-0773BFECF41A}"/>
              </a:ext>
            </a:extLst>
          </p:cNvPr>
          <p:cNvSpPr>
            <a:spLocks/>
          </p:cNvSpPr>
          <p:nvPr/>
        </p:nvSpPr>
        <p:spPr bwMode="auto">
          <a:xfrm>
            <a:off x="6352118" y="4364567"/>
            <a:ext cx="192617" cy="165100"/>
          </a:xfrm>
          <a:custGeom>
            <a:avLst/>
            <a:gdLst>
              <a:gd name="T0" fmla="*/ 2147483647 w 100"/>
              <a:gd name="T1" fmla="*/ 0 h 86"/>
              <a:gd name="T2" fmla="*/ 2147483647 w 100"/>
              <a:gd name="T3" fmla="*/ 2147483647 h 86"/>
              <a:gd name="T4" fmla="*/ 2147483647 w 100"/>
              <a:gd name="T5" fmla="*/ 2147483647 h 86"/>
              <a:gd name="T6" fmla="*/ 2147483647 w 100"/>
              <a:gd name="T7" fmla="*/ 2147483647 h 86"/>
              <a:gd name="T8" fmla="*/ 2147483647 w 100"/>
              <a:gd name="T9" fmla="*/ 2147483647 h 86"/>
              <a:gd name="T10" fmla="*/ 2147483647 w 100"/>
              <a:gd name="T11" fmla="*/ 2147483647 h 86"/>
              <a:gd name="T12" fmla="*/ 2147483647 w 100"/>
              <a:gd name="T13" fmla="*/ 2147483647 h 86"/>
              <a:gd name="T14" fmla="*/ 2147483647 w 100"/>
              <a:gd name="T15" fmla="*/ 2147483647 h 86"/>
              <a:gd name="T16" fmla="*/ 2147483647 w 100"/>
              <a:gd name="T17" fmla="*/ 2147483647 h 86"/>
              <a:gd name="T18" fmla="*/ 2147483647 w 100"/>
              <a:gd name="T19" fmla="*/ 2147483647 h 86"/>
              <a:gd name="T20" fmla="*/ 2147483647 w 100"/>
              <a:gd name="T21" fmla="*/ 2147483647 h 86"/>
              <a:gd name="T22" fmla="*/ 0 w 100"/>
              <a:gd name="T23" fmla="*/ 2147483647 h 86"/>
              <a:gd name="T24" fmla="*/ 0 w 100"/>
              <a:gd name="T25" fmla="*/ 2147483647 h 86"/>
              <a:gd name="T26" fmla="*/ 2147483647 w 100"/>
              <a:gd name="T27" fmla="*/ 2147483647 h 86"/>
              <a:gd name="T28" fmla="*/ 2147483647 w 100"/>
              <a:gd name="T29" fmla="*/ 2147483647 h 86"/>
              <a:gd name="T30" fmla="*/ 2147483647 w 100"/>
              <a:gd name="T31" fmla="*/ 0 h 8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00"/>
              <a:gd name="T49" fmla="*/ 0 h 86"/>
              <a:gd name="T50" fmla="*/ 100 w 100"/>
              <a:gd name="T51" fmla="*/ 86 h 8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00" h="86">
                <a:moveTo>
                  <a:pt x="34" y="0"/>
                </a:moveTo>
                <a:lnTo>
                  <a:pt x="42" y="12"/>
                </a:lnTo>
                <a:lnTo>
                  <a:pt x="48" y="26"/>
                </a:lnTo>
                <a:lnTo>
                  <a:pt x="50" y="44"/>
                </a:lnTo>
                <a:lnTo>
                  <a:pt x="64" y="44"/>
                </a:lnTo>
                <a:lnTo>
                  <a:pt x="100" y="76"/>
                </a:lnTo>
                <a:lnTo>
                  <a:pt x="94" y="86"/>
                </a:lnTo>
                <a:lnTo>
                  <a:pt x="76" y="68"/>
                </a:lnTo>
                <a:lnTo>
                  <a:pt x="58" y="52"/>
                </a:lnTo>
                <a:lnTo>
                  <a:pt x="24" y="50"/>
                </a:lnTo>
                <a:lnTo>
                  <a:pt x="22" y="56"/>
                </a:lnTo>
                <a:lnTo>
                  <a:pt x="0" y="56"/>
                </a:lnTo>
                <a:lnTo>
                  <a:pt x="0" y="42"/>
                </a:lnTo>
                <a:lnTo>
                  <a:pt x="4" y="28"/>
                </a:lnTo>
                <a:lnTo>
                  <a:pt x="6" y="12"/>
                </a:lnTo>
                <a:lnTo>
                  <a:pt x="34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0" name="Freeform 100">
            <a:extLst>
              <a:ext uri="{FF2B5EF4-FFF2-40B4-BE49-F238E27FC236}">
                <a16:creationId xmlns:a16="http://schemas.microsoft.com/office/drawing/2014/main" id="{A606A889-6827-1322-5F61-9D0B116F7957}"/>
              </a:ext>
            </a:extLst>
          </p:cNvPr>
          <p:cNvSpPr>
            <a:spLocks/>
          </p:cNvSpPr>
          <p:nvPr/>
        </p:nvSpPr>
        <p:spPr bwMode="auto">
          <a:xfrm>
            <a:off x="6515101" y="4510618"/>
            <a:ext cx="48684" cy="67733"/>
          </a:xfrm>
          <a:custGeom>
            <a:avLst/>
            <a:gdLst>
              <a:gd name="T0" fmla="*/ 2147483647 w 22"/>
              <a:gd name="T1" fmla="*/ 2147483647 h 34"/>
              <a:gd name="T2" fmla="*/ 2147483647 w 22"/>
              <a:gd name="T3" fmla="*/ 2147483647 h 34"/>
              <a:gd name="T4" fmla="*/ 2147483647 w 22"/>
              <a:gd name="T5" fmla="*/ 2147483647 h 34"/>
              <a:gd name="T6" fmla="*/ 0 w 22"/>
              <a:gd name="T7" fmla="*/ 2147483647 h 34"/>
              <a:gd name="T8" fmla="*/ 0 w 22"/>
              <a:gd name="T9" fmla="*/ 2147483647 h 34"/>
              <a:gd name="T10" fmla="*/ 2147483647 w 22"/>
              <a:gd name="T11" fmla="*/ 2147483647 h 34"/>
              <a:gd name="T12" fmla="*/ 2147483647 w 22"/>
              <a:gd name="T13" fmla="*/ 0 h 34"/>
              <a:gd name="T14" fmla="*/ 2147483647 w 22"/>
              <a:gd name="T15" fmla="*/ 2147483647 h 3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2"/>
              <a:gd name="T25" fmla="*/ 0 h 34"/>
              <a:gd name="T26" fmla="*/ 22 w 22"/>
              <a:gd name="T27" fmla="*/ 34 h 3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2" h="34">
                <a:moveTo>
                  <a:pt x="22" y="16"/>
                </a:moveTo>
                <a:lnTo>
                  <a:pt x="14" y="22"/>
                </a:lnTo>
                <a:lnTo>
                  <a:pt x="16" y="34"/>
                </a:lnTo>
                <a:lnTo>
                  <a:pt x="0" y="32"/>
                </a:lnTo>
                <a:lnTo>
                  <a:pt x="0" y="20"/>
                </a:lnTo>
                <a:lnTo>
                  <a:pt x="8" y="10"/>
                </a:lnTo>
                <a:lnTo>
                  <a:pt x="14" y="0"/>
                </a:lnTo>
                <a:lnTo>
                  <a:pt x="22" y="1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1" name="Freeform 101">
            <a:extLst>
              <a:ext uri="{FF2B5EF4-FFF2-40B4-BE49-F238E27FC236}">
                <a16:creationId xmlns:a16="http://schemas.microsoft.com/office/drawing/2014/main" id="{C4DA7BDC-93C3-9CA6-2890-3227A9A61807}"/>
              </a:ext>
            </a:extLst>
          </p:cNvPr>
          <p:cNvSpPr>
            <a:spLocks/>
          </p:cNvSpPr>
          <p:nvPr/>
        </p:nvSpPr>
        <p:spPr bwMode="auto">
          <a:xfrm>
            <a:off x="6487585" y="4548717"/>
            <a:ext cx="328084" cy="425451"/>
          </a:xfrm>
          <a:custGeom>
            <a:avLst/>
            <a:gdLst>
              <a:gd name="T0" fmla="*/ 2147483647 w 166"/>
              <a:gd name="T1" fmla="*/ 2147483647 h 216"/>
              <a:gd name="T2" fmla="*/ 2147483647 w 166"/>
              <a:gd name="T3" fmla="*/ 2147483647 h 216"/>
              <a:gd name="T4" fmla="*/ 2147483647 w 166"/>
              <a:gd name="T5" fmla="*/ 2147483647 h 216"/>
              <a:gd name="T6" fmla="*/ 2147483647 w 166"/>
              <a:gd name="T7" fmla="*/ 0 h 216"/>
              <a:gd name="T8" fmla="*/ 2147483647 w 166"/>
              <a:gd name="T9" fmla="*/ 2147483647 h 216"/>
              <a:gd name="T10" fmla="*/ 2147483647 w 166"/>
              <a:gd name="T11" fmla="*/ 2147483647 h 216"/>
              <a:gd name="T12" fmla="*/ 2147483647 w 166"/>
              <a:gd name="T13" fmla="*/ 2147483647 h 216"/>
              <a:gd name="T14" fmla="*/ 2147483647 w 166"/>
              <a:gd name="T15" fmla="*/ 2147483647 h 216"/>
              <a:gd name="T16" fmla="*/ 2147483647 w 166"/>
              <a:gd name="T17" fmla="*/ 2147483647 h 216"/>
              <a:gd name="T18" fmla="*/ 2147483647 w 166"/>
              <a:gd name="T19" fmla="*/ 2147483647 h 216"/>
              <a:gd name="T20" fmla="*/ 0 w 166"/>
              <a:gd name="T21" fmla="*/ 2147483647 h 216"/>
              <a:gd name="T22" fmla="*/ 2147483647 w 166"/>
              <a:gd name="T23" fmla="*/ 2147483647 h 216"/>
              <a:gd name="T24" fmla="*/ 2147483647 w 166"/>
              <a:gd name="T25" fmla="*/ 2147483647 h 216"/>
              <a:gd name="T26" fmla="*/ 2147483647 w 166"/>
              <a:gd name="T27" fmla="*/ 2147483647 h 216"/>
              <a:gd name="T28" fmla="*/ 2147483647 w 166"/>
              <a:gd name="T29" fmla="*/ 2147483647 h 216"/>
              <a:gd name="T30" fmla="*/ 2147483647 w 166"/>
              <a:gd name="T31" fmla="*/ 2147483647 h 216"/>
              <a:gd name="T32" fmla="*/ 2147483647 w 166"/>
              <a:gd name="T33" fmla="*/ 2147483647 h 216"/>
              <a:gd name="T34" fmla="*/ 2147483647 w 166"/>
              <a:gd name="T35" fmla="*/ 2147483647 h 216"/>
              <a:gd name="T36" fmla="*/ 2147483647 w 166"/>
              <a:gd name="T37" fmla="*/ 2147483647 h 216"/>
              <a:gd name="T38" fmla="*/ 2147483647 w 166"/>
              <a:gd name="T39" fmla="*/ 2147483647 h 216"/>
              <a:gd name="T40" fmla="*/ 2147483647 w 166"/>
              <a:gd name="T41" fmla="*/ 2147483647 h 21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66"/>
              <a:gd name="T64" fmla="*/ 0 h 216"/>
              <a:gd name="T65" fmla="*/ 166 w 166"/>
              <a:gd name="T66" fmla="*/ 216 h 21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66" h="216">
                <a:moveTo>
                  <a:pt x="60" y="26"/>
                </a:moveTo>
                <a:lnTo>
                  <a:pt x="78" y="18"/>
                </a:lnTo>
                <a:lnTo>
                  <a:pt x="146" y="8"/>
                </a:lnTo>
                <a:lnTo>
                  <a:pt x="164" y="0"/>
                </a:lnTo>
                <a:lnTo>
                  <a:pt x="166" y="22"/>
                </a:lnTo>
                <a:lnTo>
                  <a:pt x="158" y="30"/>
                </a:lnTo>
                <a:lnTo>
                  <a:pt x="132" y="80"/>
                </a:lnTo>
                <a:lnTo>
                  <a:pt x="80" y="152"/>
                </a:lnTo>
                <a:lnTo>
                  <a:pt x="12" y="216"/>
                </a:lnTo>
                <a:lnTo>
                  <a:pt x="2" y="202"/>
                </a:lnTo>
                <a:lnTo>
                  <a:pt x="0" y="146"/>
                </a:lnTo>
                <a:lnTo>
                  <a:pt x="16" y="136"/>
                </a:lnTo>
                <a:lnTo>
                  <a:pt x="16" y="126"/>
                </a:lnTo>
                <a:lnTo>
                  <a:pt x="40" y="112"/>
                </a:lnTo>
                <a:lnTo>
                  <a:pt x="66" y="108"/>
                </a:lnTo>
                <a:lnTo>
                  <a:pt x="108" y="62"/>
                </a:lnTo>
                <a:lnTo>
                  <a:pt x="52" y="48"/>
                </a:lnTo>
                <a:lnTo>
                  <a:pt x="32" y="26"/>
                </a:lnTo>
                <a:lnTo>
                  <a:pt x="32" y="16"/>
                </a:lnTo>
                <a:lnTo>
                  <a:pt x="40" y="8"/>
                </a:lnTo>
                <a:lnTo>
                  <a:pt x="60" y="2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2" name="Freeform 102">
            <a:extLst>
              <a:ext uri="{FF2B5EF4-FFF2-40B4-BE49-F238E27FC236}">
                <a16:creationId xmlns:a16="http://schemas.microsoft.com/office/drawing/2014/main" id="{4B8EF6C5-D198-6DC7-B51D-DC01C0933FF6}"/>
              </a:ext>
            </a:extLst>
          </p:cNvPr>
          <p:cNvSpPr>
            <a:spLocks/>
          </p:cNvSpPr>
          <p:nvPr/>
        </p:nvSpPr>
        <p:spPr bwMode="auto">
          <a:xfrm>
            <a:off x="6248401" y="4461934"/>
            <a:ext cx="455084" cy="347133"/>
          </a:xfrm>
          <a:custGeom>
            <a:avLst/>
            <a:gdLst>
              <a:gd name="T0" fmla="*/ 2147483647 w 234"/>
              <a:gd name="T1" fmla="*/ 2147483647 h 178"/>
              <a:gd name="T2" fmla="*/ 2147483647 w 234"/>
              <a:gd name="T3" fmla="*/ 2147483647 h 178"/>
              <a:gd name="T4" fmla="*/ 2147483647 w 234"/>
              <a:gd name="T5" fmla="*/ 0 h 178"/>
              <a:gd name="T6" fmla="*/ 2147483647 w 234"/>
              <a:gd name="T7" fmla="*/ 2147483647 h 178"/>
              <a:gd name="T8" fmla="*/ 2147483647 w 234"/>
              <a:gd name="T9" fmla="*/ 2147483647 h 178"/>
              <a:gd name="T10" fmla="*/ 2147483647 w 234"/>
              <a:gd name="T11" fmla="*/ 2147483647 h 178"/>
              <a:gd name="T12" fmla="*/ 2147483647 w 234"/>
              <a:gd name="T13" fmla="*/ 2147483647 h 178"/>
              <a:gd name="T14" fmla="*/ 2147483647 w 234"/>
              <a:gd name="T15" fmla="*/ 2147483647 h 178"/>
              <a:gd name="T16" fmla="*/ 2147483647 w 234"/>
              <a:gd name="T17" fmla="*/ 2147483647 h 178"/>
              <a:gd name="T18" fmla="*/ 2147483647 w 234"/>
              <a:gd name="T19" fmla="*/ 2147483647 h 178"/>
              <a:gd name="T20" fmla="*/ 2147483647 w 234"/>
              <a:gd name="T21" fmla="*/ 2147483647 h 178"/>
              <a:gd name="T22" fmla="*/ 2147483647 w 234"/>
              <a:gd name="T23" fmla="*/ 2147483647 h 178"/>
              <a:gd name="T24" fmla="*/ 2147483647 w 234"/>
              <a:gd name="T25" fmla="*/ 2147483647 h 178"/>
              <a:gd name="T26" fmla="*/ 2147483647 w 234"/>
              <a:gd name="T27" fmla="*/ 2147483647 h 178"/>
              <a:gd name="T28" fmla="*/ 2147483647 w 234"/>
              <a:gd name="T29" fmla="*/ 2147483647 h 178"/>
              <a:gd name="T30" fmla="*/ 2147483647 w 234"/>
              <a:gd name="T31" fmla="*/ 2147483647 h 178"/>
              <a:gd name="T32" fmla="*/ 2147483647 w 234"/>
              <a:gd name="T33" fmla="*/ 2147483647 h 178"/>
              <a:gd name="T34" fmla="*/ 2147483647 w 234"/>
              <a:gd name="T35" fmla="*/ 2147483647 h 178"/>
              <a:gd name="T36" fmla="*/ 2147483647 w 234"/>
              <a:gd name="T37" fmla="*/ 2147483647 h 178"/>
              <a:gd name="T38" fmla="*/ 2147483647 w 234"/>
              <a:gd name="T39" fmla="*/ 2147483647 h 178"/>
              <a:gd name="T40" fmla="*/ 2147483647 w 234"/>
              <a:gd name="T41" fmla="*/ 2147483647 h 178"/>
              <a:gd name="T42" fmla="*/ 2147483647 w 234"/>
              <a:gd name="T43" fmla="*/ 2147483647 h 178"/>
              <a:gd name="T44" fmla="*/ 2147483647 w 234"/>
              <a:gd name="T45" fmla="*/ 2147483647 h 178"/>
              <a:gd name="T46" fmla="*/ 0 w 234"/>
              <a:gd name="T47" fmla="*/ 2147483647 h 178"/>
              <a:gd name="T48" fmla="*/ 2147483647 w 234"/>
              <a:gd name="T49" fmla="*/ 2147483647 h 178"/>
              <a:gd name="T50" fmla="*/ 2147483647 w 234"/>
              <a:gd name="T51" fmla="*/ 2147483647 h 178"/>
              <a:gd name="T52" fmla="*/ 2147483647 w 234"/>
              <a:gd name="T53" fmla="*/ 2147483647 h 178"/>
              <a:gd name="T54" fmla="*/ 2147483647 w 234"/>
              <a:gd name="T55" fmla="*/ 2147483647 h 178"/>
              <a:gd name="T56" fmla="*/ 2147483647 w 234"/>
              <a:gd name="T57" fmla="*/ 2147483647 h 178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234"/>
              <a:gd name="T88" fmla="*/ 0 h 178"/>
              <a:gd name="T89" fmla="*/ 234 w 234"/>
              <a:gd name="T90" fmla="*/ 178 h 178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234" h="178">
                <a:moveTo>
                  <a:pt x="56" y="6"/>
                </a:moveTo>
                <a:lnTo>
                  <a:pt x="78" y="6"/>
                </a:lnTo>
                <a:lnTo>
                  <a:pt x="80" y="0"/>
                </a:lnTo>
                <a:lnTo>
                  <a:pt x="114" y="2"/>
                </a:lnTo>
                <a:lnTo>
                  <a:pt x="150" y="36"/>
                </a:lnTo>
                <a:lnTo>
                  <a:pt x="142" y="46"/>
                </a:lnTo>
                <a:lnTo>
                  <a:pt x="142" y="58"/>
                </a:lnTo>
                <a:lnTo>
                  <a:pt x="158" y="60"/>
                </a:lnTo>
                <a:lnTo>
                  <a:pt x="158" y="70"/>
                </a:lnTo>
                <a:lnTo>
                  <a:pt x="178" y="92"/>
                </a:lnTo>
                <a:lnTo>
                  <a:pt x="234" y="106"/>
                </a:lnTo>
                <a:lnTo>
                  <a:pt x="192" y="152"/>
                </a:lnTo>
                <a:lnTo>
                  <a:pt x="166" y="156"/>
                </a:lnTo>
                <a:lnTo>
                  <a:pt x="142" y="170"/>
                </a:lnTo>
                <a:lnTo>
                  <a:pt x="130" y="174"/>
                </a:lnTo>
                <a:lnTo>
                  <a:pt x="124" y="166"/>
                </a:lnTo>
                <a:lnTo>
                  <a:pt x="104" y="178"/>
                </a:lnTo>
                <a:lnTo>
                  <a:pt x="80" y="176"/>
                </a:lnTo>
                <a:lnTo>
                  <a:pt x="44" y="160"/>
                </a:lnTo>
                <a:lnTo>
                  <a:pt x="44" y="146"/>
                </a:lnTo>
                <a:lnTo>
                  <a:pt x="38" y="146"/>
                </a:lnTo>
                <a:lnTo>
                  <a:pt x="14" y="114"/>
                </a:lnTo>
                <a:lnTo>
                  <a:pt x="4" y="112"/>
                </a:lnTo>
                <a:lnTo>
                  <a:pt x="0" y="98"/>
                </a:lnTo>
                <a:lnTo>
                  <a:pt x="20" y="98"/>
                </a:lnTo>
                <a:lnTo>
                  <a:pt x="20" y="62"/>
                </a:lnTo>
                <a:lnTo>
                  <a:pt x="32" y="60"/>
                </a:lnTo>
                <a:lnTo>
                  <a:pt x="32" y="44"/>
                </a:lnTo>
                <a:lnTo>
                  <a:pt x="56" y="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3" name="Freeform 103">
            <a:extLst>
              <a:ext uri="{FF2B5EF4-FFF2-40B4-BE49-F238E27FC236}">
                <a16:creationId xmlns:a16="http://schemas.microsoft.com/office/drawing/2014/main" id="{A0C4BCA8-8141-86E7-012A-E6E1D63DC1B5}"/>
              </a:ext>
            </a:extLst>
          </p:cNvPr>
          <p:cNvSpPr>
            <a:spLocks/>
          </p:cNvSpPr>
          <p:nvPr/>
        </p:nvSpPr>
        <p:spPr bwMode="auto">
          <a:xfrm>
            <a:off x="5482167" y="4510618"/>
            <a:ext cx="241300" cy="347133"/>
          </a:xfrm>
          <a:custGeom>
            <a:avLst/>
            <a:gdLst>
              <a:gd name="T0" fmla="*/ 2147483647 w 119"/>
              <a:gd name="T1" fmla="*/ 0 h 178"/>
              <a:gd name="T2" fmla="*/ 2147483647 w 119"/>
              <a:gd name="T3" fmla="*/ 2147483647 h 178"/>
              <a:gd name="T4" fmla="*/ 2147483647 w 119"/>
              <a:gd name="T5" fmla="*/ 2147483647 h 178"/>
              <a:gd name="T6" fmla="*/ 2147483647 w 119"/>
              <a:gd name="T7" fmla="*/ 2147483647 h 178"/>
              <a:gd name="T8" fmla="*/ 2147483647 w 119"/>
              <a:gd name="T9" fmla="*/ 2147483647 h 178"/>
              <a:gd name="T10" fmla="*/ 2147483647 w 119"/>
              <a:gd name="T11" fmla="*/ 2147483647 h 178"/>
              <a:gd name="T12" fmla="*/ 2147483647 w 119"/>
              <a:gd name="T13" fmla="*/ 2147483647 h 178"/>
              <a:gd name="T14" fmla="*/ 2147483647 w 119"/>
              <a:gd name="T15" fmla="*/ 2147483647 h 178"/>
              <a:gd name="T16" fmla="*/ 2147483647 w 119"/>
              <a:gd name="T17" fmla="*/ 2147483647 h 178"/>
              <a:gd name="T18" fmla="*/ 2147483647 w 119"/>
              <a:gd name="T19" fmla="*/ 2147483647 h 178"/>
              <a:gd name="T20" fmla="*/ 2147483647 w 119"/>
              <a:gd name="T21" fmla="*/ 2147483647 h 178"/>
              <a:gd name="T22" fmla="*/ 2147483647 w 119"/>
              <a:gd name="T23" fmla="*/ 2147483647 h 178"/>
              <a:gd name="T24" fmla="*/ 2147483647 w 119"/>
              <a:gd name="T25" fmla="*/ 2147483647 h 178"/>
              <a:gd name="T26" fmla="*/ 2147483647 w 119"/>
              <a:gd name="T27" fmla="*/ 2147483647 h 178"/>
              <a:gd name="T28" fmla="*/ 2147483647 w 119"/>
              <a:gd name="T29" fmla="*/ 2147483647 h 178"/>
              <a:gd name="T30" fmla="*/ 2147483647 w 119"/>
              <a:gd name="T31" fmla="*/ 2147483647 h 178"/>
              <a:gd name="T32" fmla="*/ 2147483647 w 119"/>
              <a:gd name="T33" fmla="*/ 2147483647 h 178"/>
              <a:gd name="T34" fmla="*/ 0 w 119"/>
              <a:gd name="T35" fmla="*/ 2147483647 h 178"/>
              <a:gd name="T36" fmla="*/ 2147483647 w 119"/>
              <a:gd name="T37" fmla="*/ 2147483647 h 178"/>
              <a:gd name="T38" fmla="*/ 2147483647 w 119"/>
              <a:gd name="T39" fmla="*/ 2147483647 h 178"/>
              <a:gd name="T40" fmla="*/ 2147483647 w 119"/>
              <a:gd name="T41" fmla="*/ 2147483647 h 178"/>
              <a:gd name="T42" fmla="*/ 2147483647 w 119"/>
              <a:gd name="T43" fmla="*/ 2147483647 h 178"/>
              <a:gd name="T44" fmla="*/ 2147483647 w 119"/>
              <a:gd name="T45" fmla="*/ 2147483647 h 178"/>
              <a:gd name="T46" fmla="*/ 2147483647 w 119"/>
              <a:gd name="T47" fmla="*/ 2147483647 h 178"/>
              <a:gd name="T48" fmla="*/ 2147483647 w 119"/>
              <a:gd name="T49" fmla="*/ 2147483647 h 178"/>
              <a:gd name="T50" fmla="*/ 2147483647 w 119"/>
              <a:gd name="T51" fmla="*/ 0 h 17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19"/>
              <a:gd name="T79" fmla="*/ 0 h 178"/>
              <a:gd name="T80" fmla="*/ 119 w 119"/>
              <a:gd name="T81" fmla="*/ 178 h 178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19" h="178">
                <a:moveTo>
                  <a:pt x="91" y="0"/>
                </a:moveTo>
                <a:lnTo>
                  <a:pt x="99" y="12"/>
                </a:lnTo>
                <a:lnTo>
                  <a:pt x="101" y="36"/>
                </a:lnTo>
                <a:lnTo>
                  <a:pt x="107" y="46"/>
                </a:lnTo>
                <a:lnTo>
                  <a:pt x="87" y="46"/>
                </a:lnTo>
                <a:lnTo>
                  <a:pt x="85" y="56"/>
                </a:lnTo>
                <a:lnTo>
                  <a:pt x="115" y="88"/>
                </a:lnTo>
                <a:lnTo>
                  <a:pt x="95" y="104"/>
                </a:lnTo>
                <a:lnTo>
                  <a:pt x="95" y="120"/>
                </a:lnTo>
                <a:lnTo>
                  <a:pt x="105" y="146"/>
                </a:lnTo>
                <a:lnTo>
                  <a:pt x="119" y="162"/>
                </a:lnTo>
                <a:lnTo>
                  <a:pt x="117" y="176"/>
                </a:lnTo>
                <a:lnTo>
                  <a:pt x="99" y="178"/>
                </a:lnTo>
                <a:lnTo>
                  <a:pt x="99" y="170"/>
                </a:lnTo>
                <a:lnTo>
                  <a:pt x="18" y="170"/>
                </a:lnTo>
                <a:lnTo>
                  <a:pt x="18" y="146"/>
                </a:lnTo>
                <a:lnTo>
                  <a:pt x="10" y="138"/>
                </a:lnTo>
                <a:lnTo>
                  <a:pt x="0" y="132"/>
                </a:lnTo>
                <a:lnTo>
                  <a:pt x="2" y="114"/>
                </a:lnTo>
                <a:lnTo>
                  <a:pt x="22" y="96"/>
                </a:lnTo>
                <a:lnTo>
                  <a:pt x="32" y="96"/>
                </a:lnTo>
                <a:lnTo>
                  <a:pt x="43" y="104"/>
                </a:lnTo>
                <a:lnTo>
                  <a:pt x="83" y="28"/>
                </a:lnTo>
                <a:lnTo>
                  <a:pt x="93" y="26"/>
                </a:lnTo>
                <a:lnTo>
                  <a:pt x="91" y="12"/>
                </a:lnTo>
                <a:lnTo>
                  <a:pt x="91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4" name="Freeform 104">
            <a:extLst>
              <a:ext uri="{FF2B5EF4-FFF2-40B4-BE49-F238E27FC236}">
                <a16:creationId xmlns:a16="http://schemas.microsoft.com/office/drawing/2014/main" id="{75E40164-0395-0F78-0271-03AB2F26C968}"/>
              </a:ext>
            </a:extLst>
          </p:cNvPr>
          <p:cNvSpPr>
            <a:spLocks/>
          </p:cNvSpPr>
          <p:nvPr/>
        </p:nvSpPr>
        <p:spPr bwMode="auto">
          <a:xfrm>
            <a:off x="5298018" y="4489451"/>
            <a:ext cx="368300" cy="289984"/>
          </a:xfrm>
          <a:custGeom>
            <a:avLst/>
            <a:gdLst>
              <a:gd name="T0" fmla="*/ 2147483647 w 187"/>
              <a:gd name="T1" fmla="*/ 2147483647 h 150"/>
              <a:gd name="T2" fmla="*/ 2147483647 w 187"/>
              <a:gd name="T3" fmla="*/ 2147483647 h 150"/>
              <a:gd name="T4" fmla="*/ 2147483647 w 187"/>
              <a:gd name="T5" fmla="*/ 2147483647 h 150"/>
              <a:gd name="T6" fmla="*/ 2147483647 w 187"/>
              <a:gd name="T7" fmla="*/ 2147483647 h 150"/>
              <a:gd name="T8" fmla="*/ 2147483647 w 187"/>
              <a:gd name="T9" fmla="*/ 2147483647 h 150"/>
              <a:gd name="T10" fmla="*/ 2147483647 w 187"/>
              <a:gd name="T11" fmla="*/ 2147483647 h 150"/>
              <a:gd name="T12" fmla="*/ 0 w 187"/>
              <a:gd name="T13" fmla="*/ 2147483647 h 150"/>
              <a:gd name="T14" fmla="*/ 2147483647 w 187"/>
              <a:gd name="T15" fmla="*/ 2147483647 h 150"/>
              <a:gd name="T16" fmla="*/ 2147483647 w 187"/>
              <a:gd name="T17" fmla="*/ 2147483647 h 150"/>
              <a:gd name="T18" fmla="*/ 2147483647 w 187"/>
              <a:gd name="T19" fmla="*/ 2147483647 h 150"/>
              <a:gd name="T20" fmla="*/ 2147483647 w 187"/>
              <a:gd name="T21" fmla="*/ 2147483647 h 150"/>
              <a:gd name="T22" fmla="*/ 2147483647 w 187"/>
              <a:gd name="T23" fmla="*/ 2147483647 h 150"/>
              <a:gd name="T24" fmla="*/ 2147483647 w 187"/>
              <a:gd name="T25" fmla="*/ 2147483647 h 150"/>
              <a:gd name="T26" fmla="*/ 2147483647 w 187"/>
              <a:gd name="T27" fmla="*/ 2147483647 h 150"/>
              <a:gd name="T28" fmla="*/ 2147483647 w 187"/>
              <a:gd name="T29" fmla="*/ 2147483647 h 150"/>
              <a:gd name="T30" fmla="*/ 2147483647 w 187"/>
              <a:gd name="T31" fmla="*/ 2147483647 h 150"/>
              <a:gd name="T32" fmla="*/ 2147483647 w 187"/>
              <a:gd name="T33" fmla="*/ 2147483647 h 150"/>
              <a:gd name="T34" fmla="*/ 2147483647 w 187"/>
              <a:gd name="T35" fmla="*/ 0 h 150"/>
              <a:gd name="T36" fmla="*/ 2147483647 w 187"/>
              <a:gd name="T37" fmla="*/ 2147483647 h 150"/>
              <a:gd name="T38" fmla="*/ 2147483647 w 187"/>
              <a:gd name="T39" fmla="*/ 2147483647 h 150"/>
              <a:gd name="T40" fmla="*/ 2147483647 w 187"/>
              <a:gd name="T41" fmla="*/ 2147483647 h 150"/>
              <a:gd name="T42" fmla="*/ 2147483647 w 187"/>
              <a:gd name="T43" fmla="*/ 2147483647 h 150"/>
              <a:gd name="T44" fmla="*/ 2147483647 w 187"/>
              <a:gd name="T45" fmla="*/ 2147483647 h 150"/>
              <a:gd name="T46" fmla="*/ 2147483647 w 187"/>
              <a:gd name="T47" fmla="*/ 2147483647 h 150"/>
              <a:gd name="T48" fmla="*/ 2147483647 w 187"/>
              <a:gd name="T49" fmla="*/ 2147483647 h 150"/>
              <a:gd name="T50" fmla="*/ 2147483647 w 187"/>
              <a:gd name="T51" fmla="*/ 2147483647 h 150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87"/>
              <a:gd name="T79" fmla="*/ 0 h 150"/>
              <a:gd name="T80" fmla="*/ 187 w 187"/>
              <a:gd name="T81" fmla="*/ 150 h 150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87" h="150">
                <a:moveTo>
                  <a:pt x="94" y="146"/>
                </a:moveTo>
                <a:lnTo>
                  <a:pt x="64" y="150"/>
                </a:lnTo>
                <a:lnTo>
                  <a:pt x="44" y="148"/>
                </a:lnTo>
                <a:lnTo>
                  <a:pt x="46" y="132"/>
                </a:lnTo>
                <a:lnTo>
                  <a:pt x="22" y="118"/>
                </a:lnTo>
                <a:lnTo>
                  <a:pt x="2" y="116"/>
                </a:lnTo>
                <a:lnTo>
                  <a:pt x="0" y="78"/>
                </a:lnTo>
                <a:lnTo>
                  <a:pt x="22" y="52"/>
                </a:lnTo>
                <a:lnTo>
                  <a:pt x="10" y="42"/>
                </a:lnTo>
                <a:lnTo>
                  <a:pt x="12" y="34"/>
                </a:lnTo>
                <a:lnTo>
                  <a:pt x="24" y="2"/>
                </a:lnTo>
                <a:lnTo>
                  <a:pt x="54" y="2"/>
                </a:lnTo>
                <a:lnTo>
                  <a:pt x="70" y="14"/>
                </a:lnTo>
                <a:lnTo>
                  <a:pt x="80" y="8"/>
                </a:lnTo>
                <a:lnTo>
                  <a:pt x="108" y="18"/>
                </a:lnTo>
                <a:lnTo>
                  <a:pt x="114" y="10"/>
                </a:lnTo>
                <a:lnTo>
                  <a:pt x="149" y="14"/>
                </a:lnTo>
                <a:lnTo>
                  <a:pt x="171" y="0"/>
                </a:lnTo>
                <a:lnTo>
                  <a:pt x="185" y="14"/>
                </a:lnTo>
                <a:lnTo>
                  <a:pt x="187" y="40"/>
                </a:lnTo>
                <a:lnTo>
                  <a:pt x="177" y="42"/>
                </a:lnTo>
                <a:lnTo>
                  <a:pt x="137" y="118"/>
                </a:lnTo>
                <a:lnTo>
                  <a:pt x="126" y="110"/>
                </a:lnTo>
                <a:lnTo>
                  <a:pt x="116" y="110"/>
                </a:lnTo>
                <a:lnTo>
                  <a:pt x="96" y="128"/>
                </a:lnTo>
                <a:lnTo>
                  <a:pt x="94" y="14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5" name="Freeform 105">
            <a:extLst>
              <a:ext uri="{FF2B5EF4-FFF2-40B4-BE49-F238E27FC236}">
                <a16:creationId xmlns:a16="http://schemas.microsoft.com/office/drawing/2014/main" id="{FE8E4770-F84E-1C86-DB3C-B972CB106C1C}"/>
              </a:ext>
            </a:extLst>
          </p:cNvPr>
          <p:cNvSpPr>
            <a:spLocks/>
          </p:cNvSpPr>
          <p:nvPr/>
        </p:nvSpPr>
        <p:spPr bwMode="auto">
          <a:xfrm>
            <a:off x="5238751" y="4529668"/>
            <a:ext cx="107951" cy="192617"/>
          </a:xfrm>
          <a:custGeom>
            <a:avLst/>
            <a:gdLst>
              <a:gd name="T0" fmla="*/ 2147483647 w 54"/>
              <a:gd name="T1" fmla="*/ 2147483647 h 96"/>
              <a:gd name="T2" fmla="*/ 2147483647 w 54"/>
              <a:gd name="T3" fmla="*/ 0 h 96"/>
              <a:gd name="T4" fmla="*/ 2147483647 w 54"/>
              <a:gd name="T5" fmla="*/ 2147483647 h 96"/>
              <a:gd name="T6" fmla="*/ 2147483647 w 54"/>
              <a:gd name="T7" fmla="*/ 2147483647 h 96"/>
              <a:gd name="T8" fmla="*/ 2147483647 w 54"/>
              <a:gd name="T9" fmla="*/ 2147483647 h 96"/>
              <a:gd name="T10" fmla="*/ 2147483647 w 54"/>
              <a:gd name="T11" fmla="*/ 2147483647 h 96"/>
              <a:gd name="T12" fmla="*/ 2147483647 w 54"/>
              <a:gd name="T13" fmla="*/ 2147483647 h 96"/>
              <a:gd name="T14" fmla="*/ 2147483647 w 54"/>
              <a:gd name="T15" fmla="*/ 2147483647 h 96"/>
              <a:gd name="T16" fmla="*/ 2147483647 w 54"/>
              <a:gd name="T17" fmla="*/ 2147483647 h 96"/>
              <a:gd name="T18" fmla="*/ 0 w 54"/>
              <a:gd name="T19" fmla="*/ 2147483647 h 96"/>
              <a:gd name="T20" fmla="*/ 2147483647 w 54"/>
              <a:gd name="T21" fmla="*/ 2147483647 h 96"/>
              <a:gd name="T22" fmla="*/ 2147483647 w 54"/>
              <a:gd name="T23" fmla="*/ 2147483647 h 96"/>
              <a:gd name="T24" fmla="*/ 2147483647 w 54"/>
              <a:gd name="T25" fmla="*/ 2147483647 h 9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54"/>
              <a:gd name="T40" fmla="*/ 0 h 96"/>
              <a:gd name="T41" fmla="*/ 54 w 54"/>
              <a:gd name="T42" fmla="*/ 96 h 9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54" h="96">
                <a:moveTo>
                  <a:pt x="20" y="2"/>
                </a:moveTo>
                <a:lnTo>
                  <a:pt x="34" y="0"/>
                </a:lnTo>
                <a:lnTo>
                  <a:pt x="44" y="10"/>
                </a:lnTo>
                <a:lnTo>
                  <a:pt x="42" y="18"/>
                </a:lnTo>
                <a:lnTo>
                  <a:pt x="54" y="28"/>
                </a:lnTo>
                <a:lnTo>
                  <a:pt x="32" y="54"/>
                </a:lnTo>
                <a:lnTo>
                  <a:pt x="34" y="92"/>
                </a:lnTo>
                <a:lnTo>
                  <a:pt x="12" y="96"/>
                </a:lnTo>
                <a:lnTo>
                  <a:pt x="12" y="48"/>
                </a:lnTo>
                <a:lnTo>
                  <a:pt x="0" y="32"/>
                </a:lnTo>
                <a:lnTo>
                  <a:pt x="4" y="20"/>
                </a:lnTo>
                <a:lnTo>
                  <a:pt x="20" y="16"/>
                </a:lnTo>
                <a:lnTo>
                  <a:pt x="20" y="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6" name="Freeform 106">
            <a:extLst>
              <a:ext uri="{FF2B5EF4-FFF2-40B4-BE49-F238E27FC236}">
                <a16:creationId xmlns:a16="http://schemas.microsoft.com/office/drawing/2014/main" id="{4CF1DBF8-137D-B60C-134D-2A73289B50F8}"/>
              </a:ext>
            </a:extLst>
          </p:cNvPr>
          <p:cNvSpPr>
            <a:spLocks/>
          </p:cNvSpPr>
          <p:nvPr/>
        </p:nvSpPr>
        <p:spPr bwMode="auto">
          <a:xfrm>
            <a:off x="5200651" y="4578351"/>
            <a:ext cx="59267" cy="152400"/>
          </a:xfrm>
          <a:custGeom>
            <a:avLst/>
            <a:gdLst>
              <a:gd name="T0" fmla="*/ 2147483647 w 30"/>
              <a:gd name="T1" fmla="*/ 2147483647 h 80"/>
              <a:gd name="T2" fmla="*/ 2147483647 w 30"/>
              <a:gd name="T3" fmla="*/ 2147483647 h 80"/>
              <a:gd name="T4" fmla="*/ 2147483647 w 30"/>
              <a:gd name="T5" fmla="*/ 2147483647 h 80"/>
              <a:gd name="T6" fmla="*/ 2147483647 w 30"/>
              <a:gd name="T7" fmla="*/ 2147483647 h 80"/>
              <a:gd name="T8" fmla="*/ 2147483647 w 30"/>
              <a:gd name="T9" fmla="*/ 2147483647 h 80"/>
              <a:gd name="T10" fmla="*/ 0 w 30"/>
              <a:gd name="T11" fmla="*/ 0 h 80"/>
              <a:gd name="T12" fmla="*/ 2147483647 w 30"/>
              <a:gd name="T13" fmla="*/ 0 h 80"/>
              <a:gd name="T14" fmla="*/ 2147483647 w 30"/>
              <a:gd name="T15" fmla="*/ 2147483647 h 80"/>
              <a:gd name="T16" fmla="*/ 2147483647 w 30"/>
              <a:gd name="T17" fmla="*/ 2147483647 h 80"/>
              <a:gd name="T18" fmla="*/ 2147483647 w 30"/>
              <a:gd name="T19" fmla="*/ 2147483647 h 8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0"/>
              <a:gd name="T31" fmla="*/ 0 h 80"/>
              <a:gd name="T32" fmla="*/ 30 w 30"/>
              <a:gd name="T33" fmla="*/ 80 h 8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0" h="80">
                <a:moveTo>
                  <a:pt x="30" y="76"/>
                </a:moveTo>
                <a:lnTo>
                  <a:pt x="16" y="80"/>
                </a:lnTo>
                <a:lnTo>
                  <a:pt x="12" y="48"/>
                </a:lnTo>
                <a:lnTo>
                  <a:pt x="8" y="34"/>
                </a:lnTo>
                <a:lnTo>
                  <a:pt x="12" y="18"/>
                </a:lnTo>
                <a:lnTo>
                  <a:pt x="0" y="0"/>
                </a:lnTo>
                <a:lnTo>
                  <a:pt x="22" y="0"/>
                </a:lnTo>
                <a:lnTo>
                  <a:pt x="18" y="12"/>
                </a:lnTo>
                <a:lnTo>
                  <a:pt x="30" y="28"/>
                </a:lnTo>
                <a:lnTo>
                  <a:pt x="30" y="7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7" name="Freeform 107">
            <a:extLst>
              <a:ext uri="{FF2B5EF4-FFF2-40B4-BE49-F238E27FC236}">
                <a16:creationId xmlns:a16="http://schemas.microsoft.com/office/drawing/2014/main" id="{34A88A2D-313E-ECBD-485E-AA51EA4CF703}"/>
              </a:ext>
            </a:extLst>
          </p:cNvPr>
          <p:cNvSpPr>
            <a:spLocks/>
          </p:cNvSpPr>
          <p:nvPr/>
        </p:nvSpPr>
        <p:spPr bwMode="auto">
          <a:xfrm>
            <a:off x="4834468" y="4131733"/>
            <a:ext cx="512233" cy="465667"/>
          </a:xfrm>
          <a:custGeom>
            <a:avLst/>
            <a:gdLst>
              <a:gd name="T0" fmla="*/ 2147483647 w 258"/>
              <a:gd name="T1" fmla="*/ 0 h 236"/>
              <a:gd name="T2" fmla="*/ 2147483647 w 258"/>
              <a:gd name="T3" fmla="*/ 2147483647 h 236"/>
              <a:gd name="T4" fmla="*/ 2147483647 w 258"/>
              <a:gd name="T5" fmla="*/ 2147483647 h 236"/>
              <a:gd name="T6" fmla="*/ 2147483647 w 258"/>
              <a:gd name="T7" fmla="*/ 2147483647 h 236"/>
              <a:gd name="T8" fmla="*/ 2147483647 w 258"/>
              <a:gd name="T9" fmla="*/ 2147483647 h 236"/>
              <a:gd name="T10" fmla="*/ 2147483647 w 258"/>
              <a:gd name="T11" fmla="*/ 2147483647 h 236"/>
              <a:gd name="T12" fmla="*/ 2147483647 w 258"/>
              <a:gd name="T13" fmla="*/ 2147483647 h 236"/>
              <a:gd name="T14" fmla="*/ 2147483647 w 258"/>
              <a:gd name="T15" fmla="*/ 2147483647 h 236"/>
              <a:gd name="T16" fmla="*/ 2147483647 w 258"/>
              <a:gd name="T17" fmla="*/ 2147483647 h 236"/>
              <a:gd name="T18" fmla="*/ 2147483647 w 258"/>
              <a:gd name="T19" fmla="*/ 2147483647 h 236"/>
              <a:gd name="T20" fmla="*/ 2147483647 w 258"/>
              <a:gd name="T21" fmla="*/ 2147483647 h 236"/>
              <a:gd name="T22" fmla="*/ 2147483647 w 258"/>
              <a:gd name="T23" fmla="*/ 2147483647 h 236"/>
              <a:gd name="T24" fmla="*/ 2147483647 w 258"/>
              <a:gd name="T25" fmla="*/ 2147483647 h 236"/>
              <a:gd name="T26" fmla="*/ 2147483647 w 258"/>
              <a:gd name="T27" fmla="*/ 2147483647 h 236"/>
              <a:gd name="T28" fmla="*/ 2147483647 w 258"/>
              <a:gd name="T29" fmla="*/ 2147483647 h 236"/>
              <a:gd name="T30" fmla="*/ 2147483647 w 258"/>
              <a:gd name="T31" fmla="*/ 2147483647 h 236"/>
              <a:gd name="T32" fmla="*/ 2147483647 w 258"/>
              <a:gd name="T33" fmla="*/ 2147483647 h 236"/>
              <a:gd name="T34" fmla="*/ 2147483647 w 258"/>
              <a:gd name="T35" fmla="*/ 2147483647 h 236"/>
              <a:gd name="T36" fmla="*/ 2147483647 w 258"/>
              <a:gd name="T37" fmla="*/ 2147483647 h 236"/>
              <a:gd name="T38" fmla="*/ 2147483647 w 258"/>
              <a:gd name="T39" fmla="*/ 2147483647 h 236"/>
              <a:gd name="T40" fmla="*/ 2147483647 w 258"/>
              <a:gd name="T41" fmla="*/ 2147483647 h 236"/>
              <a:gd name="T42" fmla="*/ 2147483647 w 258"/>
              <a:gd name="T43" fmla="*/ 2147483647 h 236"/>
              <a:gd name="T44" fmla="*/ 2147483647 w 258"/>
              <a:gd name="T45" fmla="*/ 2147483647 h 236"/>
              <a:gd name="T46" fmla="*/ 2147483647 w 258"/>
              <a:gd name="T47" fmla="*/ 2147483647 h 236"/>
              <a:gd name="T48" fmla="*/ 2147483647 w 258"/>
              <a:gd name="T49" fmla="*/ 2147483647 h 236"/>
              <a:gd name="T50" fmla="*/ 2147483647 w 258"/>
              <a:gd name="T51" fmla="*/ 2147483647 h 236"/>
              <a:gd name="T52" fmla="*/ 2147483647 w 258"/>
              <a:gd name="T53" fmla="*/ 2147483647 h 236"/>
              <a:gd name="T54" fmla="*/ 0 w 258"/>
              <a:gd name="T55" fmla="*/ 2147483647 h 236"/>
              <a:gd name="T56" fmla="*/ 2147483647 w 258"/>
              <a:gd name="T57" fmla="*/ 2147483647 h 236"/>
              <a:gd name="T58" fmla="*/ 2147483647 w 258"/>
              <a:gd name="T59" fmla="*/ 2147483647 h 236"/>
              <a:gd name="T60" fmla="*/ 2147483647 w 258"/>
              <a:gd name="T61" fmla="*/ 2147483647 h 236"/>
              <a:gd name="T62" fmla="*/ 2147483647 w 258"/>
              <a:gd name="T63" fmla="*/ 2147483647 h 236"/>
              <a:gd name="T64" fmla="*/ 2147483647 w 258"/>
              <a:gd name="T65" fmla="*/ 0 h 236"/>
              <a:gd name="T66" fmla="*/ 2147483647 w 258"/>
              <a:gd name="T67" fmla="*/ 0 h 2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58"/>
              <a:gd name="T103" fmla="*/ 0 h 236"/>
              <a:gd name="T104" fmla="*/ 258 w 258"/>
              <a:gd name="T105" fmla="*/ 236 h 2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58" h="236">
                <a:moveTo>
                  <a:pt x="120" y="0"/>
                </a:moveTo>
                <a:lnTo>
                  <a:pt x="210" y="60"/>
                </a:lnTo>
                <a:lnTo>
                  <a:pt x="224" y="74"/>
                </a:lnTo>
                <a:lnTo>
                  <a:pt x="244" y="82"/>
                </a:lnTo>
                <a:lnTo>
                  <a:pt x="242" y="98"/>
                </a:lnTo>
                <a:lnTo>
                  <a:pt x="258" y="96"/>
                </a:lnTo>
                <a:lnTo>
                  <a:pt x="258" y="138"/>
                </a:lnTo>
                <a:lnTo>
                  <a:pt x="246" y="156"/>
                </a:lnTo>
                <a:lnTo>
                  <a:pt x="212" y="162"/>
                </a:lnTo>
                <a:lnTo>
                  <a:pt x="198" y="162"/>
                </a:lnTo>
                <a:lnTo>
                  <a:pt x="178" y="162"/>
                </a:lnTo>
                <a:lnTo>
                  <a:pt x="154" y="172"/>
                </a:lnTo>
                <a:lnTo>
                  <a:pt x="136" y="190"/>
                </a:lnTo>
                <a:lnTo>
                  <a:pt x="128" y="186"/>
                </a:lnTo>
                <a:lnTo>
                  <a:pt x="118" y="210"/>
                </a:lnTo>
                <a:lnTo>
                  <a:pt x="108" y="212"/>
                </a:lnTo>
                <a:lnTo>
                  <a:pt x="104" y="234"/>
                </a:lnTo>
                <a:lnTo>
                  <a:pt x="64" y="236"/>
                </a:lnTo>
                <a:lnTo>
                  <a:pt x="56" y="218"/>
                </a:lnTo>
                <a:lnTo>
                  <a:pt x="50" y="204"/>
                </a:lnTo>
                <a:lnTo>
                  <a:pt x="24" y="210"/>
                </a:lnTo>
                <a:lnTo>
                  <a:pt x="12" y="206"/>
                </a:lnTo>
                <a:lnTo>
                  <a:pt x="12" y="204"/>
                </a:lnTo>
                <a:lnTo>
                  <a:pt x="12" y="200"/>
                </a:lnTo>
                <a:lnTo>
                  <a:pt x="10" y="192"/>
                </a:lnTo>
                <a:lnTo>
                  <a:pt x="4" y="184"/>
                </a:lnTo>
                <a:lnTo>
                  <a:pt x="2" y="172"/>
                </a:lnTo>
                <a:lnTo>
                  <a:pt x="0" y="166"/>
                </a:lnTo>
                <a:lnTo>
                  <a:pt x="6" y="152"/>
                </a:lnTo>
                <a:lnTo>
                  <a:pt x="106" y="154"/>
                </a:lnTo>
                <a:lnTo>
                  <a:pt x="108" y="144"/>
                </a:lnTo>
                <a:lnTo>
                  <a:pt x="102" y="136"/>
                </a:lnTo>
                <a:lnTo>
                  <a:pt x="90" y="0"/>
                </a:lnTo>
                <a:lnTo>
                  <a:pt x="12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8" name="Freeform 108">
            <a:extLst>
              <a:ext uri="{FF2B5EF4-FFF2-40B4-BE49-F238E27FC236}">
                <a16:creationId xmlns:a16="http://schemas.microsoft.com/office/drawing/2014/main" id="{AC875202-437C-01AB-4AF1-2377E6C90D70}"/>
              </a:ext>
            </a:extLst>
          </p:cNvPr>
          <p:cNvSpPr>
            <a:spLocks/>
          </p:cNvSpPr>
          <p:nvPr/>
        </p:nvSpPr>
        <p:spPr bwMode="auto">
          <a:xfrm>
            <a:off x="5037667" y="4451351"/>
            <a:ext cx="241300" cy="175684"/>
          </a:xfrm>
          <a:custGeom>
            <a:avLst/>
            <a:gdLst>
              <a:gd name="T0" fmla="*/ 2147483647 w 120"/>
              <a:gd name="T1" fmla="*/ 2147483647 h 86"/>
              <a:gd name="T2" fmla="*/ 2147483647 w 120"/>
              <a:gd name="T3" fmla="*/ 2147483647 h 86"/>
              <a:gd name="T4" fmla="*/ 2147483647 w 120"/>
              <a:gd name="T5" fmla="*/ 2147483647 h 86"/>
              <a:gd name="T6" fmla="*/ 2147483647 w 120"/>
              <a:gd name="T7" fmla="*/ 2147483647 h 86"/>
              <a:gd name="T8" fmla="*/ 0 w 120"/>
              <a:gd name="T9" fmla="*/ 2147483647 h 86"/>
              <a:gd name="T10" fmla="*/ 2147483647 w 120"/>
              <a:gd name="T11" fmla="*/ 2147483647 h 86"/>
              <a:gd name="T12" fmla="*/ 2147483647 w 120"/>
              <a:gd name="T13" fmla="*/ 2147483647 h 86"/>
              <a:gd name="T14" fmla="*/ 2147483647 w 120"/>
              <a:gd name="T15" fmla="*/ 2147483647 h 86"/>
              <a:gd name="T16" fmla="*/ 2147483647 w 120"/>
              <a:gd name="T17" fmla="*/ 2147483647 h 86"/>
              <a:gd name="T18" fmla="*/ 2147483647 w 120"/>
              <a:gd name="T19" fmla="*/ 2147483647 h 86"/>
              <a:gd name="T20" fmla="*/ 2147483647 w 120"/>
              <a:gd name="T21" fmla="*/ 0 h 86"/>
              <a:gd name="T22" fmla="*/ 2147483647 w 120"/>
              <a:gd name="T23" fmla="*/ 0 h 86"/>
              <a:gd name="T24" fmla="*/ 2147483647 w 120"/>
              <a:gd name="T25" fmla="*/ 2147483647 h 86"/>
              <a:gd name="T26" fmla="*/ 2147483647 w 120"/>
              <a:gd name="T27" fmla="*/ 2147483647 h 86"/>
              <a:gd name="T28" fmla="*/ 2147483647 w 120"/>
              <a:gd name="T29" fmla="*/ 2147483647 h 86"/>
              <a:gd name="T30" fmla="*/ 2147483647 w 120"/>
              <a:gd name="T31" fmla="*/ 2147483647 h 86"/>
              <a:gd name="T32" fmla="*/ 2147483647 w 120"/>
              <a:gd name="T33" fmla="*/ 2147483647 h 86"/>
              <a:gd name="T34" fmla="*/ 2147483647 w 120"/>
              <a:gd name="T35" fmla="*/ 2147483647 h 86"/>
              <a:gd name="T36" fmla="*/ 2147483647 w 120"/>
              <a:gd name="T37" fmla="*/ 2147483647 h 86"/>
              <a:gd name="T38" fmla="*/ 2147483647 w 120"/>
              <a:gd name="T39" fmla="*/ 2147483647 h 86"/>
              <a:gd name="T40" fmla="*/ 2147483647 w 120"/>
              <a:gd name="T41" fmla="*/ 2147483647 h 8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20"/>
              <a:gd name="T64" fmla="*/ 0 h 86"/>
              <a:gd name="T65" fmla="*/ 120 w 120"/>
              <a:gd name="T66" fmla="*/ 86 h 8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20" h="86">
                <a:moveTo>
                  <a:pt x="44" y="62"/>
                </a:moveTo>
                <a:lnTo>
                  <a:pt x="44" y="84"/>
                </a:lnTo>
                <a:lnTo>
                  <a:pt x="30" y="78"/>
                </a:lnTo>
                <a:lnTo>
                  <a:pt x="20" y="86"/>
                </a:lnTo>
                <a:lnTo>
                  <a:pt x="0" y="72"/>
                </a:lnTo>
                <a:lnTo>
                  <a:pt x="4" y="50"/>
                </a:lnTo>
                <a:lnTo>
                  <a:pt x="14" y="48"/>
                </a:lnTo>
                <a:lnTo>
                  <a:pt x="24" y="24"/>
                </a:lnTo>
                <a:lnTo>
                  <a:pt x="32" y="28"/>
                </a:lnTo>
                <a:lnTo>
                  <a:pt x="50" y="10"/>
                </a:lnTo>
                <a:lnTo>
                  <a:pt x="74" y="0"/>
                </a:lnTo>
                <a:lnTo>
                  <a:pt x="94" y="0"/>
                </a:lnTo>
                <a:lnTo>
                  <a:pt x="90" y="8"/>
                </a:lnTo>
                <a:lnTo>
                  <a:pt x="92" y="14"/>
                </a:lnTo>
                <a:lnTo>
                  <a:pt x="104" y="28"/>
                </a:lnTo>
                <a:lnTo>
                  <a:pt x="102" y="34"/>
                </a:lnTo>
                <a:lnTo>
                  <a:pt x="120" y="44"/>
                </a:lnTo>
                <a:lnTo>
                  <a:pt x="120" y="58"/>
                </a:lnTo>
                <a:lnTo>
                  <a:pt x="104" y="62"/>
                </a:lnTo>
                <a:lnTo>
                  <a:pt x="82" y="62"/>
                </a:lnTo>
                <a:lnTo>
                  <a:pt x="44" y="6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9" name="Freeform 109">
            <a:extLst>
              <a:ext uri="{FF2B5EF4-FFF2-40B4-BE49-F238E27FC236}">
                <a16:creationId xmlns:a16="http://schemas.microsoft.com/office/drawing/2014/main" id="{4916A338-66AD-7CBA-34D1-B751747849DE}"/>
              </a:ext>
            </a:extLst>
          </p:cNvPr>
          <p:cNvSpPr>
            <a:spLocks/>
          </p:cNvSpPr>
          <p:nvPr/>
        </p:nvSpPr>
        <p:spPr bwMode="auto">
          <a:xfrm>
            <a:off x="5115985" y="4578352"/>
            <a:ext cx="114300" cy="192617"/>
          </a:xfrm>
          <a:custGeom>
            <a:avLst/>
            <a:gdLst>
              <a:gd name="T0" fmla="*/ 2147483647 w 60"/>
              <a:gd name="T1" fmla="*/ 2147483647 h 100"/>
              <a:gd name="T2" fmla="*/ 2147483647 w 60"/>
              <a:gd name="T3" fmla="*/ 2147483647 h 100"/>
              <a:gd name="T4" fmla="*/ 2147483647 w 60"/>
              <a:gd name="T5" fmla="*/ 2147483647 h 100"/>
              <a:gd name="T6" fmla="*/ 2147483647 w 60"/>
              <a:gd name="T7" fmla="*/ 2147483647 h 100"/>
              <a:gd name="T8" fmla="*/ 2147483647 w 60"/>
              <a:gd name="T9" fmla="*/ 2147483647 h 100"/>
              <a:gd name="T10" fmla="*/ 0 w 60"/>
              <a:gd name="T11" fmla="*/ 2147483647 h 100"/>
              <a:gd name="T12" fmla="*/ 2147483647 w 60"/>
              <a:gd name="T13" fmla="*/ 2147483647 h 100"/>
              <a:gd name="T14" fmla="*/ 2147483647 w 60"/>
              <a:gd name="T15" fmla="*/ 2147483647 h 100"/>
              <a:gd name="T16" fmla="*/ 2147483647 w 60"/>
              <a:gd name="T17" fmla="*/ 0 h 100"/>
              <a:gd name="T18" fmla="*/ 2147483647 w 60"/>
              <a:gd name="T19" fmla="*/ 0 h 100"/>
              <a:gd name="T20" fmla="*/ 2147483647 w 60"/>
              <a:gd name="T21" fmla="*/ 2147483647 h 100"/>
              <a:gd name="T22" fmla="*/ 2147483647 w 60"/>
              <a:gd name="T23" fmla="*/ 2147483647 h 100"/>
              <a:gd name="T24" fmla="*/ 2147483647 w 60"/>
              <a:gd name="T25" fmla="*/ 2147483647 h 100"/>
              <a:gd name="T26" fmla="*/ 2147483647 w 60"/>
              <a:gd name="T27" fmla="*/ 2147483647 h 100"/>
              <a:gd name="T28" fmla="*/ 2147483647 w 60"/>
              <a:gd name="T29" fmla="*/ 2147483647 h 10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60"/>
              <a:gd name="T46" fmla="*/ 0 h 100"/>
              <a:gd name="T47" fmla="*/ 60 w 60"/>
              <a:gd name="T48" fmla="*/ 100 h 10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60" h="100">
                <a:moveTo>
                  <a:pt x="60" y="80"/>
                </a:moveTo>
                <a:lnTo>
                  <a:pt x="48" y="86"/>
                </a:lnTo>
                <a:lnTo>
                  <a:pt x="36" y="96"/>
                </a:lnTo>
                <a:lnTo>
                  <a:pt x="20" y="100"/>
                </a:lnTo>
                <a:lnTo>
                  <a:pt x="8" y="94"/>
                </a:lnTo>
                <a:lnTo>
                  <a:pt x="0" y="72"/>
                </a:lnTo>
                <a:lnTo>
                  <a:pt x="10" y="50"/>
                </a:lnTo>
                <a:lnTo>
                  <a:pt x="6" y="22"/>
                </a:lnTo>
                <a:lnTo>
                  <a:pt x="6" y="0"/>
                </a:lnTo>
                <a:lnTo>
                  <a:pt x="44" y="0"/>
                </a:lnTo>
                <a:lnTo>
                  <a:pt x="56" y="18"/>
                </a:lnTo>
                <a:lnTo>
                  <a:pt x="52" y="30"/>
                </a:lnTo>
                <a:lnTo>
                  <a:pt x="54" y="40"/>
                </a:lnTo>
                <a:lnTo>
                  <a:pt x="56" y="48"/>
                </a:lnTo>
                <a:lnTo>
                  <a:pt x="60" y="8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30" name="Freeform 110">
            <a:extLst>
              <a:ext uri="{FF2B5EF4-FFF2-40B4-BE49-F238E27FC236}">
                <a16:creationId xmlns:a16="http://schemas.microsoft.com/office/drawing/2014/main" id="{C1AC374B-D715-FA2F-5D87-325234C7815F}"/>
              </a:ext>
            </a:extLst>
          </p:cNvPr>
          <p:cNvSpPr>
            <a:spLocks/>
          </p:cNvSpPr>
          <p:nvPr/>
        </p:nvSpPr>
        <p:spPr bwMode="auto">
          <a:xfrm>
            <a:off x="4950884" y="4597401"/>
            <a:ext cx="186267" cy="182033"/>
          </a:xfrm>
          <a:custGeom>
            <a:avLst/>
            <a:gdLst>
              <a:gd name="T0" fmla="*/ 2147483647 w 94"/>
              <a:gd name="T1" fmla="*/ 2147483647 h 98"/>
              <a:gd name="T2" fmla="*/ 2147483647 w 94"/>
              <a:gd name="T3" fmla="*/ 2147483647 h 98"/>
              <a:gd name="T4" fmla="*/ 2147483647 w 94"/>
              <a:gd name="T5" fmla="*/ 2147483647 h 98"/>
              <a:gd name="T6" fmla="*/ 2147483647 w 94"/>
              <a:gd name="T7" fmla="*/ 2147483647 h 98"/>
              <a:gd name="T8" fmla="*/ 2147483647 w 94"/>
              <a:gd name="T9" fmla="*/ 2147483647 h 98"/>
              <a:gd name="T10" fmla="*/ 2147483647 w 94"/>
              <a:gd name="T11" fmla="*/ 2147483647 h 98"/>
              <a:gd name="T12" fmla="*/ 2147483647 w 94"/>
              <a:gd name="T13" fmla="*/ 2147483647 h 98"/>
              <a:gd name="T14" fmla="*/ 0 w 94"/>
              <a:gd name="T15" fmla="*/ 2147483647 h 98"/>
              <a:gd name="T16" fmla="*/ 0 w 94"/>
              <a:gd name="T17" fmla="*/ 2147483647 h 98"/>
              <a:gd name="T18" fmla="*/ 0 w 94"/>
              <a:gd name="T19" fmla="*/ 2147483647 h 98"/>
              <a:gd name="T20" fmla="*/ 2147483647 w 94"/>
              <a:gd name="T21" fmla="*/ 2147483647 h 98"/>
              <a:gd name="T22" fmla="*/ 2147483647 w 94"/>
              <a:gd name="T23" fmla="*/ 2147483647 h 98"/>
              <a:gd name="T24" fmla="*/ 2147483647 w 94"/>
              <a:gd name="T25" fmla="*/ 2147483647 h 98"/>
              <a:gd name="T26" fmla="*/ 2147483647 w 94"/>
              <a:gd name="T27" fmla="*/ 2147483647 h 98"/>
              <a:gd name="T28" fmla="*/ 2147483647 w 94"/>
              <a:gd name="T29" fmla="*/ 2147483647 h 98"/>
              <a:gd name="T30" fmla="*/ 2147483647 w 94"/>
              <a:gd name="T31" fmla="*/ 2147483647 h 98"/>
              <a:gd name="T32" fmla="*/ 2147483647 w 94"/>
              <a:gd name="T33" fmla="*/ 0 h 98"/>
              <a:gd name="T34" fmla="*/ 2147483647 w 94"/>
              <a:gd name="T35" fmla="*/ 2147483647 h 98"/>
              <a:gd name="T36" fmla="*/ 2147483647 w 94"/>
              <a:gd name="T37" fmla="*/ 2147483647 h 98"/>
              <a:gd name="T38" fmla="*/ 2147483647 w 94"/>
              <a:gd name="T39" fmla="*/ 2147483647 h 98"/>
              <a:gd name="T40" fmla="*/ 2147483647 w 94"/>
              <a:gd name="T41" fmla="*/ 2147483647 h 98"/>
              <a:gd name="T42" fmla="*/ 2147483647 w 94"/>
              <a:gd name="T43" fmla="*/ 2147483647 h 98"/>
              <a:gd name="T44" fmla="*/ 2147483647 w 94"/>
              <a:gd name="T45" fmla="*/ 2147483647 h 9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94"/>
              <a:gd name="T70" fmla="*/ 0 h 98"/>
              <a:gd name="T71" fmla="*/ 94 w 94"/>
              <a:gd name="T72" fmla="*/ 98 h 98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94" h="98">
                <a:moveTo>
                  <a:pt x="92" y="84"/>
                </a:moveTo>
                <a:lnTo>
                  <a:pt x="50" y="84"/>
                </a:lnTo>
                <a:lnTo>
                  <a:pt x="24" y="94"/>
                </a:lnTo>
                <a:lnTo>
                  <a:pt x="12" y="98"/>
                </a:lnTo>
                <a:lnTo>
                  <a:pt x="16" y="78"/>
                </a:lnTo>
                <a:lnTo>
                  <a:pt x="14" y="72"/>
                </a:lnTo>
                <a:lnTo>
                  <a:pt x="8" y="68"/>
                </a:lnTo>
                <a:lnTo>
                  <a:pt x="0" y="66"/>
                </a:lnTo>
                <a:lnTo>
                  <a:pt x="0" y="56"/>
                </a:lnTo>
                <a:lnTo>
                  <a:pt x="0" y="48"/>
                </a:lnTo>
                <a:lnTo>
                  <a:pt x="6" y="44"/>
                </a:lnTo>
                <a:lnTo>
                  <a:pt x="4" y="34"/>
                </a:lnTo>
                <a:lnTo>
                  <a:pt x="10" y="32"/>
                </a:lnTo>
                <a:lnTo>
                  <a:pt x="8" y="18"/>
                </a:lnTo>
                <a:lnTo>
                  <a:pt x="4" y="10"/>
                </a:lnTo>
                <a:lnTo>
                  <a:pt x="6" y="2"/>
                </a:lnTo>
                <a:lnTo>
                  <a:pt x="46" y="0"/>
                </a:lnTo>
                <a:lnTo>
                  <a:pt x="66" y="14"/>
                </a:lnTo>
                <a:lnTo>
                  <a:pt x="76" y="6"/>
                </a:lnTo>
                <a:lnTo>
                  <a:pt x="90" y="12"/>
                </a:lnTo>
                <a:lnTo>
                  <a:pt x="94" y="40"/>
                </a:lnTo>
                <a:lnTo>
                  <a:pt x="84" y="62"/>
                </a:lnTo>
                <a:lnTo>
                  <a:pt x="92" y="8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31" name="Freeform 111">
            <a:extLst>
              <a:ext uri="{FF2B5EF4-FFF2-40B4-BE49-F238E27FC236}">
                <a16:creationId xmlns:a16="http://schemas.microsoft.com/office/drawing/2014/main" id="{556CFB4B-69CC-E705-287F-18B22BBF4757}"/>
              </a:ext>
            </a:extLst>
          </p:cNvPr>
          <p:cNvSpPr>
            <a:spLocks/>
          </p:cNvSpPr>
          <p:nvPr/>
        </p:nvSpPr>
        <p:spPr bwMode="auto">
          <a:xfrm>
            <a:off x="5511801" y="4847167"/>
            <a:ext cx="57151" cy="48684"/>
          </a:xfrm>
          <a:custGeom>
            <a:avLst/>
            <a:gdLst>
              <a:gd name="T0" fmla="*/ 2147483647 w 29"/>
              <a:gd name="T1" fmla="*/ 0 h 24"/>
              <a:gd name="T2" fmla="*/ 2147483647 w 29"/>
              <a:gd name="T3" fmla="*/ 0 h 24"/>
              <a:gd name="T4" fmla="*/ 2147483647 w 29"/>
              <a:gd name="T5" fmla="*/ 2147483647 h 24"/>
              <a:gd name="T6" fmla="*/ 2147483647 w 29"/>
              <a:gd name="T7" fmla="*/ 2147483647 h 24"/>
              <a:gd name="T8" fmla="*/ 0 w 29"/>
              <a:gd name="T9" fmla="*/ 2147483647 h 24"/>
              <a:gd name="T10" fmla="*/ 2147483647 w 29"/>
              <a:gd name="T11" fmla="*/ 0 h 2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"/>
              <a:gd name="T19" fmla="*/ 0 h 24"/>
              <a:gd name="T20" fmla="*/ 29 w 29"/>
              <a:gd name="T21" fmla="*/ 24 h 2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" h="24">
                <a:moveTo>
                  <a:pt x="4" y="0"/>
                </a:moveTo>
                <a:lnTo>
                  <a:pt x="29" y="0"/>
                </a:lnTo>
                <a:lnTo>
                  <a:pt x="26" y="22"/>
                </a:lnTo>
                <a:lnTo>
                  <a:pt x="2" y="24"/>
                </a:lnTo>
                <a:lnTo>
                  <a:pt x="0" y="10"/>
                </a:lnTo>
                <a:lnTo>
                  <a:pt x="4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32" name="Freeform 112">
            <a:extLst>
              <a:ext uri="{FF2B5EF4-FFF2-40B4-BE49-F238E27FC236}">
                <a16:creationId xmlns:a16="http://schemas.microsoft.com/office/drawing/2014/main" id="{E2F0FEFB-B4D1-774A-FF3C-DD17AE689605}"/>
              </a:ext>
            </a:extLst>
          </p:cNvPr>
          <p:cNvSpPr>
            <a:spLocks/>
          </p:cNvSpPr>
          <p:nvPr/>
        </p:nvSpPr>
        <p:spPr bwMode="auto">
          <a:xfrm>
            <a:off x="6563785" y="5291668"/>
            <a:ext cx="224367" cy="446617"/>
          </a:xfrm>
          <a:custGeom>
            <a:avLst/>
            <a:gdLst>
              <a:gd name="T0" fmla="*/ 2147483647 w 114"/>
              <a:gd name="T1" fmla="*/ 2147483647 h 224"/>
              <a:gd name="T2" fmla="*/ 2147483647 w 114"/>
              <a:gd name="T3" fmla="*/ 2147483647 h 224"/>
              <a:gd name="T4" fmla="*/ 2147483647 w 114"/>
              <a:gd name="T5" fmla="*/ 2147483647 h 224"/>
              <a:gd name="T6" fmla="*/ 2147483647 w 114"/>
              <a:gd name="T7" fmla="*/ 2147483647 h 224"/>
              <a:gd name="T8" fmla="*/ 2147483647 w 114"/>
              <a:gd name="T9" fmla="*/ 2147483647 h 224"/>
              <a:gd name="T10" fmla="*/ 2147483647 w 114"/>
              <a:gd name="T11" fmla="*/ 2147483647 h 224"/>
              <a:gd name="T12" fmla="*/ 2147483647 w 114"/>
              <a:gd name="T13" fmla="*/ 0 h 224"/>
              <a:gd name="T14" fmla="*/ 2147483647 w 114"/>
              <a:gd name="T15" fmla="*/ 2147483647 h 224"/>
              <a:gd name="T16" fmla="*/ 2147483647 w 114"/>
              <a:gd name="T17" fmla="*/ 2147483647 h 224"/>
              <a:gd name="T18" fmla="*/ 2147483647 w 114"/>
              <a:gd name="T19" fmla="*/ 2147483647 h 224"/>
              <a:gd name="T20" fmla="*/ 2147483647 w 114"/>
              <a:gd name="T21" fmla="*/ 2147483647 h 224"/>
              <a:gd name="T22" fmla="*/ 2147483647 w 114"/>
              <a:gd name="T23" fmla="*/ 2147483647 h 224"/>
              <a:gd name="T24" fmla="*/ 2147483647 w 114"/>
              <a:gd name="T25" fmla="*/ 2147483647 h 224"/>
              <a:gd name="T26" fmla="*/ 2147483647 w 114"/>
              <a:gd name="T27" fmla="*/ 2147483647 h 224"/>
              <a:gd name="T28" fmla="*/ 2147483647 w 114"/>
              <a:gd name="T29" fmla="*/ 2147483647 h 224"/>
              <a:gd name="T30" fmla="*/ 2147483647 w 114"/>
              <a:gd name="T31" fmla="*/ 2147483647 h 224"/>
              <a:gd name="T32" fmla="*/ 2147483647 w 114"/>
              <a:gd name="T33" fmla="*/ 2147483647 h 224"/>
              <a:gd name="T34" fmla="*/ 2147483647 w 114"/>
              <a:gd name="T35" fmla="*/ 2147483647 h 224"/>
              <a:gd name="T36" fmla="*/ 2147483647 w 114"/>
              <a:gd name="T37" fmla="*/ 2147483647 h 224"/>
              <a:gd name="T38" fmla="*/ 2147483647 w 114"/>
              <a:gd name="T39" fmla="*/ 2147483647 h 224"/>
              <a:gd name="T40" fmla="*/ 0 w 114"/>
              <a:gd name="T41" fmla="*/ 2147483647 h 224"/>
              <a:gd name="T42" fmla="*/ 2147483647 w 114"/>
              <a:gd name="T43" fmla="*/ 2147483647 h 224"/>
              <a:gd name="T44" fmla="*/ 2147483647 w 114"/>
              <a:gd name="T45" fmla="*/ 2147483647 h 224"/>
              <a:gd name="T46" fmla="*/ 2147483647 w 114"/>
              <a:gd name="T47" fmla="*/ 2147483647 h 224"/>
              <a:gd name="T48" fmla="*/ 2147483647 w 114"/>
              <a:gd name="T49" fmla="*/ 2147483647 h 224"/>
              <a:gd name="T50" fmla="*/ 2147483647 w 114"/>
              <a:gd name="T51" fmla="*/ 2147483647 h 224"/>
              <a:gd name="T52" fmla="*/ 2147483647 w 114"/>
              <a:gd name="T53" fmla="*/ 2147483647 h 224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14"/>
              <a:gd name="T82" fmla="*/ 0 h 224"/>
              <a:gd name="T83" fmla="*/ 114 w 114"/>
              <a:gd name="T84" fmla="*/ 224 h 224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14" h="224">
                <a:moveTo>
                  <a:pt x="22" y="70"/>
                </a:moveTo>
                <a:lnTo>
                  <a:pt x="46" y="60"/>
                </a:lnTo>
                <a:lnTo>
                  <a:pt x="70" y="44"/>
                </a:lnTo>
                <a:lnTo>
                  <a:pt x="78" y="30"/>
                </a:lnTo>
                <a:lnTo>
                  <a:pt x="86" y="26"/>
                </a:lnTo>
                <a:lnTo>
                  <a:pt x="94" y="10"/>
                </a:lnTo>
                <a:lnTo>
                  <a:pt x="96" y="0"/>
                </a:lnTo>
                <a:lnTo>
                  <a:pt x="108" y="20"/>
                </a:lnTo>
                <a:lnTo>
                  <a:pt x="112" y="40"/>
                </a:lnTo>
                <a:lnTo>
                  <a:pt x="114" y="52"/>
                </a:lnTo>
                <a:lnTo>
                  <a:pt x="114" y="64"/>
                </a:lnTo>
                <a:lnTo>
                  <a:pt x="102" y="66"/>
                </a:lnTo>
                <a:lnTo>
                  <a:pt x="102" y="82"/>
                </a:lnTo>
                <a:lnTo>
                  <a:pt x="82" y="150"/>
                </a:lnTo>
                <a:lnTo>
                  <a:pt x="74" y="182"/>
                </a:lnTo>
                <a:lnTo>
                  <a:pt x="62" y="214"/>
                </a:lnTo>
                <a:lnTo>
                  <a:pt x="40" y="224"/>
                </a:lnTo>
                <a:lnTo>
                  <a:pt x="18" y="222"/>
                </a:lnTo>
                <a:lnTo>
                  <a:pt x="8" y="202"/>
                </a:lnTo>
                <a:lnTo>
                  <a:pt x="6" y="182"/>
                </a:lnTo>
                <a:lnTo>
                  <a:pt x="0" y="164"/>
                </a:lnTo>
                <a:lnTo>
                  <a:pt x="16" y="142"/>
                </a:lnTo>
                <a:lnTo>
                  <a:pt x="20" y="122"/>
                </a:lnTo>
                <a:lnTo>
                  <a:pt x="16" y="106"/>
                </a:lnTo>
                <a:lnTo>
                  <a:pt x="10" y="90"/>
                </a:lnTo>
                <a:lnTo>
                  <a:pt x="18" y="80"/>
                </a:lnTo>
                <a:lnTo>
                  <a:pt x="22" y="7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33" name="Freeform 113">
            <a:extLst>
              <a:ext uri="{FF2B5EF4-FFF2-40B4-BE49-F238E27FC236}">
                <a16:creationId xmlns:a16="http://schemas.microsoft.com/office/drawing/2014/main" id="{85D8F61B-6034-6C3C-9E1E-F778C734C32F}"/>
              </a:ext>
            </a:extLst>
          </p:cNvPr>
          <p:cNvSpPr>
            <a:spLocks/>
          </p:cNvSpPr>
          <p:nvPr/>
        </p:nvSpPr>
        <p:spPr bwMode="auto">
          <a:xfrm>
            <a:off x="5734051" y="5621867"/>
            <a:ext cx="514351" cy="425451"/>
          </a:xfrm>
          <a:custGeom>
            <a:avLst/>
            <a:gdLst>
              <a:gd name="T0" fmla="*/ 0 w 260"/>
              <a:gd name="T1" fmla="*/ 2147483647 h 218"/>
              <a:gd name="T2" fmla="*/ 2147483647 w 260"/>
              <a:gd name="T3" fmla="*/ 2147483647 h 218"/>
              <a:gd name="T4" fmla="*/ 2147483647 w 260"/>
              <a:gd name="T5" fmla="*/ 2147483647 h 218"/>
              <a:gd name="T6" fmla="*/ 2147483647 w 260"/>
              <a:gd name="T7" fmla="*/ 2147483647 h 218"/>
              <a:gd name="T8" fmla="*/ 2147483647 w 260"/>
              <a:gd name="T9" fmla="*/ 2147483647 h 218"/>
              <a:gd name="T10" fmla="*/ 2147483647 w 260"/>
              <a:gd name="T11" fmla="*/ 2147483647 h 218"/>
              <a:gd name="T12" fmla="*/ 2147483647 w 260"/>
              <a:gd name="T13" fmla="*/ 2147483647 h 218"/>
              <a:gd name="T14" fmla="*/ 2147483647 w 260"/>
              <a:gd name="T15" fmla="*/ 2147483647 h 218"/>
              <a:gd name="T16" fmla="*/ 2147483647 w 260"/>
              <a:gd name="T17" fmla="*/ 2147483647 h 218"/>
              <a:gd name="T18" fmla="*/ 2147483647 w 260"/>
              <a:gd name="T19" fmla="*/ 2147483647 h 218"/>
              <a:gd name="T20" fmla="*/ 2147483647 w 260"/>
              <a:gd name="T21" fmla="*/ 2147483647 h 218"/>
              <a:gd name="T22" fmla="*/ 2147483647 w 260"/>
              <a:gd name="T23" fmla="*/ 2147483647 h 218"/>
              <a:gd name="T24" fmla="*/ 2147483647 w 260"/>
              <a:gd name="T25" fmla="*/ 2147483647 h 218"/>
              <a:gd name="T26" fmla="*/ 2147483647 w 260"/>
              <a:gd name="T27" fmla="*/ 2147483647 h 218"/>
              <a:gd name="T28" fmla="*/ 2147483647 w 260"/>
              <a:gd name="T29" fmla="*/ 2147483647 h 218"/>
              <a:gd name="T30" fmla="*/ 2147483647 w 260"/>
              <a:gd name="T31" fmla="*/ 2147483647 h 218"/>
              <a:gd name="T32" fmla="*/ 2147483647 w 260"/>
              <a:gd name="T33" fmla="*/ 2147483647 h 218"/>
              <a:gd name="T34" fmla="*/ 2147483647 w 260"/>
              <a:gd name="T35" fmla="*/ 2147483647 h 218"/>
              <a:gd name="T36" fmla="*/ 2147483647 w 260"/>
              <a:gd name="T37" fmla="*/ 2147483647 h 218"/>
              <a:gd name="T38" fmla="*/ 2147483647 w 260"/>
              <a:gd name="T39" fmla="*/ 2147483647 h 218"/>
              <a:gd name="T40" fmla="*/ 2147483647 w 260"/>
              <a:gd name="T41" fmla="*/ 0 h 218"/>
              <a:gd name="T42" fmla="*/ 2147483647 w 260"/>
              <a:gd name="T43" fmla="*/ 2147483647 h 218"/>
              <a:gd name="T44" fmla="*/ 2147483647 w 260"/>
              <a:gd name="T45" fmla="*/ 2147483647 h 218"/>
              <a:gd name="T46" fmla="*/ 2147483647 w 260"/>
              <a:gd name="T47" fmla="*/ 2147483647 h 218"/>
              <a:gd name="T48" fmla="*/ 2147483647 w 260"/>
              <a:gd name="T49" fmla="*/ 2147483647 h 218"/>
              <a:gd name="T50" fmla="*/ 2147483647 w 260"/>
              <a:gd name="T51" fmla="*/ 2147483647 h 218"/>
              <a:gd name="T52" fmla="*/ 2147483647 w 260"/>
              <a:gd name="T53" fmla="*/ 2147483647 h 218"/>
              <a:gd name="T54" fmla="*/ 2147483647 w 260"/>
              <a:gd name="T55" fmla="*/ 2147483647 h 218"/>
              <a:gd name="T56" fmla="*/ 2147483647 w 260"/>
              <a:gd name="T57" fmla="*/ 2147483647 h 218"/>
              <a:gd name="T58" fmla="*/ 2147483647 w 260"/>
              <a:gd name="T59" fmla="*/ 2147483647 h 218"/>
              <a:gd name="T60" fmla="*/ 2147483647 w 260"/>
              <a:gd name="T61" fmla="*/ 2147483647 h 218"/>
              <a:gd name="T62" fmla="*/ 2147483647 w 260"/>
              <a:gd name="T63" fmla="*/ 2147483647 h 218"/>
              <a:gd name="T64" fmla="*/ 2147483647 w 260"/>
              <a:gd name="T65" fmla="*/ 2147483647 h 218"/>
              <a:gd name="T66" fmla="*/ 2147483647 w 260"/>
              <a:gd name="T67" fmla="*/ 2147483647 h 218"/>
              <a:gd name="T68" fmla="*/ 2147483647 w 260"/>
              <a:gd name="T69" fmla="*/ 2147483647 h 218"/>
              <a:gd name="T70" fmla="*/ 2147483647 w 260"/>
              <a:gd name="T71" fmla="*/ 2147483647 h 218"/>
              <a:gd name="T72" fmla="*/ 2147483647 w 260"/>
              <a:gd name="T73" fmla="*/ 2147483647 h 218"/>
              <a:gd name="T74" fmla="*/ 2147483647 w 260"/>
              <a:gd name="T75" fmla="*/ 2147483647 h 218"/>
              <a:gd name="T76" fmla="*/ 2147483647 w 260"/>
              <a:gd name="T77" fmla="*/ 2147483647 h 218"/>
              <a:gd name="T78" fmla="*/ 2147483647 w 260"/>
              <a:gd name="T79" fmla="*/ 2147483647 h 218"/>
              <a:gd name="T80" fmla="*/ 2147483647 w 260"/>
              <a:gd name="T81" fmla="*/ 2147483647 h 218"/>
              <a:gd name="T82" fmla="*/ 2147483647 w 260"/>
              <a:gd name="T83" fmla="*/ 2147483647 h 218"/>
              <a:gd name="T84" fmla="*/ 2147483647 w 260"/>
              <a:gd name="T85" fmla="*/ 2147483647 h 218"/>
              <a:gd name="T86" fmla="*/ 2147483647 w 260"/>
              <a:gd name="T87" fmla="*/ 2147483647 h 218"/>
              <a:gd name="T88" fmla="*/ 2147483647 w 260"/>
              <a:gd name="T89" fmla="*/ 2147483647 h 218"/>
              <a:gd name="T90" fmla="*/ 2147483647 w 260"/>
              <a:gd name="T91" fmla="*/ 2147483647 h 218"/>
              <a:gd name="T92" fmla="*/ 2147483647 w 260"/>
              <a:gd name="T93" fmla="*/ 2147483647 h 218"/>
              <a:gd name="T94" fmla="*/ 2147483647 w 260"/>
              <a:gd name="T95" fmla="*/ 2147483647 h 218"/>
              <a:gd name="T96" fmla="*/ 0 w 260"/>
              <a:gd name="T97" fmla="*/ 2147483647 h 218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260"/>
              <a:gd name="T148" fmla="*/ 0 h 218"/>
              <a:gd name="T149" fmla="*/ 260 w 260"/>
              <a:gd name="T150" fmla="*/ 218 h 218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260" h="218">
                <a:moveTo>
                  <a:pt x="0" y="108"/>
                </a:moveTo>
                <a:lnTo>
                  <a:pt x="2" y="104"/>
                </a:lnTo>
                <a:lnTo>
                  <a:pt x="6" y="102"/>
                </a:lnTo>
                <a:lnTo>
                  <a:pt x="8" y="102"/>
                </a:lnTo>
                <a:lnTo>
                  <a:pt x="14" y="110"/>
                </a:lnTo>
                <a:lnTo>
                  <a:pt x="22" y="114"/>
                </a:lnTo>
                <a:lnTo>
                  <a:pt x="38" y="114"/>
                </a:lnTo>
                <a:lnTo>
                  <a:pt x="54" y="104"/>
                </a:lnTo>
                <a:lnTo>
                  <a:pt x="54" y="46"/>
                </a:lnTo>
                <a:lnTo>
                  <a:pt x="66" y="58"/>
                </a:lnTo>
                <a:lnTo>
                  <a:pt x="66" y="78"/>
                </a:lnTo>
                <a:lnTo>
                  <a:pt x="82" y="78"/>
                </a:lnTo>
                <a:lnTo>
                  <a:pt x="96" y="66"/>
                </a:lnTo>
                <a:lnTo>
                  <a:pt x="100" y="54"/>
                </a:lnTo>
                <a:lnTo>
                  <a:pt x="110" y="54"/>
                </a:lnTo>
                <a:lnTo>
                  <a:pt x="120" y="62"/>
                </a:lnTo>
                <a:lnTo>
                  <a:pt x="140" y="60"/>
                </a:lnTo>
                <a:lnTo>
                  <a:pt x="148" y="46"/>
                </a:lnTo>
                <a:lnTo>
                  <a:pt x="186" y="6"/>
                </a:lnTo>
                <a:lnTo>
                  <a:pt x="196" y="6"/>
                </a:lnTo>
                <a:lnTo>
                  <a:pt x="198" y="0"/>
                </a:lnTo>
                <a:lnTo>
                  <a:pt x="228" y="2"/>
                </a:lnTo>
                <a:lnTo>
                  <a:pt x="236" y="8"/>
                </a:lnTo>
                <a:lnTo>
                  <a:pt x="244" y="32"/>
                </a:lnTo>
                <a:lnTo>
                  <a:pt x="244" y="68"/>
                </a:lnTo>
                <a:lnTo>
                  <a:pt x="244" y="78"/>
                </a:lnTo>
                <a:lnTo>
                  <a:pt x="260" y="80"/>
                </a:lnTo>
                <a:lnTo>
                  <a:pt x="254" y="90"/>
                </a:lnTo>
                <a:lnTo>
                  <a:pt x="254" y="104"/>
                </a:lnTo>
                <a:lnTo>
                  <a:pt x="246" y="110"/>
                </a:lnTo>
                <a:lnTo>
                  <a:pt x="230" y="130"/>
                </a:lnTo>
                <a:lnTo>
                  <a:pt x="224" y="142"/>
                </a:lnTo>
                <a:lnTo>
                  <a:pt x="210" y="160"/>
                </a:lnTo>
                <a:lnTo>
                  <a:pt x="188" y="176"/>
                </a:lnTo>
                <a:lnTo>
                  <a:pt x="164" y="198"/>
                </a:lnTo>
                <a:lnTo>
                  <a:pt x="142" y="202"/>
                </a:lnTo>
                <a:lnTo>
                  <a:pt x="128" y="208"/>
                </a:lnTo>
                <a:lnTo>
                  <a:pt x="110" y="206"/>
                </a:lnTo>
                <a:lnTo>
                  <a:pt x="88" y="206"/>
                </a:lnTo>
                <a:lnTo>
                  <a:pt x="70" y="212"/>
                </a:lnTo>
                <a:lnTo>
                  <a:pt x="50" y="218"/>
                </a:lnTo>
                <a:lnTo>
                  <a:pt x="34" y="210"/>
                </a:lnTo>
                <a:lnTo>
                  <a:pt x="28" y="198"/>
                </a:lnTo>
                <a:lnTo>
                  <a:pt x="20" y="184"/>
                </a:lnTo>
                <a:lnTo>
                  <a:pt x="30" y="172"/>
                </a:lnTo>
                <a:lnTo>
                  <a:pt x="22" y="158"/>
                </a:lnTo>
                <a:lnTo>
                  <a:pt x="12" y="144"/>
                </a:lnTo>
                <a:lnTo>
                  <a:pt x="6" y="122"/>
                </a:lnTo>
                <a:lnTo>
                  <a:pt x="0" y="108"/>
                </a:lnTo>
                <a:close/>
              </a:path>
            </a:pathLst>
          </a:custGeom>
          <a:solidFill>
            <a:schemeClr val="tx1">
              <a:alpha val="50195"/>
            </a:schemeClr>
          </a:solidFill>
          <a:ln w="8001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34" name="Freeform 114">
            <a:extLst>
              <a:ext uri="{FF2B5EF4-FFF2-40B4-BE49-F238E27FC236}">
                <a16:creationId xmlns:a16="http://schemas.microsoft.com/office/drawing/2014/main" id="{45867860-CC8E-0992-7282-E06A7D5EECDF}"/>
              </a:ext>
            </a:extLst>
          </p:cNvPr>
          <p:cNvSpPr>
            <a:spLocks/>
          </p:cNvSpPr>
          <p:nvPr/>
        </p:nvSpPr>
        <p:spPr bwMode="auto">
          <a:xfrm>
            <a:off x="6002867" y="5418667"/>
            <a:ext cx="245533" cy="211667"/>
          </a:xfrm>
          <a:custGeom>
            <a:avLst/>
            <a:gdLst>
              <a:gd name="T0" fmla="*/ 2147483647 w 120"/>
              <a:gd name="T1" fmla="*/ 2147483647 h 106"/>
              <a:gd name="T2" fmla="*/ 2147483647 w 120"/>
              <a:gd name="T3" fmla="*/ 2147483647 h 106"/>
              <a:gd name="T4" fmla="*/ 2147483647 w 120"/>
              <a:gd name="T5" fmla="*/ 2147483647 h 106"/>
              <a:gd name="T6" fmla="*/ 2147483647 w 120"/>
              <a:gd name="T7" fmla="*/ 2147483647 h 106"/>
              <a:gd name="T8" fmla="*/ 2147483647 w 120"/>
              <a:gd name="T9" fmla="*/ 2147483647 h 106"/>
              <a:gd name="T10" fmla="*/ 2147483647 w 120"/>
              <a:gd name="T11" fmla="*/ 2147483647 h 106"/>
              <a:gd name="T12" fmla="*/ 0 w 120"/>
              <a:gd name="T13" fmla="*/ 2147483647 h 106"/>
              <a:gd name="T14" fmla="*/ 2147483647 w 120"/>
              <a:gd name="T15" fmla="*/ 2147483647 h 106"/>
              <a:gd name="T16" fmla="*/ 2147483647 w 120"/>
              <a:gd name="T17" fmla="*/ 2147483647 h 106"/>
              <a:gd name="T18" fmla="*/ 2147483647 w 120"/>
              <a:gd name="T19" fmla="*/ 2147483647 h 106"/>
              <a:gd name="T20" fmla="*/ 2147483647 w 120"/>
              <a:gd name="T21" fmla="*/ 0 h 106"/>
              <a:gd name="T22" fmla="*/ 2147483647 w 120"/>
              <a:gd name="T23" fmla="*/ 0 h 106"/>
              <a:gd name="T24" fmla="*/ 2147483647 w 120"/>
              <a:gd name="T25" fmla="*/ 2147483647 h 106"/>
              <a:gd name="T26" fmla="*/ 2147483647 w 120"/>
              <a:gd name="T27" fmla="*/ 2147483647 h 106"/>
              <a:gd name="T28" fmla="*/ 2147483647 w 120"/>
              <a:gd name="T29" fmla="*/ 2147483647 h 106"/>
              <a:gd name="T30" fmla="*/ 2147483647 w 120"/>
              <a:gd name="T31" fmla="*/ 2147483647 h 106"/>
              <a:gd name="T32" fmla="*/ 2147483647 w 120"/>
              <a:gd name="T33" fmla="*/ 2147483647 h 106"/>
              <a:gd name="T34" fmla="*/ 2147483647 w 120"/>
              <a:gd name="T35" fmla="*/ 2147483647 h 10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20"/>
              <a:gd name="T55" fmla="*/ 0 h 106"/>
              <a:gd name="T56" fmla="*/ 120 w 120"/>
              <a:gd name="T57" fmla="*/ 106 h 10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20" h="106">
                <a:moveTo>
                  <a:pt x="60" y="104"/>
                </a:moveTo>
                <a:lnTo>
                  <a:pt x="58" y="98"/>
                </a:lnTo>
                <a:lnTo>
                  <a:pt x="44" y="96"/>
                </a:lnTo>
                <a:lnTo>
                  <a:pt x="36" y="76"/>
                </a:lnTo>
                <a:lnTo>
                  <a:pt x="12" y="64"/>
                </a:lnTo>
                <a:lnTo>
                  <a:pt x="8" y="48"/>
                </a:lnTo>
                <a:lnTo>
                  <a:pt x="0" y="36"/>
                </a:lnTo>
                <a:lnTo>
                  <a:pt x="28" y="34"/>
                </a:lnTo>
                <a:lnTo>
                  <a:pt x="42" y="16"/>
                </a:lnTo>
                <a:lnTo>
                  <a:pt x="54" y="14"/>
                </a:lnTo>
                <a:lnTo>
                  <a:pt x="62" y="0"/>
                </a:lnTo>
                <a:lnTo>
                  <a:pt x="78" y="0"/>
                </a:lnTo>
                <a:lnTo>
                  <a:pt x="118" y="14"/>
                </a:lnTo>
                <a:lnTo>
                  <a:pt x="120" y="42"/>
                </a:lnTo>
                <a:lnTo>
                  <a:pt x="120" y="72"/>
                </a:lnTo>
                <a:lnTo>
                  <a:pt x="112" y="90"/>
                </a:lnTo>
                <a:lnTo>
                  <a:pt x="90" y="106"/>
                </a:lnTo>
                <a:lnTo>
                  <a:pt x="60" y="104"/>
                </a:lnTo>
                <a:close/>
              </a:path>
            </a:pathLst>
          </a:custGeom>
          <a:solidFill>
            <a:srgbClr val="003366"/>
          </a:solidFill>
          <a:ln w="8001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35" name="Freeform 115">
            <a:extLst>
              <a:ext uri="{FF2B5EF4-FFF2-40B4-BE49-F238E27FC236}">
                <a16:creationId xmlns:a16="http://schemas.microsoft.com/office/drawing/2014/main" id="{F2D0DFBE-F7D6-53F5-AAD0-CC1806148DCC}"/>
              </a:ext>
            </a:extLst>
          </p:cNvPr>
          <p:cNvSpPr>
            <a:spLocks/>
          </p:cNvSpPr>
          <p:nvPr/>
        </p:nvSpPr>
        <p:spPr bwMode="auto">
          <a:xfrm>
            <a:off x="5839884" y="5486400"/>
            <a:ext cx="289984" cy="289984"/>
          </a:xfrm>
          <a:custGeom>
            <a:avLst/>
            <a:gdLst>
              <a:gd name="T0" fmla="*/ 0 w 144"/>
              <a:gd name="T1" fmla="*/ 2147483647 h 146"/>
              <a:gd name="T2" fmla="*/ 0 w 144"/>
              <a:gd name="T3" fmla="*/ 2147483647 h 146"/>
              <a:gd name="T4" fmla="*/ 2147483647 w 144"/>
              <a:gd name="T5" fmla="*/ 2147483647 h 146"/>
              <a:gd name="T6" fmla="*/ 2147483647 w 144"/>
              <a:gd name="T7" fmla="*/ 2147483647 h 146"/>
              <a:gd name="T8" fmla="*/ 2147483647 w 144"/>
              <a:gd name="T9" fmla="*/ 0 h 146"/>
              <a:gd name="T10" fmla="*/ 2147483647 w 144"/>
              <a:gd name="T11" fmla="*/ 2147483647 h 146"/>
              <a:gd name="T12" fmla="*/ 2147483647 w 144"/>
              <a:gd name="T13" fmla="*/ 0 h 146"/>
              <a:gd name="T14" fmla="*/ 2147483647 w 144"/>
              <a:gd name="T15" fmla="*/ 2147483647 h 146"/>
              <a:gd name="T16" fmla="*/ 2147483647 w 144"/>
              <a:gd name="T17" fmla="*/ 2147483647 h 146"/>
              <a:gd name="T18" fmla="*/ 2147483647 w 144"/>
              <a:gd name="T19" fmla="*/ 2147483647 h 146"/>
              <a:gd name="T20" fmla="*/ 2147483647 w 144"/>
              <a:gd name="T21" fmla="*/ 2147483647 h 146"/>
              <a:gd name="T22" fmla="*/ 2147483647 w 144"/>
              <a:gd name="T23" fmla="*/ 2147483647 h 146"/>
              <a:gd name="T24" fmla="*/ 2147483647 w 144"/>
              <a:gd name="T25" fmla="*/ 2147483647 h 146"/>
              <a:gd name="T26" fmla="*/ 2147483647 w 144"/>
              <a:gd name="T27" fmla="*/ 2147483647 h 146"/>
              <a:gd name="T28" fmla="*/ 2147483647 w 144"/>
              <a:gd name="T29" fmla="*/ 2147483647 h 146"/>
              <a:gd name="T30" fmla="*/ 2147483647 w 144"/>
              <a:gd name="T31" fmla="*/ 2147483647 h 146"/>
              <a:gd name="T32" fmla="*/ 2147483647 w 144"/>
              <a:gd name="T33" fmla="*/ 2147483647 h 146"/>
              <a:gd name="T34" fmla="*/ 2147483647 w 144"/>
              <a:gd name="T35" fmla="*/ 2147483647 h 146"/>
              <a:gd name="T36" fmla="*/ 2147483647 w 144"/>
              <a:gd name="T37" fmla="*/ 2147483647 h 146"/>
              <a:gd name="T38" fmla="*/ 2147483647 w 144"/>
              <a:gd name="T39" fmla="*/ 2147483647 h 146"/>
              <a:gd name="T40" fmla="*/ 2147483647 w 144"/>
              <a:gd name="T41" fmla="*/ 2147483647 h 146"/>
              <a:gd name="T42" fmla="*/ 2147483647 w 144"/>
              <a:gd name="T43" fmla="*/ 2147483647 h 146"/>
              <a:gd name="T44" fmla="*/ 2147483647 w 144"/>
              <a:gd name="T45" fmla="*/ 2147483647 h 146"/>
              <a:gd name="T46" fmla="*/ 2147483647 w 144"/>
              <a:gd name="T47" fmla="*/ 2147483647 h 146"/>
              <a:gd name="T48" fmla="*/ 0 w 144"/>
              <a:gd name="T49" fmla="*/ 2147483647 h 14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44"/>
              <a:gd name="T76" fmla="*/ 0 h 146"/>
              <a:gd name="T77" fmla="*/ 144 w 144"/>
              <a:gd name="T78" fmla="*/ 146 h 14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44" h="146">
                <a:moveTo>
                  <a:pt x="0" y="114"/>
                </a:moveTo>
                <a:lnTo>
                  <a:pt x="0" y="66"/>
                </a:lnTo>
                <a:lnTo>
                  <a:pt x="14" y="66"/>
                </a:lnTo>
                <a:lnTo>
                  <a:pt x="16" y="4"/>
                </a:lnTo>
                <a:lnTo>
                  <a:pt x="50" y="0"/>
                </a:lnTo>
                <a:lnTo>
                  <a:pt x="56" y="8"/>
                </a:lnTo>
                <a:lnTo>
                  <a:pt x="84" y="0"/>
                </a:lnTo>
                <a:lnTo>
                  <a:pt x="92" y="12"/>
                </a:lnTo>
                <a:lnTo>
                  <a:pt x="96" y="28"/>
                </a:lnTo>
                <a:lnTo>
                  <a:pt x="120" y="40"/>
                </a:lnTo>
                <a:lnTo>
                  <a:pt x="128" y="60"/>
                </a:lnTo>
                <a:lnTo>
                  <a:pt x="142" y="62"/>
                </a:lnTo>
                <a:lnTo>
                  <a:pt x="144" y="70"/>
                </a:lnTo>
                <a:lnTo>
                  <a:pt x="142" y="74"/>
                </a:lnTo>
                <a:lnTo>
                  <a:pt x="132" y="74"/>
                </a:lnTo>
                <a:lnTo>
                  <a:pt x="94" y="114"/>
                </a:lnTo>
                <a:lnTo>
                  <a:pt x="86" y="128"/>
                </a:lnTo>
                <a:lnTo>
                  <a:pt x="66" y="130"/>
                </a:lnTo>
                <a:lnTo>
                  <a:pt x="56" y="122"/>
                </a:lnTo>
                <a:lnTo>
                  <a:pt x="46" y="122"/>
                </a:lnTo>
                <a:lnTo>
                  <a:pt x="42" y="134"/>
                </a:lnTo>
                <a:lnTo>
                  <a:pt x="28" y="146"/>
                </a:lnTo>
                <a:lnTo>
                  <a:pt x="12" y="146"/>
                </a:lnTo>
                <a:lnTo>
                  <a:pt x="12" y="126"/>
                </a:lnTo>
                <a:lnTo>
                  <a:pt x="0" y="11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36" name="Freeform 116">
            <a:extLst>
              <a:ext uri="{FF2B5EF4-FFF2-40B4-BE49-F238E27FC236}">
                <a16:creationId xmlns:a16="http://schemas.microsoft.com/office/drawing/2014/main" id="{47885140-B155-065C-C877-13007E58BACA}"/>
              </a:ext>
            </a:extLst>
          </p:cNvPr>
          <p:cNvSpPr>
            <a:spLocks/>
          </p:cNvSpPr>
          <p:nvPr/>
        </p:nvSpPr>
        <p:spPr bwMode="auto">
          <a:xfrm>
            <a:off x="5596465" y="5467351"/>
            <a:ext cx="273051" cy="376767"/>
          </a:xfrm>
          <a:custGeom>
            <a:avLst/>
            <a:gdLst>
              <a:gd name="T0" fmla="*/ 0 w 142"/>
              <a:gd name="T1" fmla="*/ 0 h 192"/>
              <a:gd name="T2" fmla="*/ 2147483647 w 142"/>
              <a:gd name="T3" fmla="*/ 0 h 192"/>
              <a:gd name="T4" fmla="*/ 2147483647 w 142"/>
              <a:gd name="T5" fmla="*/ 2147483647 h 192"/>
              <a:gd name="T6" fmla="*/ 2147483647 w 142"/>
              <a:gd name="T7" fmla="*/ 2147483647 h 192"/>
              <a:gd name="T8" fmla="*/ 2147483647 w 142"/>
              <a:gd name="T9" fmla="*/ 2147483647 h 192"/>
              <a:gd name="T10" fmla="*/ 2147483647 w 142"/>
              <a:gd name="T11" fmla="*/ 2147483647 h 192"/>
              <a:gd name="T12" fmla="*/ 2147483647 w 142"/>
              <a:gd name="T13" fmla="*/ 2147483647 h 192"/>
              <a:gd name="T14" fmla="*/ 2147483647 w 142"/>
              <a:gd name="T15" fmla="*/ 2147483647 h 192"/>
              <a:gd name="T16" fmla="*/ 2147483647 w 142"/>
              <a:gd name="T17" fmla="*/ 2147483647 h 192"/>
              <a:gd name="T18" fmla="*/ 2147483647 w 142"/>
              <a:gd name="T19" fmla="*/ 2147483647 h 192"/>
              <a:gd name="T20" fmla="*/ 2147483647 w 142"/>
              <a:gd name="T21" fmla="*/ 2147483647 h 192"/>
              <a:gd name="T22" fmla="*/ 2147483647 w 142"/>
              <a:gd name="T23" fmla="*/ 2147483647 h 192"/>
              <a:gd name="T24" fmla="*/ 2147483647 w 142"/>
              <a:gd name="T25" fmla="*/ 2147483647 h 192"/>
              <a:gd name="T26" fmla="*/ 2147483647 w 142"/>
              <a:gd name="T27" fmla="*/ 2147483647 h 192"/>
              <a:gd name="T28" fmla="*/ 2147483647 w 142"/>
              <a:gd name="T29" fmla="*/ 2147483647 h 192"/>
              <a:gd name="T30" fmla="*/ 2147483647 w 142"/>
              <a:gd name="T31" fmla="*/ 2147483647 h 192"/>
              <a:gd name="T32" fmla="*/ 2147483647 w 142"/>
              <a:gd name="T33" fmla="*/ 2147483647 h 192"/>
              <a:gd name="T34" fmla="*/ 2147483647 w 142"/>
              <a:gd name="T35" fmla="*/ 2147483647 h 192"/>
              <a:gd name="T36" fmla="*/ 0 w 142"/>
              <a:gd name="T37" fmla="*/ 2147483647 h 192"/>
              <a:gd name="T38" fmla="*/ 0 w 142"/>
              <a:gd name="T39" fmla="*/ 0 h 192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42"/>
              <a:gd name="T61" fmla="*/ 0 h 192"/>
              <a:gd name="T62" fmla="*/ 142 w 142"/>
              <a:gd name="T63" fmla="*/ 192 h 192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42" h="192">
                <a:moveTo>
                  <a:pt x="0" y="0"/>
                </a:moveTo>
                <a:lnTo>
                  <a:pt x="98" y="0"/>
                </a:lnTo>
                <a:lnTo>
                  <a:pt x="106" y="6"/>
                </a:lnTo>
                <a:lnTo>
                  <a:pt x="134" y="8"/>
                </a:lnTo>
                <a:lnTo>
                  <a:pt x="142" y="14"/>
                </a:lnTo>
                <a:lnTo>
                  <a:pt x="140" y="76"/>
                </a:lnTo>
                <a:lnTo>
                  <a:pt x="126" y="76"/>
                </a:lnTo>
                <a:lnTo>
                  <a:pt x="126" y="182"/>
                </a:lnTo>
                <a:lnTo>
                  <a:pt x="110" y="192"/>
                </a:lnTo>
                <a:lnTo>
                  <a:pt x="94" y="192"/>
                </a:lnTo>
                <a:lnTo>
                  <a:pt x="86" y="188"/>
                </a:lnTo>
                <a:lnTo>
                  <a:pt x="80" y="180"/>
                </a:lnTo>
                <a:lnTo>
                  <a:pt x="72" y="186"/>
                </a:lnTo>
                <a:lnTo>
                  <a:pt x="52" y="164"/>
                </a:lnTo>
                <a:lnTo>
                  <a:pt x="44" y="126"/>
                </a:lnTo>
                <a:lnTo>
                  <a:pt x="38" y="114"/>
                </a:lnTo>
                <a:lnTo>
                  <a:pt x="38" y="82"/>
                </a:lnTo>
                <a:lnTo>
                  <a:pt x="12" y="36"/>
                </a:lnTo>
                <a:lnTo>
                  <a:pt x="0" y="16"/>
                </a:lnTo>
                <a:lnTo>
                  <a:pt x="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37" name="Freeform 117">
            <a:extLst>
              <a:ext uri="{FF2B5EF4-FFF2-40B4-BE49-F238E27FC236}">
                <a16:creationId xmlns:a16="http://schemas.microsoft.com/office/drawing/2014/main" id="{A228B6C2-ADB3-5A1A-A57D-F3E766037936}"/>
              </a:ext>
            </a:extLst>
          </p:cNvPr>
          <p:cNvSpPr>
            <a:spLocks/>
          </p:cNvSpPr>
          <p:nvPr/>
        </p:nvSpPr>
        <p:spPr bwMode="auto">
          <a:xfrm>
            <a:off x="6167968" y="5253568"/>
            <a:ext cx="319617" cy="522817"/>
          </a:xfrm>
          <a:custGeom>
            <a:avLst/>
            <a:gdLst>
              <a:gd name="T0" fmla="*/ 0 w 162"/>
              <a:gd name="T1" fmla="*/ 2147483647 h 270"/>
              <a:gd name="T2" fmla="*/ 0 w 162"/>
              <a:gd name="T3" fmla="*/ 2147483647 h 270"/>
              <a:gd name="T4" fmla="*/ 2147483647 w 162"/>
              <a:gd name="T5" fmla="*/ 2147483647 h 270"/>
              <a:gd name="T6" fmla="*/ 2147483647 w 162"/>
              <a:gd name="T7" fmla="*/ 2147483647 h 270"/>
              <a:gd name="T8" fmla="*/ 2147483647 w 162"/>
              <a:gd name="T9" fmla="*/ 2147483647 h 270"/>
              <a:gd name="T10" fmla="*/ 2147483647 w 162"/>
              <a:gd name="T11" fmla="*/ 2147483647 h 270"/>
              <a:gd name="T12" fmla="*/ 2147483647 w 162"/>
              <a:gd name="T13" fmla="*/ 2147483647 h 270"/>
              <a:gd name="T14" fmla="*/ 2147483647 w 162"/>
              <a:gd name="T15" fmla="*/ 2147483647 h 270"/>
              <a:gd name="T16" fmla="*/ 2147483647 w 162"/>
              <a:gd name="T17" fmla="*/ 2147483647 h 270"/>
              <a:gd name="T18" fmla="*/ 2147483647 w 162"/>
              <a:gd name="T19" fmla="*/ 2147483647 h 270"/>
              <a:gd name="T20" fmla="*/ 2147483647 w 162"/>
              <a:gd name="T21" fmla="*/ 2147483647 h 270"/>
              <a:gd name="T22" fmla="*/ 2147483647 w 162"/>
              <a:gd name="T23" fmla="*/ 2147483647 h 270"/>
              <a:gd name="T24" fmla="*/ 2147483647 w 162"/>
              <a:gd name="T25" fmla="*/ 2147483647 h 270"/>
              <a:gd name="T26" fmla="*/ 2147483647 w 162"/>
              <a:gd name="T27" fmla="*/ 2147483647 h 270"/>
              <a:gd name="T28" fmla="*/ 2147483647 w 162"/>
              <a:gd name="T29" fmla="*/ 0 h 270"/>
              <a:gd name="T30" fmla="*/ 2147483647 w 162"/>
              <a:gd name="T31" fmla="*/ 2147483647 h 270"/>
              <a:gd name="T32" fmla="*/ 2147483647 w 162"/>
              <a:gd name="T33" fmla="*/ 2147483647 h 270"/>
              <a:gd name="T34" fmla="*/ 2147483647 w 162"/>
              <a:gd name="T35" fmla="*/ 2147483647 h 270"/>
              <a:gd name="T36" fmla="*/ 2147483647 w 162"/>
              <a:gd name="T37" fmla="*/ 2147483647 h 270"/>
              <a:gd name="T38" fmla="*/ 2147483647 w 162"/>
              <a:gd name="T39" fmla="*/ 2147483647 h 270"/>
              <a:gd name="T40" fmla="*/ 2147483647 w 162"/>
              <a:gd name="T41" fmla="*/ 2147483647 h 270"/>
              <a:gd name="T42" fmla="*/ 2147483647 w 162"/>
              <a:gd name="T43" fmla="*/ 2147483647 h 270"/>
              <a:gd name="T44" fmla="*/ 2147483647 w 162"/>
              <a:gd name="T45" fmla="*/ 2147483647 h 270"/>
              <a:gd name="T46" fmla="*/ 2147483647 w 162"/>
              <a:gd name="T47" fmla="*/ 2147483647 h 270"/>
              <a:gd name="T48" fmla="*/ 2147483647 w 162"/>
              <a:gd name="T49" fmla="*/ 2147483647 h 270"/>
              <a:gd name="T50" fmla="*/ 2147483647 w 162"/>
              <a:gd name="T51" fmla="*/ 2147483647 h 270"/>
              <a:gd name="T52" fmla="*/ 2147483647 w 162"/>
              <a:gd name="T53" fmla="*/ 2147483647 h 270"/>
              <a:gd name="T54" fmla="*/ 2147483647 w 162"/>
              <a:gd name="T55" fmla="*/ 2147483647 h 270"/>
              <a:gd name="T56" fmla="*/ 2147483647 w 162"/>
              <a:gd name="T57" fmla="*/ 2147483647 h 270"/>
              <a:gd name="T58" fmla="*/ 2147483647 w 162"/>
              <a:gd name="T59" fmla="*/ 2147483647 h 270"/>
              <a:gd name="T60" fmla="*/ 2147483647 w 162"/>
              <a:gd name="T61" fmla="*/ 2147483647 h 270"/>
              <a:gd name="T62" fmla="*/ 2147483647 w 162"/>
              <a:gd name="T63" fmla="*/ 2147483647 h 270"/>
              <a:gd name="T64" fmla="*/ 2147483647 w 162"/>
              <a:gd name="T65" fmla="*/ 2147483647 h 270"/>
              <a:gd name="T66" fmla="*/ 2147483647 w 162"/>
              <a:gd name="T67" fmla="*/ 2147483647 h 270"/>
              <a:gd name="T68" fmla="*/ 2147483647 w 162"/>
              <a:gd name="T69" fmla="*/ 2147483647 h 270"/>
              <a:gd name="T70" fmla="*/ 2147483647 w 162"/>
              <a:gd name="T71" fmla="*/ 2147483647 h 270"/>
              <a:gd name="T72" fmla="*/ 2147483647 w 162"/>
              <a:gd name="T73" fmla="*/ 2147483647 h 270"/>
              <a:gd name="T74" fmla="*/ 0 w 162"/>
              <a:gd name="T75" fmla="*/ 2147483647 h 27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62"/>
              <a:gd name="T115" fmla="*/ 0 h 270"/>
              <a:gd name="T116" fmla="*/ 162 w 162"/>
              <a:gd name="T117" fmla="*/ 270 h 270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62" h="270">
                <a:moveTo>
                  <a:pt x="0" y="88"/>
                </a:moveTo>
                <a:lnTo>
                  <a:pt x="0" y="72"/>
                </a:lnTo>
                <a:lnTo>
                  <a:pt x="50" y="64"/>
                </a:lnTo>
                <a:lnTo>
                  <a:pt x="66" y="64"/>
                </a:lnTo>
                <a:lnTo>
                  <a:pt x="64" y="94"/>
                </a:lnTo>
                <a:lnTo>
                  <a:pt x="76" y="106"/>
                </a:lnTo>
                <a:lnTo>
                  <a:pt x="86" y="92"/>
                </a:lnTo>
                <a:lnTo>
                  <a:pt x="84" y="64"/>
                </a:lnTo>
                <a:lnTo>
                  <a:pt x="70" y="48"/>
                </a:lnTo>
                <a:lnTo>
                  <a:pt x="64" y="32"/>
                </a:lnTo>
                <a:lnTo>
                  <a:pt x="68" y="16"/>
                </a:lnTo>
                <a:lnTo>
                  <a:pt x="90" y="18"/>
                </a:lnTo>
                <a:lnTo>
                  <a:pt x="116" y="20"/>
                </a:lnTo>
                <a:lnTo>
                  <a:pt x="142" y="10"/>
                </a:lnTo>
                <a:lnTo>
                  <a:pt x="158" y="0"/>
                </a:lnTo>
                <a:lnTo>
                  <a:pt x="158" y="40"/>
                </a:lnTo>
                <a:lnTo>
                  <a:pt x="162" y="80"/>
                </a:lnTo>
                <a:lnTo>
                  <a:pt x="144" y="98"/>
                </a:lnTo>
                <a:lnTo>
                  <a:pt x="112" y="118"/>
                </a:lnTo>
                <a:lnTo>
                  <a:pt x="76" y="150"/>
                </a:lnTo>
                <a:lnTo>
                  <a:pt x="68" y="154"/>
                </a:lnTo>
                <a:lnTo>
                  <a:pt x="70" y="168"/>
                </a:lnTo>
                <a:lnTo>
                  <a:pt x="80" y="196"/>
                </a:lnTo>
                <a:lnTo>
                  <a:pt x="76" y="228"/>
                </a:lnTo>
                <a:lnTo>
                  <a:pt x="38" y="248"/>
                </a:lnTo>
                <a:lnTo>
                  <a:pt x="34" y="256"/>
                </a:lnTo>
                <a:lnTo>
                  <a:pt x="38" y="264"/>
                </a:lnTo>
                <a:lnTo>
                  <a:pt x="40" y="270"/>
                </a:lnTo>
                <a:lnTo>
                  <a:pt x="24" y="268"/>
                </a:lnTo>
                <a:lnTo>
                  <a:pt x="24" y="258"/>
                </a:lnTo>
                <a:lnTo>
                  <a:pt x="24" y="222"/>
                </a:lnTo>
                <a:lnTo>
                  <a:pt x="16" y="198"/>
                </a:lnTo>
                <a:lnTo>
                  <a:pt x="8" y="192"/>
                </a:lnTo>
                <a:lnTo>
                  <a:pt x="30" y="176"/>
                </a:lnTo>
                <a:lnTo>
                  <a:pt x="38" y="158"/>
                </a:lnTo>
                <a:lnTo>
                  <a:pt x="38" y="128"/>
                </a:lnTo>
                <a:lnTo>
                  <a:pt x="36" y="100"/>
                </a:lnTo>
                <a:lnTo>
                  <a:pt x="0" y="8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38" name="Freeform 118">
            <a:extLst>
              <a:ext uri="{FF2B5EF4-FFF2-40B4-BE49-F238E27FC236}">
                <a16:creationId xmlns:a16="http://schemas.microsoft.com/office/drawing/2014/main" id="{0D06DE8B-D442-C6F4-2A90-6BA69CC68F6B}"/>
              </a:ext>
            </a:extLst>
          </p:cNvPr>
          <p:cNvSpPr>
            <a:spLocks/>
          </p:cNvSpPr>
          <p:nvPr/>
        </p:nvSpPr>
        <p:spPr bwMode="auto">
          <a:xfrm>
            <a:off x="6235701" y="5223934"/>
            <a:ext cx="97367" cy="232833"/>
          </a:xfrm>
          <a:custGeom>
            <a:avLst/>
            <a:gdLst>
              <a:gd name="T0" fmla="*/ 2147483647 w 50"/>
              <a:gd name="T1" fmla="*/ 2147483647 h 120"/>
              <a:gd name="T2" fmla="*/ 2147483647 w 50"/>
              <a:gd name="T3" fmla="*/ 2147483647 h 120"/>
              <a:gd name="T4" fmla="*/ 2147483647 w 50"/>
              <a:gd name="T5" fmla="*/ 2147483647 h 120"/>
              <a:gd name="T6" fmla="*/ 2147483647 w 50"/>
              <a:gd name="T7" fmla="*/ 2147483647 h 120"/>
              <a:gd name="T8" fmla="*/ 2147483647 w 50"/>
              <a:gd name="T9" fmla="*/ 0 h 120"/>
              <a:gd name="T10" fmla="*/ 2147483647 w 50"/>
              <a:gd name="T11" fmla="*/ 0 h 120"/>
              <a:gd name="T12" fmla="*/ 2147483647 w 50"/>
              <a:gd name="T13" fmla="*/ 2147483647 h 120"/>
              <a:gd name="T14" fmla="*/ 2147483647 w 50"/>
              <a:gd name="T15" fmla="*/ 2147483647 h 120"/>
              <a:gd name="T16" fmla="*/ 2147483647 w 50"/>
              <a:gd name="T17" fmla="*/ 2147483647 h 120"/>
              <a:gd name="T18" fmla="*/ 2147483647 w 50"/>
              <a:gd name="T19" fmla="*/ 2147483647 h 120"/>
              <a:gd name="T20" fmla="*/ 2147483647 w 50"/>
              <a:gd name="T21" fmla="*/ 2147483647 h 120"/>
              <a:gd name="T22" fmla="*/ 2147483647 w 50"/>
              <a:gd name="T23" fmla="*/ 2147483647 h 120"/>
              <a:gd name="T24" fmla="*/ 2147483647 w 50"/>
              <a:gd name="T25" fmla="*/ 2147483647 h 120"/>
              <a:gd name="T26" fmla="*/ 2147483647 w 50"/>
              <a:gd name="T27" fmla="*/ 2147483647 h 120"/>
              <a:gd name="T28" fmla="*/ 2147483647 w 50"/>
              <a:gd name="T29" fmla="*/ 2147483647 h 120"/>
              <a:gd name="T30" fmla="*/ 2147483647 w 50"/>
              <a:gd name="T31" fmla="*/ 2147483647 h 120"/>
              <a:gd name="T32" fmla="*/ 0 w 50"/>
              <a:gd name="T33" fmla="*/ 2147483647 h 120"/>
              <a:gd name="T34" fmla="*/ 2147483647 w 50"/>
              <a:gd name="T35" fmla="*/ 2147483647 h 1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50"/>
              <a:gd name="T55" fmla="*/ 0 h 120"/>
              <a:gd name="T56" fmla="*/ 50 w 50"/>
              <a:gd name="T57" fmla="*/ 120 h 12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50" h="120">
                <a:moveTo>
                  <a:pt x="4" y="50"/>
                </a:moveTo>
                <a:lnTo>
                  <a:pt x="10" y="44"/>
                </a:lnTo>
                <a:lnTo>
                  <a:pt x="12" y="18"/>
                </a:lnTo>
                <a:lnTo>
                  <a:pt x="14" y="14"/>
                </a:lnTo>
                <a:lnTo>
                  <a:pt x="8" y="0"/>
                </a:lnTo>
                <a:lnTo>
                  <a:pt x="22" y="0"/>
                </a:lnTo>
                <a:lnTo>
                  <a:pt x="30" y="12"/>
                </a:lnTo>
                <a:lnTo>
                  <a:pt x="32" y="30"/>
                </a:lnTo>
                <a:lnTo>
                  <a:pt x="28" y="46"/>
                </a:lnTo>
                <a:lnTo>
                  <a:pt x="34" y="62"/>
                </a:lnTo>
                <a:lnTo>
                  <a:pt x="48" y="78"/>
                </a:lnTo>
                <a:lnTo>
                  <a:pt x="50" y="106"/>
                </a:lnTo>
                <a:lnTo>
                  <a:pt x="40" y="120"/>
                </a:lnTo>
                <a:lnTo>
                  <a:pt x="28" y="108"/>
                </a:lnTo>
                <a:lnTo>
                  <a:pt x="30" y="78"/>
                </a:lnTo>
                <a:lnTo>
                  <a:pt x="10" y="78"/>
                </a:lnTo>
                <a:lnTo>
                  <a:pt x="0" y="64"/>
                </a:lnTo>
                <a:lnTo>
                  <a:pt x="4" y="5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39" name="Freeform 119">
            <a:extLst>
              <a:ext uri="{FF2B5EF4-FFF2-40B4-BE49-F238E27FC236}">
                <a16:creationId xmlns:a16="http://schemas.microsoft.com/office/drawing/2014/main" id="{56E6908F-C9E3-938D-254A-310EA40FC702}"/>
              </a:ext>
            </a:extLst>
          </p:cNvPr>
          <p:cNvSpPr>
            <a:spLocks/>
          </p:cNvSpPr>
          <p:nvPr/>
        </p:nvSpPr>
        <p:spPr bwMode="auto">
          <a:xfrm>
            <a:off x="5907618" y="5175251"/>
            <a:ext cx="357717" cy="311151"/>
          </a:xfrm>
          <a:custGeom>
            <a:avLst/>
            <a:gdLst>
              <a:gd name="T0" fmla="*/ 2147483647 w 184"/>
              <a:gd name="T1" fmla="*/ 2147483647 h 156"/>
              <a:gd name="T2" fmla="*/ 2147483647 w 184"/>
              <a:gd name="T3" fmla="*/ 2147483647 h 156"/>
              <a:gd name="T4" fmla="*/ 2147483647 w 184"/>
              <a:gd name="T5" fmla="*/ 2147483647 h 156"/>
              <a:gd name="T6" fmla="*/ 2147483647 w 184"/>
              <a:gd name="T7" fmla="*/ 2147483647 h 156"/>
              <a:gd name="T8" fmla="*/ 0 w 184"/>
              <a:gd name="T9" fmla="*/ 2147483647 h 156"/>
              <a:gd name="T10" fmla="*/ 2147483647 w 184"/>
              <a:gd name="T11" fmla="*/ 2147483647 h 156"/>
              <a:gd name="T12" fmla="*/ 2147483647 w 184"/>
              <a:gd name="T13" fmla="*/ 2147483647 h 156"/>
              <a:gd name="T14" fmla="*/ 2147483647 w 184"/>
              <a:gd name="T15" fmla="*/ 2147483647 h 156"/>
              <a:gd name="T16" fmla="*/ 2147483647 w 184"/>
              <a:gd name="T17" fmla="*/ 2147483647 h 156"/>
              <a:gd name="T18" fmla="*/ 2147483647 w 184"/>
              <a:gd name="T19" fmla="*/ 2147483647 h 156"/>
              <a:gd name="T20" fmla="*/ 2147483647 w 184"/>
              <a:gd name="T21" fmla="*/ 2147483647 h 156"/>
              <a:gd name="T22" fmla="*/ 2147483647 w 184"/>
              <a:gd name="T23" fmla="*/ 2147483647 h 156"/>
              <a:gd name="T24" fmla="*/ 2147483647 w 184"/>
              <a:gd name="T25" fmla="*/ 2147483647 h 156"/>
              <a:gd name="T26" fmla="*/ 2147483647 w 184"/>
              <a:gd name="T27" fmla="*/ 2147483647 h 156"/>
              <a:gd name="T28" fmla="*/ 2147483647 w 184"/>
              <a:gd name="T29" fmla="*/ 2147483647 h 156"/>
              <a:gd name="T30" fmla="*/ 2147483647 w 184"/>
              <a:gd name="T31" fmla="*/ 2147483647 h 156"/>
              <a:gd name="T32" fmla="*/ 2147483647 w 184"/>
              <a:gd name="T33" fmla="*/ 2147483647 h 156"/>
              <a:gd name="T34" fmla="*/ 2147483647 w 184"/>
              <a:gd name="T35" fmla="*/ 2147483647 h 156"/>
              <a:gd name="T36" fmla="*/ 2147483647 w 184"/>
              <a:gd name="T37" fmla="*/ 2147483647 h 156"/>
              <a:gd name="T38" fmla="*/ 2147483647 w 184"/>
              <a:gd name="T39" fmla="*/ 0 h 156"/>
              <a:gd name="T40" fmla="*/ 2147483647 w 184"/>
              <a:gd name="T41" fmla="*/ 0 h 156"/>
              <a:gd name="T42" fmla="*/ 2147483647 w 184"/>
              <a:gd name="T43" fmla="*/ 2147483647 h 156"/>
              <a:gd name="T44" fmla="*/ 2147483647 w 184"/>
              <a:gd name="T45" fmla="*/ 2147483647 h 156"/>
              <a:gd name="T46" fmla="*/ 2147483647 w 184"/>
              <a:gd name="T47" fmla="*/ 2147483647 h 156"/>
              <a:gd name="T48" fmla="*/ 2147483647 w 184"/>
              <a:gd name="T49" fmla="*/ 2147483647 h 156"/>
              <a:gd name="T50" fmla="*/ 2147483647 w 184"/>
              <a:gd name="T51" fmla="*/ 2147483647 h 156"/>
              <a:gd name="T52" fmla="*/ 2147483647 w 184"/>
              <a:gd name="T53" fmla="*/ 2147483647 h 156"/>
              <a:gd name="T54" fmla="*/ 2147483647 w 184"/>
              <a:gd name="T55" fmla="*/ 2147483647 h 156"/>
              <a:gd name="T56" fmla="*/ 2147483647 w 184"/>
              <a:gd name="T57" fmla="*/ 2147483647 h 156"/>
              <a:gd name="T58" fmla="*/ 2147483647 w 184"/>
              <a:gd name="T59" fmla="*/ 2147483647 h 156"/>
              <a:gd name="T60" fmla="*/ 2147483647 w 184"/>
              <a:gd name="T61" fmla="*/ 2147483647 h 156"/>
              <a:gd name="T62" fmla="*/ 2147483647 w 184"/>
              <a:gd name="T63" fmla="*/ 2147483647 h 156"/>
              <a:gd name="T64" fmla="*/ 2147483647 w 184"/>
              <a:gd name="T65" fmla="*/ 2147483647 h 156"/>
              <a:gd name="T66" fmla="*/ 2147483647 w 184"/>
              <a:gd name="T67" fmla="*/ 2147483647 h 156"/>
              <a:gd name="T68" fmla="*/ 2147483647 w 184"/>
              <a:gd name="T69" fmla="*/ 2147483647 h 15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84"/>
              <a:gd name="T106" fmla="*/ 0 h 156"/>
              <a:gd name="T107" fmla="*/ 184 w 184"/>
              <a:gd name="T108" fmla="*/ 156 h 15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84" h="156">
                <a:moveTo>
                  <a:pt x="52" y="156"/>
                </a:moveTo>
                <a:lnTo>
                  <a:pt x="46" y="150"/>
                </a:lnTo>
                <a:lnTo>
                  <a:pt x="20" y="148"/>
                </a:lnTo>
                <a:lnTo>
                  <a:pt x="2" y="128"/>
                </a:lnTo>
                <a:lnTo>
                  <a:pt x="0" y="76"/>
                </a:lnTo>
                <a:lnTo>
                  <a:pt x="30" y="76"/>
                </a:lnTo>
                <a:lnTo>
                  <a:pt x="30" y="42"/>
                </a:lnTo>
                <a:lnTo>
                  <a:pt x="48" y="50"/>
                </a:lnTo>
                <a:lnTo>
                  <a:pt x="68" y="58"/>
                </a:lnTo>
                <a:lnTo>
                  <a:pt x="82" y="52"/>
                </a:lnTo>
                <a:lnTo>
                  <a:pt x="90" y="64"/>
                </a:lnTo>
                <a:lnTo>
                  <a:pt x="102" y="70"/>
                </a:lnTo>
                <a:lnTo>
                  <a:pt x="110" y="82"/>
                </a:lnTo>
                <a:lnTo>
                  <a:pt x="124" y="82"/>
                </a:lnTo>
                <a:lnTo>
                  <a:pt x="124" y="64"/>
                </a:lnTo>
                <a:lnTo>
                  <a:pt x="110" y="58"/>
                </a:lnTo>
                <a:lnTo>
                  <a:pt x="100" y="48"/>
                </a:lnTo>
                <a:lnTo>
                  <a:pt x="104" y="26"/>
                </a:lnTo>
                <a:lnTo>
                  <a:pt x="102" y="8"/>
                </a:lnTo>
                <a:lnTo>
                  <a:pt x="118" y="0"/>
                </a:lnTo>
                <a:lnTo>
                  <a:pt x="136" y="0"/>
                </a:lnTo>
                <a:lnTo>
                  <a:pt x="178" y="20"/>
                </a:lnTo>
                <a:lnTo>
                  <a:pt x="184" y="34"/>
                </a:lnTo>
                <a:lnTo>
                  <a:pt x="180" y="40"/>
                </a:lnTo>
                <a:lnTo>
                  <a:pt x="180" y="64"/>
                </a:lnTo>
                <a:lnTo>
                  <a:pt x="174" y="70"/>
                </a:lnTo>
                <a:lnTo>
                  <a:pt x="170" y="84"/>
                </a:lnTo>
                <a:lnTo>
                  <a:pt x="180" y="98"/>
                </a:lnTo>
                <a:lnTo>
                  <a:pt x="134" y="106"/>
                </a:lnTo>
                <a:lnTo>
                  <a:pt x="134" y="122"/>
                </a:lnTo>
                <a:lnTo>
                  <a:pt x="114" y="120"/>
                </a:lnTo>
                <a:lnTo>
                  <a:pt x="106" y="134"/>
                </a:lnTo>
                <a:lnTo>
                  <a:pt x="94" y="136"/>
                </a:lnTo>
                <a:lnTo>
                  <a:pt x="80" y="154"/>
                </a:lnTo>
                <a:lnTo>
                  <a:pt x="52" y="15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0" name="Freeform 120">
            <a:extLst>
              <a:ext uri="{FF2B5EF4-FFF2-40B4-BE49-F238E27FC236}">
                <a16:creationId xmlns:a16="http://schemas.microsoft.com/office/drawing/2014/main" id="{282B7D22-8FC1-728B-37E3-07EE66C8F37F}"/>
              </a:ext>
            </a:extLst>
          </p:cNvPr>
          <p:cNvSpPr>
            <a:spLocks/>
          </p:cNvSpPr>
          <p:nvPr/>
        </p:nvSpPr>
        <p:spPr bwMode="auto">
          <a:xfrm>
            <a:off x="6138333" y="4955118"/>
            <a:ext cx="338667" cy="336551"/>
          </a:xfrm>
          <a:custGeom>
            <a:avLst/>
            <a:gdLst>
              <a:gd name="T0" fmla="*/ 2147483647 w 174"/>
              <a:gd name="T1" fmla="*/ 2147483647 h 170"/>
              <a:gd name="T2" fmla="*/ 2147483647 w 174"/>
              <a:gd name="T3" fmla="*/ 2147483647 h 170"/>
              <a:gd name="T4" fmla="*/ 2147483647 w 174"/>
              <a:gd name="T5" fmla="*/ 2147483647 h 170"/>
              <a:gd name="T6" fmla="*/ 0 w 174"/>
              <a:gd name="T7" fmla="*/ 2147483647 h 170"/>
              <a:gd name="T8" fmla="*/ 2147483647 w 174"/>
              <a:gd name="T9" fmla="*/ 2147483647 h 170"/>
              <a:gd name="T10" fmla="*/ 2147483647 w 174"/>
              <a:gd name="T11" fmla="*/ 2147483647 h 170"/>
              <a:gd name="T12" fmla="*/ 2147483647 w 174"/>
              <a:gd name="T13" fmla="*/ 2147483647 h 170"/>
              <a:gd name="T14" fmla="*/ 2147483647 w 174"/>
              <a:gd name="T15" fmla="*/ 0 h 170"/>
              <a:gd name="T16" fmla="*/ 2147483647 w 174"/>
              <a:gd name="T17" fmla="*/ 0 h 170"/>
              <a:gd name="T18" fmla="*/ 2147483647 w 174"/>
              <a:gd name="T19" fmla="*/ 2147483647 h 170"/>
              <a:gd name="T20" fmla="*/ 2147483647 w 174"/>
              <a:gd name="T21" fmla="*/ 2147483647 h 170"/>
              <a:gd name="T22" fmla="*/ 2147483647 w 174"/>
              <a:gd name="T23" fmla="*/ 2147483647 h 170"/>
              <a:gd name="T24" fmla="*/ 2147483647 w 174"/>
              <a:gd name="T25" fmla="*/ 2147483647 h 170"/>
              <a:gd name="T26" fmla="*/ 2147483647 w 174"/>
              <a:gd name="T27" fmla="*/ 2147483647 h 170"/>
              <a:gd name="T28" fmla="*/ 2147483647 w 174"/>
              <a:gd name="T29" fmla="*/ 2147483647 h 170"/>
              <a:gd name="T30" fmla="*/ 2147483647 w 174"/>
              <a:gd name="T31" fmla="*/ 2147483647 h 170"/>
              <a:gd name="T32" fmla="*/ 2147483647 w 174"/>
              <a:gd name="T33" fmla="*/ 2147483647 h 170"/>
              <a:gd name="T34" fmla="*/ 2147483647 w 174"/>
              <a:gd name="T35" fmla="*/ 2147483647 h 170"/>
              <a:gd name="T36" fmla="*/ 2147483647 w 174"/>
              <a:gd name="T37" fmla="*/ 2147483647 h 170"/>
              <a:gd name="T38" fmla="*/ 2147483647 w 174"/>
              <a:gd name="T39" fmla="*/ 2147483647 h 170"/>
              <a:gd name="T40" fmla="*/ 2147483647 w 174"/>
              <a:gd name="T41" fmla="*/ 2147483647 h 170"/>
              <a:gd name="T42" fmla="*/ 2147483647 w 174"/>
              <a:gd name="T43" fmla="*/ 2147483647 h 170"/>
              <a:gd name="T44" fmla="*/ 2147483647 w 174"/>
              <a:gd name="T45" fmla="*/ 2147483647 h 170"/>
              <a:gd name="T46" fmla="*/ 2147483647 w 174"/>
              <a:gd name="T47" fmla="*/ 2147483647 h 170"/>
              <a:gd name="T48" fmla="*/ 2147483647 w 174"/>
              <a:gd name="T49" fmla="*/ 2147483647 h 170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74"/>
              <a:gd name="T76" fmla="*/ 0 h 170"/>
              <a:gd name="T77" fmla="*/ 174 w 174"/>
              <a:gd name="T78" fmla="*/ 170 h 170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74" h="170">
                <a:moveTo>
                  <a:pt x="18" y="116"/>
                </a:moveTo>
                <a:lnTo>
                  <a:pt x="16" y="100"/>
                </a:lnTo>
                <a:lnTo>
                  <a:pt x="2" y="82"/>
                </a:lnTo>
                <a:lnTo>
                  <a:pt x="0" y="56"/>
                </a:lnTo>
                <a:lnTo>
                  <a:pt x="20" y="34"/>
                </a:lnTo>
                <a:lnTo>
                  <a:pt x="16" y="20"/>
                </a:lnTo>
                <a:lnTo>
                  <a:pt x="22" y="12"/>
                </a:lnTo>
                <a:lnTo>
                  <a:pt x="16" y="0"/>
                </a:lnTo>
                <a:lnTo>
                  <a:pt x="38" y="0"/>
                </a:lnTo>
                <a:lnTo>
                  <a:pt x="76" y="2"/>
                </a:lnTo>
                <a:lnTo>
                  <a:pt x="128" y="30"/>
                </a:lnTo>
                <a:lnTo>
                  <a:pt x="132" y="40"/>
                </a:lnTo>
                <a:lnTo>
                  <a:pt x="156" y="58"/>
                </a:lnTo>
                <a:lnTo>
                  <a:pt x="150" y="72"/>
                </a:lnTo>
                <a:lnTo>
                  <a:pt x="148" y="86"/>
                </a:lnTo>
                <a:lnTo>
                  <a:pt x="156" y="98"/>
                </a:lnTo>
                <a:lnTo>
                  <a:pt x="156" y="126"/>
                </a:lnTo>
                <a:lnTo>
                  <a:pt x="174" y="150"/>
                </a:lnTo>
                <a:lnTo>
                  <a:pt x="158" y="160"/>
                </a:lnTo>
                <a:lnTo>
                  <a:pt x="132" y="170"/>
                </a:lnTo>
                <a:lnTo>
                  <a:pt x="84" y="166"/>
                </a:lnTo>
                <a:lnTo>
                  <a:pt x="82" y="148"/>
                </a:lnTo>
                <a:lnTo>
                  <a:pt x="74" y="136"/>
                </a:lnTo>
                <a:lnTo>
                  <a:pt x="60" y="136"/>
                </a:lnTo>
                <a:lnTo>
                  <a:pt x="18" y="11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1" name="Freeform 121">
            <a:extLst>
              <a:ext uri="{FF2B5EF4-FFF2-40B4-BE49-F238E27FC236}">
                <a16:creationId xmlns:a16="http://schemas.microsoft.com/office/drawing/2014/main" id="{F57E48B5-9594-F3AA-3E9D-CA635F0559A1}"/>
              </a:ext>
            </a:extLst>
          </p:cNvPr>
          <p:cNvSpPr>
            <a:spLocks/>
          </p:cNvSpPr>
          <p:nvPr/>
        </p:nvSpPr>
        <p:spPr bwMode="auto">
          <a:xfrm>
            <a:off x="6129867" y="4993218"/>
            <a:ext cx="48684" cy="78317"/>
          </a:xfrm>
          <a:custGeom>
            <a:avLst/>
            <a:gdLst>
              <a:gd name="T0" fmla="*/ 2147483647 w 22"/>
              <a:gd name="T1" fmla="*/ 0 h 36"/>
              <a:gd name="T2" fmla="*/ 2147483647 w 22"/>
              <a:gd name="T3" fmla="*/ 2147483647 h 36"/>
              <a:gd name="T4" fmla="*/ 0 w 22"/>
              <a:gd name="T5" fmla="*/ 2147483647 h 36"/>
              <a:gd name="T6" fmla="*/ 2147483647 w 22"/>
              <a:gd name="T7" fmla="*/ 2147483647 h 36"/>
              <a:gd name="T8" fmla="*/ 2147483647 w 22"/>
              <a:gd name="T9" fmla="*/ 2147483647 h 36"/>
              <a:gd name="T10" fmla="*/ 2147483647 w 22"/>
              <a:gd name="T11" fmla="*/ 0 h 3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2"/>
              <a:gd name="T19" fmla="*/ 0 h 36"/>
              <a:gd name="T20" fmla="*/ 22 w 22"/>
              <a:gd name="T21" fmla="*/ 36 h 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2" h="36">
                <a:moveTo>
                  <a:pt x="18" y="0"/>
                </a:moveTo>
                <a:lnTo>
                  <a:pt x="10" y="2"/>
                </a:lnTo>
                <a:lnTo>
                  <a:pt x="0" y="12"/>
                </a:lnTo>
                <a:lnTo>
                  <a:pt x="2" y="36"/>
                </a:lnTo>
                <a:lnTo>
                  <a:pt x="22" y="14"/>
                </a:lnTo>
                <a:lnTo>
                  <a:pt x="18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2" name="Freeform 122">
            <a:extLst>
              <a:ext uri="{FF2B5EF4-FFF2-40B4-BE49-F238E27FC236}">
                <a16:creationId xmlns:a16="http://schemas.microsoft.com/office/drawing/2014/main" id="{ADF91DA6-4472-C1D9-7408-02C755132038}"/>
              </a:ext>
            </a:extLst>
          </p:cNvPr>
          <p:cNvSpPr>
            <a:spLocks/>
          </p:cNvSpPr>
          <p:nvPr/>
        </p:nvSpPr>
        <p:spPr bwMode="auto">
          <a:xfrm>
            <a:off x="6121401" y="4955118"/>
            <a:ext cx="57151" cy="57151"/>
          </a:xfrm>
          <a:custGeom>
            <a:avLst/>
            <a:gdLst>
              <a:gd name="T0" fmla="*/ 2147483647 w 30"/>
              <a:gd name="T1" fmla="*/ 2147483647 h 32"/>
              <a:gd name="T2" fmla="*/ 2147483647 w 30"/>
              <a:gd name="T3" fmla="*/ 0 h 32"/>
              <a:gd name="T4" fmla="*/ 2147483647 w 30"/>
              <a:gd name="T5" fmla="*/ 2147483647 h 32"/>
              <a:gd name="T6" fmla="*/ 2147483647 w 30"/>
              <a:gd name="T7" fmla="*/ 2147483647 h 32"/>
              <a:gd name="T8" fmla="*/ 2147483647 w 30"/>
              <a:gd name="T9" fmla="*/ 2147483647 h 32"/>
              <a:gd name="T10" fmla="*/ 2147483647 w 30"/>
              <a:gd name="T11" fmla="*/ 2147483647 h 32"/>
              <a:gd name="T12" fmla="*/ 0 w 30"/>
              <a:gd name="T13" fmla="*/ 2147483647 h 32"/>
              <a:gd name="T14" fmla="*/ 2147483647 w 30"/>
              <a:gd name="T15" fmla="*/ 2147483647 h 3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0"/>
              <a:gd name="T25" fmla="*/ 0 h 32"/>
              <a:gd name="T26" fmla="*/ 30 w 30"/>
              <a:gd name="T27" fmla="*/ 32 h 3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0" h="32">
                <a:moveTo>
                  <a:pt x="10" y="2"/>
                </a:moveTo>
                <a:lnTo>
                  <a:pt x="24" y="0"/>
                </a:lnTo>
                <a:lnTo>
                  <a:pt x="30" y="12"/>
                </a:lnTo>
                <a:lnTo>
                  <a:pt x="24" y="20"/>
                </a:lnTo>
                <a:lnTo>
                  <a:pt x="16" y="22"/>
                </a:lnTo>
                <a:lnTo>
                  <a:pt x="6" y="32"/>
                </a:lnTo>
                <a:lnTo>
                  <a:pt x="0" y="16"/>
                </a:lnTo>
                <a:lnTo>
                  <a:pt x="10" y="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3" name="Freeform 123">
            <a:extLst>
              <a:ext uri="{FF2B5EF4-FFF2-40B4-BE49-F238E27FC236}">
                <a16:creationId xmlns:a16="http://schemas.microsoft.com/office/drawing/2014/main" id="{59509FB2-74A1-6A0D-9D13-C99CA6300961}"/>
              </a:ext>
            </a:extLst>
          </p:cNvPr>
          <p:cNvSpPr>
            <a:spLocks/>
          </p:cNvSpPr>
          <p:nvPr/>
        </p:nvSpPr>
        <p:spPr bwMode="auto">
          <a:xfrm>
            <a:off x="6138334" y="4790018"/>
            <a:ext cx="165100" cy="165100"/>
          </a:xfrm>
          <a:custGeom>
            <a:avLst/>
            <a:gdLst>
              <a:gd name="T0" fmla="*/ 0 w 86"/>
              <a:gd name="T1" fmla="*/ 2147483647 h 84"/>
              <a:gd name="T2" fmla="*/ 2147483647 w 86"/>
              <a:gd name="T3" fmla="*/ 2147483647 h 84"/>
              <a:gd name="T4" fmla="*/ 2147483647 w 86"/>
              <a:gd name="T5" fmla="*/ 2147483647 h 84"/>
              <a:gd name="T6" fmla="*/ 2147483647 w 86"/>
              <a:gd name="T7" fmla="*/ 2147483647 h 84"/>
              <a:gd name="T8" fmla="*/ 2147483647 w 86"/>
              <a:gd name="T9" fmla="*/ 2147483647 h 84"/>
              <a:gd name="T10" fmla="*/ 2147483647 w 86"/>
              <a:gd name="T11" fmla="*/ 2147483647 h 84"/>
              <a:gd name="T12" fmla="*/ 2147483647 w 86"/>
              <a:gd name="T13" fmla="*/ 2147483647 h 84"/>
              <a:gd name="T14" fmla="*/ 2147483647 w 86"/>
              <a:gd name="T15" fmla="*/ 0 h 84"/>
              <a:gd name="T16" fmla="*/ 2147483647 w 86"/>
              <a:gd name="T17" fmla="*/ 2147483647 h 84"/>
              <a:gd name="T18" fmla="*/ 2147483647 w 86"/>
              <a:gd name="T19" fmla="*/ 2147483647 h 84"/>
              <a:gd name="T20" fmla="*/ 2147483647 w 86"/>
              <a:gd name="T21" fmla="*/ 2147483647 h 84"/>
              <a:gd name="T22" fmla="*/ 2147483647 w 86"/>
              <a:gd name="T23" fmla="*/ 2147483647 h 84"/>
              <a:gd name="T24" fmla="*/ 2147483647 w 86"/>
              <a:gd name="T25" fmla="*/ 2147483647 h 84"/>
              <a:gd name="T26" fmla="*/ 2147483647 w 86"/>
              <a:gd name="T27" fmla="*/ 2147483647 h 84"/>
              <a:gd name="T28" fmla="*/ 2147483647 w 86"/>
              <a:gd name="T29" fmla="*/ 2147483647 h 84"/>
              <a:gd name="T30" fmla="*/ 0 w 86"/>
              <a:gd name="T31" fmla="*/ 2147483647 h 84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86"/>
              <a:gd name="T49" fmla="*/ 0 h 84"/>
              <a:gd name="T50" fmla="*/ 86 w 86"/>
              <a:gd name="T51" fmla="*/ 84 h 84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86" h="84">
                <a:moveTo>
                  <a:pt x="0" y="84"/>
                </a:moveTo>
                <a:lnTo>
                  <a:pt x="2" y="64"/>
                </a:lnTo>
                <a:lnTo>
                  <a:pt x="6" y="52"/>
                </a:lnTo>
                <a:lnTo>
                  <a:pt x="26" y="34"/>
                </a:lnTo>
                <a:lnTo>
                  <a:pt x="26" y="30"/>
                </a:lnTo>
                <a:lnTo>
                  <a:pt x="20" y="28"/>
                </a:lnTo>
                <a:lnTo>
                  <a:pt x="16" y="4"/>
                </a:lnTo>
                <a:lnTo>
                  <a:pt x="68" y="0"/>
                </a:lnTo>
                <a:lnTo>
                  <a:pt x="80" y="20"/>
                </a:lnTo>
                <a:lnTo>
                  <a:pt x="86" y="42"/>
                </a:lnTo>
                <a:lnTo>
                  <a:pt x="72" y="58"/>
                </a:lnTo>
                <a:lnTo>
                  <a:pt x="76" y="72"/>
                </a:lnTo>
                <a:lnTo>
                  <a:pt x="70" y="84"/>
                </a:lnTo>
                <a:lnTo>
                  <a:pt x="36" y="82"/>
                </a:lnTo>
                <a:lnTo>
                  <a:pt x="14" y="82"/>
                </a:lnTo>
                <a:lnTo>
                  <a:pt x="0" y="8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4" name="Freeform 124">
            <a:extLst>
              <a:ext uri="{FF2B5EF4-FFF2-40B4-BE49-F238E27FC236}">
                <a16:creationId xmlns:a16="http://schemas.microsoft.com/office/drawing/2014/main" id="{0B6015C3-B698-858F-56B7-80CB0C7EEF7D}"/>
              </a:ext>
            </a:extLst>
          </p:cNvPr>
          <p:cNvSpPr>
            <a:spLocks/>
          </p:cNvSpPr>
          <p:nvPr/>
        </p:nvSpPr>
        <p:spPr bwMode="auto">
          <a:xfrm>
            <a:off x="5596467" y="5099051"/>
            <a:ext cx="406400" cy="404284"/>
          </a:xfrm>
          <a:custGeom>
            <a:avLst/>
            <a:gdLst>
              <a:gd name="T0" fmla="*/ 0 w 210"/>
              <a:gd name="T1" fmla="*/ 2147483647 h 204"/>
              <a:gd name="T2" fmla="*/ 0 w 210"/>
              <a:gd name="T3" fmla="*/ 2147483647 h 204"/>
              <a:gd name="T4" fmla="*/ 2147483647 w 210"/>
              <a:gd name="T5" fmla="*/ 2147483647 h 204"/>
              <a:gd name="T6" fmla="*/ 2147483647 w 210"/>
              <a:gd name="T7" fmla="*/ 2147483647 h 204"/>
              <a:gd name="T8" fmla="*/ 2147483647 w 210"/>
              <a:gd name="T9" fmla="*/ 2147483647 h 204"/>
              <a:gd name="T10" fmla="*/ 2147483647 w 210"/>
              <a:gd name="T11" fmla="*/ 2147483647 h 204"/>
              <a:gd name="T12" fmla="*/ 2147483647 w 210"/>
              <a:gd name="T13" fmla="*/ 2147483647 h 204"/>
              <a:gd name="T14" fmla="*/ 0 w 210"/>
              <a:gd name="T15" fmla="*/ 2147483647 h 204"/>
              <a:gd name="T16" fmla="*/ 2147483647 w 210"/>
              <a:gd name="T17" fmla="*/ 0 h 204"/>
              <a:gd name="T18" fmla="*/ 2147483647 w 210"/>
              <a:gd name="T19" fmla="*/ 0 h 204"/>
              <a:gd name="T20" fmla="*/ 2147483647 w 210"/>
              <a:gd name="T21" fmla="*/ 2147483647 h 204"/>
              <a:gd name="T22" fmla="*/ 2147483647 w 210"/>
              <a:gd name="T23" fmla="*/ 2147483647 h 204"/>
              <a:gd name="T24" fmla="*/ 2147483647 w 210"/>
              <a:gd name="T25" fmla="*/ 2147483647 h 204"/>
              <a:gd name="T26" fmla="*/ 2147483647 w 210"/>
              <a:gd name="T27" fmla="*/ 2147483647 h 204"/>
              <a:gd name="T28" fmla="*/ 2147483647 w 210"/>
              <a:gd name="T29" fmla="*/ 2147483647 h 204"/>
              <a:gd name="T30" fmla="*/ 2147483647 w 210"/>
              <a:gd name="T31" fmla="*/ 2147483647 h 204"/>
              <a:gd name="T32" fmla="*/ 2147483647 w 210"/>
              <a:gd name="T33" fmla="*/ 2147483647 h 204"/>
              <a:gd name="T34" fmla="*/ 2147483647 w 210"/>
              <a:gd name="T35" fmla="*/ 2147483647 h 204"/>
              <a:gd name="T36" fmla="*/ 2147483647 w 210"/>
              <a:gd name="T37" fmla="*/ 2147483647 h 204"/>
              <a:gd name="T38" fmla="*/ 2147483647 w 210"/>
              <a:gd name="T39" fmla="*/ 2147483647 h 204"/>
              <a:gd name="T40" fmla="*/ 2147483647 w 210"/>
              <a:gd name="T41" fmla="*/ 2147483647 h 204"/>
              <a:gd name="T42" fmla="*/ 2147483647 w 210"/>
              <a:gd name="T43" fmla="*/ 2147483647 h 204"/>
              <a:gd name="T44" fmla="*/ 2147483647 w 210"/>
              <a:gd name="T45" fmla="*/ 2147483647 h 204"/>
              <a:gd name="T46" fmla="*/ 2147483647 w 210"/>
              <a:gd name="T47" fmla="*/ 2147483647 h 204"/>
              <a:gd name="T48" fmla="*/ 2147483647 w 210"/>
              <a:gd name="T49" fmla="*/ 2147483647 h 204"/>
              <a:gd name="T50" fmla="*/ 2147483647 w 210"/>
              <a:gd name="T51" fmla="*/ 2147483647 h 204"/>
              <a:gd name="T52" fmla="*/ 2147483647 w 210"/>
              <a:gd name="T53" fmla="*/ 2147483647 h 204"/>
              <a:gd name="T54" fmla="*/ 2147483647 w 210"/>
              <a:gd name="T55" fmla="*/ 2147483647 h 204"/>
              <a:gd name="T56" fmla="*/ 2147483647 w 210"/>
              <a:gd name="T57" fmla="*/ 2147483647 h 204"/>
              <a:gd name="T58" fmla="*/ 2147483647 w 210"/>
              <a:gd name="T59" fmla="*/ 2147483647 h 204"/>
              <a:gd name="T60" fmla="*/ 2147483647 w 210"/>
              <a:gd name="T61" fmla="*/ 2147483647 h 204"/>
              <a:gd name="T62" fmla="*/ 2147483647 w 210"/>
              <a:gd name="T63" fmla="*/ 2147483647 h 204"/>
              <a:gd name="T64" fmla="*/ 0 w 210"/>
              <a:gd name="T65" fmla="*/ 2147483647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10"/>
              <a:gd name="T100" fmla="*/ 0 h 204"/>
              <a:gd name="T101" fmla="*/ 210 w 210"/>
              <a:gd name="T102" fmla="*/ 204 h 20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10" h="204">
                <a:moveTo>
                  <a:pt x="0" y="186"/>
                </a:moveTo>
                <a:lnTo>
                  <a:pt x="0" y="162"/>
                </a:lnTo>
                <a:lnTo>
                  <a:pt x="8" y="126"/>
                </a:lnTo>
                <a:lnTo>
                  <a:pt x="28" y="94"/>
                </a:lnTo>
                <a:lnTo>
                  <a:pt x="28" y="78"/>
                </a:lnTo>
                <a:lnTo>
                  <a:pt x="16" y="52"/>
                </a:lnTo>
                <a:lnTo>
                  <a:pt x="20" y="38"/>
                </a:lnTo>
                <a:lnTo>
                  <a:pt x="0" y="2"/>
                </a:lnTo>
                <a:lnTo>
                  <a:pt x="10" y="0"/>
                </a:lnTo>
                <a:lnTo>
                  <a:pt x="72" y="0"/>
                </a:lnTo>
                <a:lnTo>
                  <a:pt x="76" y="14"/>
                </a:lnTo>
                <a:lnTo>
                  <a:pt x="86" y="32"/>
                </a:lnTo>
                <a:lnTo>
                  <a:pt x="116" y="34"/>
                </a:lnTo>
                <a:lnTo>
                  <a:pt x="126" y="18"/>
                </a:lnTo>
                <a:lnTo>
                  <a:pt x="152" y="24"/>
                </a:lnTo>
                <a:lnTo>
                  <a:pt x="154" y="64"/>
                </a:lnTo>
                <a:lnTo>
                  <a:pt x="164" y="70"/>
                </a:lnTo>
                <a:lnTo>
                  <a:pt x="162" y="82"/>
                </a:lnTo>
                <a:lnTo>
                  <a:pt x="188" y="82"/>
                </a:lnTo>
                <a:lnTo>
                  <a:pt x="188" y="116"/>
                </a:lnTo>
                <a:lnTo>
                  <a:pt x="158" y="116"/>
                </a:lnTo>
                <a:lnTo>
                  <a:pt x="160" y="168"/>
                </a:lnTo>
                <a:lnTo>
                  <a:pt x="178" y="188"/>
                </a:lnTo>
                <a:lnTo>
                  <a:pt x="204" y="190"/>
                </a:lnTo>
                <a:lnTo>
                  <a:pt x="210" y="196"/>
                </a:lnTo>
                <a:lnTo>
                  <a:pt x="204" y="196"/>
                </a:lnTo>
                <a:lnTo>
                  <a:pt x="182" y="204"/>
                </a:lnTo>
                <a:lnTo>
                  <a:pt x="176" y="196"/>
                </a:lnTo>
                <a:lnTo>
                  <a:pt x="142" y="200"/>
                </a:lnTo>
                <a:lnTo>
                  <a:pt x="134" y="194"/>
                </a:lnTo>
                <a:lnTo>
                  <a:pt x="106" y="192"/>
                </a:lnTo>
                <a:lnTo>
                  <a:pt x="98" y="186"/>
                </a:lnTo>
                <a:lnTo>
                  <a:pt x="0" y="18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5" name="Freeform 125">
            <a:extLst>
              <a:ext uri="{FF2B5EF4-FFF2-40B4-BE49-F238E27FC236}">
                <a16:creationId xmlns:a16="http://schemas.microsoft.com/office/drawing/2014/main" id="{167DF267-6B4E-D2B0-76A7-ECD4728BE95A}"/>
              </a:ext>
            </a:extLst>
          </p:cNvPr>
          <p:cNvSpPr>
            <a:spLocks/>
          </p:cNvSpPr>
          <p:nvPr/>
        </p:nvSpPr>
        <p:spPr bwMode="auto">
          <a:xfrm>
            <a:off x="5607051" y="4749801"/>
            <a:ext cx="579967" cy="590551"/>
          </a:xfrm>
          <a:custGeom>
            <a:avLst/>
            <a:gdLst>
              <a:gd name="T0" fmla="*/ 0 w 298"/>
              <a:gd name="T1" fmla="*/ 2147483647 h 300"/>
              <a:gd name="T2" fmla="*/ 2147483647 w 298"/>
              <a:gd name="T3" fmla="*/ 2147483647 h 300"/>
              <a:gd name="T4" fmla="*/ 2147483647 w 298"/>
              <a:gd name="T5" fmla="*/ 2147483647 h 300"/>
              <a:gd name="T6" fmla="*/ 2147483647 w 298"/>
              <a:gd name="T7" fmla="*/ 2147483647 h 300"/>
              <a:gd name="T8" fmla="*/ 2147483647 w 298"/>
              <a:gd name="T9" fmla="*/ 2147483647 h 300"/>
              <a:gd name="T10" fmla="*/ 2147483647 w 298"/>
              <a:gd name="T11" fmla="*/ 2147483647 h 300"/>
              <a:gd name="T12" fmla="*/ 2147483647 w 298"/>
              <a:gd name="T13" fmla="*/ 2147483647 h 300"/>
              <a:gd name="T14" fmla="*/ 2147483647 w 298"/>
              <a:gd name="T15" fmla="*/ 2147483647 h 300"/>
              <a:gd name="T16" fmla="*/ 2147483647 w 298"/>
              <a:gd name="T17" fmla="*/ 2147483647 h 300"/>
              <a:gd name="T18" fmla="*/ 2147483647 w 298"/>
              <a:gd name="T19" fmla="*/ 2147483647 h 300"/>
              <a:gd name="T20" fmla="*/ 2147483647 w 298"/>
              <a:gd name="T21" fmla="*/ 0 h 300"/>
              <a:gd name="T22" fmla="*/ 2147483647 w 298"/>
              <a:gd name="T23" fmla="*/ 2147483647 h 300"/>
              <a:gd name="T24" fmla="*/ 2147483647 w 298"/>
              <a:gd name="T25" fmla="*/ 2147483647 h 300"/>
              <a:gd name="T26" fmla="*/ 2147483647 w 298"/>
              <a:gd name="T27" fmla="*/ 2147483647 h 300"/>
              <a:gd name="T28" fmla="*/ 2147483647 w 298"/>
              <a:gd name="T29" fmla="*/ 2147483647 h 300"/>
              <a:gd name="T30" fmla="*/ 2147483647 w 298"/>
              <a:gd name="T31" fmla="*/ 2147483647 h 300"/>
              <a:gd name="T32" fmla="*/ 2147483647 w 298"/>
              <a:gd name="T33" fmla="*/ 2147483647 h 300"/>
              <a:gd name="T34" fmla="*/ 2147483647 w 298"/>
              <a:gd name="T35" fmla="*/ 2147483647 h 300"/>
              <a:gd name="T36" fmla="*/ 2147483647 w 298"/>
              <a:gd name="T37" fmla="*/ 2147483647 h 300"/>
              <a:gd name="T38" fmla="*/ 2147483647 w 298"/>
              <a:gd name="T39" fmla="*/ 2147483647 h 300"/>
              <a:gd name="T40" fmla="*/ 2147483647 w 298"/>
              <a:gd name="T41" fmla="*/ 2147483647 h 300"/>
              <a:gd name="T42" fmla="*/ 2147483647 w 298"/>
              <a:gd name="T43" fmla="*/ 2147483647 h 300"/>
              <a:gd name="T44" fmla="*/ 2147483647 w 298"/>
              <a:gd name="T45" fmla="*/ 2147483647 h 300"/>
              <a:gd name="T46" fmla="*/ 2147483647 w 298"/>
              <a:gd name="T47" fmla="*/ 2147483647 h 300"/>
              <a:gd name="T48" fmla="*/ 2147483647 w 298"/>
              <a:gd name="T49" fmla="*/ 2147483647 h 300"/>
              <a:gd name="T50" fmla="*/ 2147483647 w 298"/>
              <a:gd name="T51" fmla="*/ 2147483647 h 300"/>
              <a:gd name="T52" fmla="*/ 2147483647 w 298"/>
              <a:gd name="T53" fmla="*/ 2147483647 h 300"/>
              <a:gd name="T54" fmla="*/ 2147483647 w 298"/>
              <a:gd name="T55" fmla="*/ 2147483647 h 300"/>
              <a:gd name="T56" fmla="*/ 2147483647 w 298"/>
              <a:gd name="T57" fmla="*/ 2147483647 h 300"/>
              <a:gd name="T58" fmla="*/ 2147483647 w 298"/>
              <a:gd name="T59" fmla="*/ 2147483647 h 300"/>
              <a:gd name="T60" fmla="*/ 2147483647 w 298"/>
              <a:gd name="T61" fmla="*/ 2147483647 h 300"/>
              <a:gd name="T62" fmla="*/ 2147483647 w 298"/>
              <a:gd name="T63" fmla="*/ 2147483647 h 300"/>
              <a:gd name="T64" fmla="*/ 2147483647 w 298"/>
              <a:gd name="T65" fmla="*/ 2147483647 h 300"/>
              <a:gd name="T66" fmla="*/ 2147483647 w 298"/>
              <a:gd name="T67" fmla="*/ 2147483647 h 300"/>
              <a:gd name="T68" fmla="*/ 2147483647 w 298"/>
              <a:gd name="T69" fmla="*/ 2147483647 h 300"/>
              <a:gd name="T70" fmla="*/ 2147483647 w 298"/>
              <a:gd name="T71" fmla="*/ 2147483647 h 300"/>
              <a:gd name="T72" fmla="*/ 2147483647 w 298"/>
              <a:gd name="T73" fmla="*/ 2147483647 h 300"/>
              <a:gd name="T74" fmla="*/ 2147483647 w 298"/>
              <a:gd name="T75" fmla="*/ 2147483647 h 300"/>
              <a:gd name="T76" fmla="*/ 2147483647 w 298"/>
              <a:gd name="T77" fmla="*/ 2147483647 h 300"/>
              <a:gd name="T78" fmla="*/ 2147483647 w 298"/>
              <a:gd name="T79" fmla="*/ 2147483647 h 300"/>
              <a:gd name="T80" fmla="*/ 2147483647 w 298"/>
              <a:gd name="T81" fmla="*/ 2147483647 h 300"/>
              <a:gd name="T82" fmla="*/ 2147483647 w 298"/>
              <a:gd name="T83" fmla="*/ 2147483647 h 300"/>
              <a:gd name="T84" fmla="*/ 2147483647 w 298"/>
              <a:gd name="T85" fmla="*/ 2147483647 h 300"/>
              <a:gd name="T86" fmla="*/ 2147483647 w 298"/>
              <a:gd name="T87" fmla="*/ 2147483647 h 300"/>
              <a:gd name="T88" fmla="*/ 2147483647 w 298"/>
              <a:gd name="T89" fmla="*/ 2147483647 h 300"/>
              <a:gd name="T90" fmla="*/ 2147483647 w 298"/>
              <a:gd name="T91" fmla="*/ 2147483647 h 300"/>
              <a:gd name="T92" fmla="*/ 2147483647 w 298"/>
              <a:gd name="T93" fmla="*/ 2147483647 h 300"/>
              <a:gd name="T94" fmla="*/ 2147483647 w 298"/>
              <a:gd name="T95" fmla="*/ 2147483647 h 300"/>
              <a:gd name="T96" fmla="*/ 2147483647 w 298"/>
              <a:gd name="T97" fmla="*/ 2147483647 h 300"/>
              <a:gd name="T98" fmla="*/ 2147483647 w 298"/>
              <a:gd name="T99" fmla="*/ 2147483647 h 300"/>
              <a:gd name="T100" fmla="*/ 2147483647 w 298"/>
              <a:gd name="T101" fmla="*/ 2147483647 h 300"/>
              <a:gd name="T102" fmla="*/ 2147483647 w 298"/>
              <a:gd name="T103" fmla="*/ 2147483647 h 300"/>
              <a:gd name="T104" fmla="*/ 2147483647 w 298"/>
              <a:gd name="T105" fmla="*/ 2147483647 h 300"/>
              <a:gd name="T106" fmla="*/ 2147483647 w 298"/>
              <a:gd name="T107" fmla="*/ 2147483647 h 300"/>
              <a:gd name="T108" fmla="*/ 2147483647 w 298"/>
              <a:gd name="T109" fmla="*/ 2147483647 h 300"/>
              <a:gd name="T110" fmla="*/ 2147483647 w 298"/>
              <a:gd name="T111" fmla="*/ 2147483647 h 300"/>
              <a:gd name="T112" fmla="*/ 0 w 298"/>
              <a:gd name="T113" fmla="*/ 2147483647 h 30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98"/>
              <a:gd name="T172" fmla="*/ 0 h 300"/>
              <a:gd name="T173" fmla="*/ 298 w 298"/>
              <a:gd name="T174" fmla="*/ 300 h 300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98" h="300">
                <a:moveTo>
                  <a:pt x="0" y="176"/>
                </a:moveTo>
                <a:lnTo>
                  <a:pt x="6" y="162"/>
                </a:lnTo>
                <a:lnTo>
                  <a:pt x="14" y="160"/>
                </a:lnTo>
                <a:lnTo>
                  <a:pt x="34" y="156"/>
                </a:lnTo>
                <a:lnTo>
                  <a:pt x="60" y="144"/>
                </a:lnTo>
                <a:lnTo>
                  <a:pt x="64" y="112"/>
                </a:lnTo>
                <a:lnTo>
                  <a:pt x="88" y="74"/>
                </a:lnTo>
                <a:lnTo>
                  <a:pt x="94" y="42"/>
                </a:lnTo>
                <a:lnTo>
                  <a:pt x="96" y="30"/>
                </a:lnTo>
                <a:lnTo>
                  <a:pt x="98" y="16"/>
                </a:lnTo>
                <a:lnTo>
                  <a:pt x="112" y="0"/>
                </a:lnTo>
                <a:lnTo>
                  <a:pt x="126" y="14"/>
                </a:lnTo>
                <a:lnTo>
                  <a:pt x="138" y="18"/>
                </a:lnTo>
                <a:lnTo>
                  <a:pt x="160" y="20"/>
                </a:lnTo>
                <a:lnTo>
                  <a:pt x="172" y="12"/>
                </a:lnTo>
                <a:lnTo>
                  <a:pt x="206" y="2"/>
                </a:lnTo>
                <a:lnTo>
                  <a:pt x="236" y="4"/>
                </a:lnTo>
                <a:lnTo>
                  <a:pt x="244" y="14"/>
                </a:lnTo>
                <a:lnTo>
                  <a:pt x="272" y="12"/>
                </a:lnTo>
                <a:lnTo>
                  <a:pt x="288" y="24"/>
                </a:lnTo>
                <a:lnTo>
                  <a:pt x="292" y="48"/>
                </a:lnTo>
                <a:lnTo>
                  <a:pt x="298" y="50"/>
                </a:lnTo>
                <a:lnTo>
                  <a:pt x="298" y="54"/>
                </a:lnTo>
                <a:lnTo>
                  <a:pt x="278" y="72"/>
                </a:lnTo>
                <a:lnTo>
                  <a:pt x="274" y="84"/>
                </a:lnTo>
                <a:lnTo>
                  <a:pt x="272" y="104"/>
                </a:lnTo>
                <a:lnTo>
                  <a:pt x="262" y="118"/>
                </a:lnTo>
                <a:lnTo>
                  <a:pt x="268" y="134"/>
                </a:lnTo>
                <a:lnTo>
                  <a:pt x="270" y="158"/>
                </a:lnTo>
                <a:lnTo>
                  <a:pt x="270" y="172"/>
                </a:lnTo>
                <a:lnTo>
                  <a:pt x="272" y="184"/>
                </a:lnTo>
                <a:lnTo>
                  <a:pt x="286" y="202"/>
                </a:lnTo>
                <a:lnTo>
                  <a:pt x="288" y="218"/>
                </a:lnTo>
                <a:lnTo>
                  <a:pt x="270" y="218"/>
                </a:lnTo>
                <a:lnTo>
                  <a:pt x="254" y="226"/>
                </a:lnTo>
                <a:lnTo>
                  <a:pt x="256" y="244"/>
                </a:lnTo>
                <a:lnTo>
                  <a:pt x="252" y="266"/>
                </a:lnTo>
                <a:lnTo>
                  <a:pt x="262" y="276"/>
                </a:lnTo>
                <a:lnTo>
                  <a:pt x="276" y="282"/>
                </a:lnTo>
                <a:lnTo>
                  <a:pt x="276" y="300"/>
                </a:lnTo>
                <a:lnTo>
                  <a:pt x="262" y="300"/>
                </a:lnTo>
                <a:lnTo>
                  <a:pt x="254" y="288"/>
                </a:lnTo>
                <a:lnTo>
                  <a:pt x="242" y="282"/>
                </a:lnTo>
                <a:lnTo>
                  <a:pt x="234" y="270"/>
                </a:lnTo>
                <a:lnTo>
                  <a:pt x="220" y="276"/>
                </a:lnTo>
                <a:lnTo>
                  <a:pt x="182" y="260"/>
                </a:lnTo>
                <a:lnTo>
                  <a:pt x="156" y="260"/>
                </a:lnTo>
                <a:lnTo>
                  <a:pt x="158" y="248"/>
                </a:lnTo>
                <a:lnTo>
                  <a:pt x="148" y="242"/>
                </a:lnTo>
                <a:lnTo>
                  <a:pt x="146" y="202"/>
                </a:lnTo>
                <a:lnTo>
                  <a:pt x="120" y="196"/>
                </a:lnTo>
                <a:lnTo>
                  <a:pt x="110" y="212"/>
                </a:lnTo>
                <a:lnTo>
                  <a:pt x="80" y="210"/>
                </a:lnTo>
                <a:lnTo>
                  <a:pt x="70" y="192"/>
                </a:lnTo>
                <a:lnTo>
                  <a:pt x="66" y="178"/>
                </a:lnTo>
                <a:lnTo>
                  <a:pt x="6" y="178"/>
                </a:lnTo>
                <a:lnTo>
                  <a:pt x="0" y="17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6" name="Freeform 126">
            <a:extLst>
              <a:ext uri="{FF2B5EF4-FFF2-40B4-BE49-F238E27FC236}">
                <a16:creationId xmlns:a16="http://schemas.microsoft.com/office/drawing/2014/main" id="{05A14FF5-8AC4-5754-5C94-1DE32BE17C89}"/>
              </a:ext>
            </a:extLst>
          </p:cNvPr>
          <p:cNvSpPr>
            <a:spLocks/>
          </p:cNvSpPr>
          <p:nvPr/>
        </p:nvSpPr>
        <p:spPr bwMode="auto">
          <a:xfrm>
            <a:off x="5596465" y="5060951"/>
            <a:ext cx="19051" cy="38100"/>
          </a:xfrm>
          <a:custGeom>
            <a:avLst/>
            <a:gdLst>
              <a:gd name="T0" fmla="*/ 0 w 12"/>
              <a:gd name="T1" fmla="*/ 2147483647 h 20"/>
              <a:gd name="T2" fmla="*/ 2147483647 w 12"/>
              <a:gd name="T3" fmla="*/ 0 h 20"/>
              <a:gd name="T4" fmla="*/ 2147483647 w 12"/>
              <a:gd name="T5" fmla="*/ 2147483647 h 20"/>
              <a:gd name="T6" fmla="*/ 2147483647 w 12"/>
              <a:gd name="T7" fmla="*/ 2147483647 h 20"/>
              <a:gd name="T8" fmla="*/ 0 w 12"/>
              <a:gd name="T9" fmla="*/ 2147483647 h 20"/>
              <a:gd name="T10" fmla="*/ 0 w 12"/>
              <a:gd name="T11" fmla="*/ 2147483647 h 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"/>
              <a:gd name="T19" fmla="*/ 0 h 20"/>
              <a:gd name="T20" fmla="*/ 12 w 12"/>
              <a:gd name="T21" fmla="*/ 20 h 2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" h="20">
                <a:moveTo>
                  <a:pt x="0" y="4"/>
                </a:moveTo>
                <a:lnTo>
                  <a:pt x="10" y="0"/>
                </a:lnTo>
                <a:lnTo>
                  <a:pt x="12" y="4"/>
                </a:lnTo>
                <a:lnTo>
                  <a:pt x="10" y="12"/>
                </a:lnTo>
                <a:lnTo>
                  <a:pt x="0" y="20"/>
                </a:lnTo>
                <a:lnTo>
                  <a:pt x="0" y="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7" name="Freeform 127">
            <a:extLst>
              <a:ext uri="{FF2B5EF4-FFF2-40B4-BE49-F238E27FC236}">
                <a16:creationId xmlns:a16="http://schemas.microsoft.com/office/drawing/2014/main" id="{48031220-CD3E-3E12-0116-1E8A2785E38C}"/>
              </a:ext>
            </a:extLst>
          </p:cNvPr>
          <p:cNvSpPr>
            <a:spLocks/>
          </p:cNvSpPr>
          <p:nvPr/>
        </p:nvSpPr>
        <p:spPr bwMode="auto">
          <a:xfrm>
            <a:off x="5568951" y="4809067"/>
            <a:ext cx="224367" cy="262467"/>
          </a:xfrm>
          <a:custGeom>
            <a:avLst/>
            <a:gdLst>
              <a:gd name="T0" fmla="*/ 0 w 117"/>
              <a:gd name="T1" fmla="*/ 2147483647 h 132"/>
              <a:gd name="T2" fmla="*/ 2147483647 w 117"/>
              <a:gd name="T3" fmla="*/ 2147483647 h 132"/>
              <a:gd name="T4" fmla="*/ 2147483647 w 117"/>
              <a:gd name="T5" fmla="*/ 2147483647 h 132"/>
              <a:gd name="T6" fmla="*/ 2147483647 w 117"/>
              <a:gd name="T7" fmla="*/ 2147483647 h 132"/>
              <a:gd name="T8" fmla="*/ 2147483647 w 117"/>
              <a:gd name="T9" fmla="*/ 2147483647 h 132"/>
              <a:gd name="T10" fmla="*/ 2147483647 w 117"/>
              <a:gd name="T11" fmla="*/ 2147483647 h 132"/>
              <a:gd name="T12" fmla="*/ 2147483647 w 117"/>
              <a:gd name="T13" fmla="*/ 2147483647 h 132"/>
              <a:gd name="T14" fmla="*/ 2147483647 w 117"/>
              <a:gd name="T15" fmla="*/ 2147483647 h 132"/>
              <a:gd name="T16" fmla="*/ 2147483647 w 117"/>
              <a:gd name="T17" fmla="*/ 2147483647 h 132"/>
              <a:gd name="T18" fmla="*/ 2147483647 w 117"/>
              <a:gd name="T19" fmla="*/ 2147483647 h 132"/>
              <a:gd name="T20" fmla="*/ 2147483647 w 117"/>
              <a:gd name="T21" fmla="*/ 2147483647 h 132"/>
              <a:gd name="T22" fmla="*/ 2147483647 w 117"/>
              <a:gd name="T23" fmla="*/ 2147483647 h 132"/>
              <a:gd name="T24" fmla="*/ 2147483647 w 117"/>
              <a:gd name="T25" fmla="*/ 2147483647 h 132"/>
              <a:gd name="T26" fmla="*/ 2147483647 w 117"/>
              <a:gd name="T27" fmla="*/ 2147483647 h 132"/>
              <a:gd name="T28" fmla="*/ 2147483647 w 117"/>
              <a:gd name="T29" fmla="*/ 2147483647 h 132"/>
              <a:gd name="T30" fmla="*/ 2147483647 w 117"/>
              <a:gd name="T31" fmla="*/ 2147483647 h 132"/>
              <a:gd name="T32" fmla="*/ 2147483647 w 117"/>
              <a:gd name="T33" fmla="*/ 2147483647 h 132"/>
              <a:gd name="T34" fmla="*/ 2147483647 w 117"/>
              <a:gd name="T35" fmla="*/ 2147483647 h 132"/>
              <a:gd name="T36" fmla="*/ 2147483647 w 117"/>
              <a:gd name="T37" fmla="*/ 2147483647 h 132"/>
              <a:gd name="T38" fmla="*/ 2147483647 w 117"/>
              <a:gd name="T39" fmla="*/ 2147483647 h 132"/>
              <a:gd name="T40" fmla="*/ 2147483647 w 117"/>
              <a:gd name="T41" fmla="*/ 2147483647 h 132"/>
              <a:gd name="T42" fmla="*/ 2147483647 w 117"/>
              <a:gd name="T43" fmla="*/ 0 h 132"/>
              <a:gd name="T44" fmla="*/ 2147483647 w 117"/>
              <a:gd name="T45" fmla="*/ 2147483647 h 132"/>
              <a:gd name="T46" fmla="*/ 2147483647 w 117"/>
              <a:gd name="T47" fmla="*/ 2147483647 h 132"/>
              <a:gd name="T48" fmla="*/ 2147483647 w 117"/>
              <a:gd name="T49" fmla="*/ 2147483647 h 132"/>
              <a:gd name="T50" fmla="*/ 2147483647 w 117"/>
              <a:gd name="T51" fmla="*/ 2147483647 h 132"/>
              <a:gd name="T52" fmla="*/ 2147483647 w 117"/>
              <a:gd name="T53" fmla="*/ 2147483647 h 132"/>
              <a:gd name="T54" fmla="*/ 2147483647 w 117"/>
              <a:gd name="T55" fmla="*/ 2147483647 h 132"/>
              <a:gd name="T56" fmla="*/ 2147483647 w 117"/>
              <a:gd name="T57" fmla="*/ 2147483647 h 132"/>
              <a:gd name="T58" fmla="*/ 2147483647 w 117"/>
              <a:gd name="T59" fmla="*/ 2147483647 h 132"/>
              <a:gd name="T60" fmla="*/ 0 w 117"/>
              <a:gd name="T61" fmla="*/ 2147483647 h 13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17"/>
              <a:gd name="T94" fmla="*/ 0 h 132"/>
              <a:gd name="T95" fmla="*/ 117 w 117"/>
              <a:gd name="T96" fmla="*/ 132 h 132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17" h="132">
                <a:moveTo>
                  <a:pt x="0" y="116"/>
                </a:moveTo>
                <a:lnTo>
                  <a:pt x="15" y="116"/>
                </a:lnTo>
                <a:lnTo>
                  <a:pt x="15" y="106"/>
                </a:lnTo>
                <a:lnTo>
                  <a:pt x="7" y="106"/>
                </a:lnTo>
                <a:lnTo>
                  <a:pt x="7" y="94"/>
                </a:lnTo>
                <a:lnTo>
                  <a:pt x="15" y="94"/>
                </a:lnTo>
                <a:lnTo>
                  <a:pt x="25" y="86"/>
                </a:lnTo>
                <a:lnTo>
                  <a:pt x="31" y="94"/>
                </a:lnTo>
                <a:lnTo>
                  <a:pt x="49" y="96"/>
                </a:lnTo>
                <a:lnTo>
                  <a:pt x="53" y="88"/>
                </a:lnTo>
                <a:lnTo>
                  <a:pt x="53" y="68"/>
                </a:lnTo>
                <a:lnTo>
                  <a:pt x="45" y="62"/>
                </a:lnTo>
                <a:lnTo>
                  <a:pt x="45" y="50"/>
                </a:lnTo>
                <a:lnTo>
                  <a:pt x="53" y="44"/>
                </a:lnTo>
                <a:lnTo>
                  <a:pt x="49" y="34"/>
                </a:lnTo>
                <a:lnTo>
                  <a:pt x="35" y="36"/>
                </a:lnTo>
                <a:lnTo>
                  <a:pt x="31" y="20"/>
                </a:lnTo>
                <a:lnTo>
                  <a:pt x="59" y="20"/>
                </a:lnTo>
                <a:lnTo>
                  <a:pt x="59" y="28"/>
                </a:lnTo>
                <a:lnTo>
                  <a:pt x="77" y="26"/>
                </a:lnTo>
                <a:lnTo>
                  <a:pt x="79" y="12"/>
                </a:lnTo>
                <a:lnTo>
                  <a:pt x="87" y="0"/>
                </a:lnTo>
                <a:lnTo>
                  <a:pt x="117" y="2"/>
                </a:lnTo>
                <a:lnTo>
                  <a:pt x="109" y="46"/>
                </a:lnTo>
                <a:lnTo>
                  <a:pt x="85" y="84"/>
                </a:lnTo>
                <a:lnTo>
                  <a:pt x="81" y="116"/>
                </a:lnTo>
                <a:lnTo>
                  <a:pt x="55" y="128"/>
                </a:lnTo>
                <a:lnTo>
                  <a:pt x="27" y="132"/>
                </a:lnTo>
                <a:lnTo>
                  <a:pt x="25" y="128"/>
                </a:lnTo>
                <a:lnTo>
                  <a:pt x="15" y="132"/>
                </a:lnTo>
                <a:lnTo>
                  <a:pt x="0" y="11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8" name="Freeform 128">
            <a:extLst>
              <a:ext uri="{FF2B5EF4-FFF2-40B4-BE49-F238E27FC236}">
                <a16:creationId xmlns:a16="http://schemas.microsoft.com/office/drawing/2014/main" id="{AC859086-31F2-79EA-38F8-0C6B21E1AF22}"/>
              </a:ext>
            </a:extLst>
          </p:cNvPr>
          <p:cNvSpPr>
            <a:spLocks/>
          </p:cNvSpPr>
          <p:nvPr/>
        </p:nvSpPr>
        <p:spPr bwMode="auto">
          <a:xfrm>
            <a:off x="6275917" y="4779434"/>
            <a:ext cx="239184" cy="292100"/>
          </a:xfrm>
          <a:custGeom>
            <a:avLst/>
            <a:gdLst>
              <a:gd name="T0" fmla="*/ 2147483647 w 126"/>
              <a:gd name="T1" fmla="*/ 0 h 148"/>
              <a:gd name="T2" fmla="*/ 2147483647 w 126"/>
              <a:gd name="T3" fmla="*/ 0 h 148"/>
              <a:gd name="T4" fmla="*/ 2147483647 w 126"/>
              <a:gd name="T5" fmla="*/ 2147483647 h 148"/>
              <a:gd name="T6" fmla="*/ 2147483647 w 126"/>
              <a:gd name="T7" fmla="*/ 2147483647 h 148"/>
              <a:gd name="T8" fmla="*/ 2147483647 w 126"/>
              <a:gd name="T9" fmla="*/ 2147483647 h 148"/>
              <a:gd name="T10" fmla="*/ 2147483647 w 126"/>
              <a:gd name="T11" fmla="*/ 2147483647 h 148"/>
              <a:gd name="T12" fmla="*/ 2147483647 w 126"/>
              <a:gd name="T13" fmla="*/ 2147483647 h 148"/>
              <a:gd name="T14" fmla="*/ 2147483647 w 126"/>
              <a:gd name="T15" fmla="*/ 2147483647 h 148"/>
              <a:gd name="T16" fmla="*/ 2147483647 w 126"/>
              <a:gd name="T17" fmla="*/ 2147483647 h 148"/>
              <a:gd name="T18" fmla="*/ 2147483647 w 126"/>
              <a:gd name="T19" fmla="*/ 2147483647 h 148"/>
              <a:gd name="T20" fmla="*/ 2147483647 w 126"/>
              <a:gd name="T21" fmla="*/ 2147483647 h 148"/>
              <a:gd name="T22" fmla="*/ 2147483647 w 126"/>
              <a:gd name="T23" fmla="*/ 2147483647 h 148"/>
              <a:gd name="T24" fmla="*/ 2147483647 w 126"/>
              <a:gd name="T25" fmla="*/ 2147483647 h 148"/>
              <a:gd name="T26" fmla="*/ 2147483647 w 126"/>
              <a:gd name="T27" fmla="*/ 2147483647 h 148"/>
              <a:gd name="T28" fmla="*/ 2147483647 w 126"/>
              <a:gd name="T29" fmla="*/ 2147483647 h 148"/>
              <a:gd name="T30" fmla="*/ 2147483647 w 126"/>
              <a:gd name="T31" fmla="*/ 2147483647 h 148"/>
              <a:gd name="T32" fmla="*/ 2147483647 w 126"/>
              <a:gd name="T33" fmla="*/ 2147483647 h 148"/>
              <a:gd name="T34" fmla="*/ 2147483647 w 126"/>
              <a:gd name="T35" fmla="*/ 2147483647 h 148"/>
              <a:gd name="T36" fmla="*/ 2147483647 w 126"/>
              <a:gd name="T37" fmla="*/ 2147483647 h 148"/>
              <a:gd name="T38" fmla="*/ 2147483647 w 126"/>
              <a:gd name="T39" fmla="*/ 2147483647 h 148"/>
              <a:gd name="T40" fmla="*/ 2147483647 w 126"/>
              <a:gd name="T41" fmla="*/ 2147483647 h 148"/>
              <a:gd name="T42" fmla="*/ 2147483647 w 126"/>
              <a:gd name="T43" fmla="*/ 2147483647 h 148"/>
              <a:gd name="T44" fmla="*/ 2147483647 w 126"/>
              <a:gd name="T45" fmla="*/ 2147483647 h 148"/>
              <a:gd name="T46" fmla="*/ 0 w 126"/>
              <a:gd name="T47" fmla="*/ 2147483647 h 148"/>
              <a:gd name="T48" fmla="*/ 2147483647 w 126"/>
              <a:gd name="T49" fmla="*/ 0 h 14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26"/>
              <a:gd name="T76" fmla="*/ 0 h 148"/>
              <a:gd name="T77" fmla="*/ 126 w 126"/>
              <a:gd name="T78" fmla="*/ 148 h 148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26" h="148">
                <a:moveTo>
                  <a:pt x="8" y="0"/>
                </a:moveTo>
                <a:lnTo>
                  <a:pt x="28" y="0"/>
                </a:lnTo>
                <a:lnTo>
                  <a:pt x="64" y="16"/>
                </a:lnTo>
                <a:lnTo>
                  <a:pt x="88" y="18"/>
                </a:lnTo>
                <a:lnTo>
                  <a:pt x="108" y="6"/>
                </a:lnTo>
                <a:lnTo>
                  <a:pt x="114" y="14"/>
                </a:lnTo>
                <a:lnTo>
                  <a:pt x="126" y="10"/>
                </a:lnTo>
                <a:lnTo>
                  <a:pt x="126" y="20"/>
                </a:lnTo>
                <a:lnTo>
                  <a:pt x="110" y="30"/>
                </a:lnTo>
                <a:lnTo>
                  <a:pt x="112" y="86"/>
                </a:lnTo>
                <a:lnTo>
                  <a:pt x="122" y="98"/>
                </a:lnTo>
                <a:lnTo>
                  <a:pt x="112" y="106"/>
                </a:lnTo>
                <a:lnTo>
                  <a:pt x="100" y="118"/>
                </a:lnTo>
                <a:lnTo>
                  <a:pt x="92" y="136"/>
                </a:lnTo>
                <a:lnTo>
                  <a:pt x="86" y="148"/>
                </a:lnTo>
                <a:lnTo>
                  <a:pt x="62" y="130"/>
                </a:lnTo>
                <a:lnTo>
                  <a:pt x="58" y="120"/>
                </a:lnTo>
                <a:lnTo>
                  <a:pt x="6" y="92"/>
                </a:lnTo>
                <a:lnTo>
                  <a:pt x="2" y="92"/>
                </a:lnTo>
                <a:lnTo>
                  <a:pt x="6" y="78"/>
                </a:lnTo>
                <a:lnTo>
                  <a:pt x="4" y="66"/>
                </a:lnTo>
                <a:lnTo>
                  <a:pt x="18" y="50"/>
                </a:lnTo>
                <a:lnTo>
                  <a:pt x="12" y="28"/>
                </a:lnTo>
                <a:lnTo>
                  <a:pt x="0" y="8"/>
                </a:lnTo>
                <a:lnTo>
                  <a:pt x="8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9" name="Freeform 129">
            <a:extLst>
              <a:ext uri="{FF2B5EF4-FFF2-40B4-BE49-F238E27FC236}">
                <a16:creationId xmlns:a16="http://schemas.microsoft.com/office/drawing/2014/main" id="{09F210B0-C703-E826-9975-F78890CA006B}"/>
              </a:ext>
            </a:extLst>
          </p:cNvPr>
          <p:cNvSpPr>
            <a:spLocks/>
          </p:cNvSpPr>
          <p:nvPr/>
        </p:nvSpPr>
        <p:spPr bwMode="auto">
          <a:xfrm>
            <a:off x="5492753" y="4847167"/>
            <a:ext cx="173567" cy="194733"/>
          </a:xfrm>
          <a:custGeom>
            <a:avLst/>
            <a:gdLst>
              <a:gd name="T0" fmla="*/ 2147483647 w 89"/>
              <a:gd name="T1" fmla="*/ 0 h 96"/>
              <a:gd name="T2" fmla="*/ 2147483647 w 89"/>
              <a:gd name="T3" fmla="*/ 0 h 96"/>
              <a:gd name="T4" fmla="*/ 2147483647 w 89"/>
              <a:gd name="T5" fmla="*/ 2147483647 h 96"/>
              <a:gd name="T6" fmla="*/ 2147483647 w 89"/>
              <a:gd name="T7" fmla="*/ 2147483647 h 96"/>
              <a:gd name="T8" fmla="*/ 2147483647 w 89"/>
              <a:gd name="T9" fmla="*/ 2147483647 h 96"/>
              <a:gd name="T10" fmla="*/ 2147483647 w 89"/>
              <a:gd name="T11" fmla="*/ 2147483647 h 96"/>
              <a:gd name="T12" fmla="*/ 2147483647 w 89"/>
              <a:gd name="T13" fmla="*/ 2147483647 h 96"/>
              <a:gd name="T14" fmla="*/ 2147483647 w 89"/>
              <a:gd name="T15" fmla="*/ 2147483647 h 96"/>
              <a:gd name="T16" fmla="*/ 2147483647 w 89"/>
              <a:gd name="T17" fmla="*/ 2147483647 h 96"/>
              <a:gd name="T18" fmla="*/ 2147483647 w 89"/>
              <a:gd name="T19" fmla="*/ 2147483647 h 96"/>
              <a:gd name="T20" fmla="*/ 2147483647 w 89"/>
              <a:gd name="T21" fmla="*/ 2147483647 h 96"/>
              <a:gd name="T22" fmla="*/ 2147483647 w 89"/>
              <a:gd name="T23" fmla="*/ 2147483647 h 96"/>
              <a:gd name="T24" fmla="*/ 2147483647 w 89"/>
              <a:gd name="T25" fmla="*/ 2147483647 h 96"/>
              <a:gd name="T26" fmla="*/ 2147483647 w 89"/>
              <a:gd name="T27" fmla="*/ 2147483647 h 96"/>
              <a:gd name="T28" fmla="*/ 2147483647 w 89"/>
              <a:gd name="T29" fmla="*/ 2147483647 h 96"/>
              <a:gd name="T30" fmla="*/ 2147483647 w 89"/>
              <a:gd name="T31" fmla="*/ 2147483647 h 96"/>
              <a:gd name="T32" fmla="*/ 2147483647 w 89"/>
              <a:gd name="T33" fmla="*/ 2147483647 h 96"/>
              <a:gd name="T34" fmla="*/ 2147483647 w 89"/>
              <a:gd name="T35" fmla="*/ 2147483647 h 96"/>
              <a:gd name="T36" fmla="*/ 2147483647 w 89"/>
              <a:gd name="T37" fmla="*/ 2147483647 h 96"/>
              <a:gd name="T38" fmla="*/ 2147483647 w 89"/>
              <a:gd name="T39" fmla="*/ 2147483647 h 96"/>
              <a:gd name="T40" fmla="*/ 0 w 89"/>
              <a:gd name="T41" fmla="*/ 2147483647 h 96"/>
              <a:gd name="T42" fmla="*/ 2147483647 w 89"/>
              <a:gd name="T43" fmla="*/ 2147483647 h 96"/>
              <a:gd name="T44" fmla="*/ 2147483647 w 89"/>
              <a:gd name="T45" fmla="*/ 2147483647 h 96"/>
              <a:gd name="T46" fmla="*/ 2147483647 w 89"/>
              <a:gd name="T47" fmla="*/ 2147483647 h 96"/>
              <a:gd name="T48" fmla="*/ 2147483647 w 89"/>
              <a:gd name="T49" fmla="*/ 0 h 9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89"/>
              <a:gd name="T76" fmla="*/ 0 h 96"/>
              <a:gd name="T77" fmla="*/ 89 w 89"/>
              <a:gd name="T78" fmla="*/ 96 h 9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89" h="96">
                <a:moveTo>
                  <a:pt x="39" y="0"/>
                </a:moveTo>
                <a:lnTo>
                  <a:pt x="67" y="0"/>
                </a:lnTo>
                <a:lnTo>
                  <a:pt x="71" y="16"/>
                </a:lnTo>
                <a:lnTo>
                  <a:pt x="85" y="14"/>
                </a:lnTo>
                <a:lnTo>
                  <a:pt x="89" y="24"/>
                </a:lnTo>
                <a:lnTo>
                  <a:pt x="81" y="30"/>
                </a:lnTo>
                <a:lnTo>
                  <a:pt x="81" y="42"/>
                </a:lnTo>
                <a:lnTo>
                  <a:pt x="89" y="48"/>
                </a:lnTo>
                <a:lnTo>
                  <a:pt x="89" y="68"/>
                </a:lnTo>
                <a:lnTo>
                  <a:pt x="85" y="76"/>
                </a:lnTo>
                <a:lnTo>
                  <a:pt x="67" y="74"/>
                </a:lnTo>
                <a:lnTo>
                  <a:pt x="61" y="66"/>
                </a:lnTo>
                <a:lnTo>
                  <a:pt x="51" y="74"/>
                </a:lnTo>
                <a:lnTo>
                  <a:pt x="43" y="74"/>
                </a:lnTo>
                <a:lnTo>
                  <a:pt x="43" y="86"/>
                </a:lnTo>
                <a:lnTo>
                  <a:pt x="51" y="86"/>
                </a:lnTo>
                <a:lnTo>
                  <a:pt x="51" y="96"/>
                </a:lnTo>
                <a:lnTo>
                  <a:pt x="36" y="96"/>
                </a:lnTo>
                <a:lnTo>
                  <a:pt x="18" y="82"/>
                </a:lnTo>
                <a:lnTo>
                  <a:pt x="10" y="68"/>
                </a:lnTo>
                <a:lnTo>
                  <a:pt x="0" y="48"/>
                </a:lnTo>
                <a:lnTo>
                  <a:pt x="10" y="32"/>
                </a:lnTo>
                <a:lnTo>
                  <a:pt x="12" y="24"/>
                </a:lnTo>
                <a:lnTo>
                  <a:pt x="36" y="22"/>
                </a:lnTo>
                <a:lnTo>
                  <a:pt x="39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50" name="Freeform 130">
            <a:extLst>
              <a:ext uri="{FF2B5EF4-FFF2-40B4-BE49-F238E27FC236}">
                <a16:creationId xmlns:a16="http://schemas.microsoft.com/office/drawing/2014/main" id="{6B0579A8-7F76-CFEE-EE21-AA7D28C6F94D}"/>
              </a:ext>
            </a:extLst>
          </p:cNvPr>
          <p:cNvSpPr>
            <a:spLocks/>
          </p:cNvSpPr>
          <p:nvPr/>
        </p:nvSpPr>
        <p:spPr bwMode="auto">
          <a:xfrm>
            <a:off x="4690532" y="4489451"/>
            <a:ext cx="95251" cy="21167"/>
          </a:xfrm>
          <a:custGeom>
            <a:avLst/>
            <a:gdLst>
              <a:gd name="T0" fmla="*/ 2147483647 w 50"/>
              <a:gd name="T1" fmla="*/ 0 h 12"/>
              <a:gd name="T2" fmla="*/ 2147483647 w 50"/>
              <a:gd name="T3" fmla="*/ 0 h 12"/>
              <a:gd name="T4" fmla="*/ 2147483647 w 50"/>
              <a:gd name="T5" fmla="*/ 2147483647 h 12"/>
              <a:gd name="T6" fmla="*/ 2147483647 w 50"/>
              <a:gd name="T7" fmla="*/ 2147483647 h 12"/>
              <a:gd name="T8" fmla="*/ 2147483647 w 50"/>
              <a:gd name="T9" fmla="*/ 2147483647 h 12"/>
              <a:gd name="T10" fmla="*/ 2147483647 w 50"/>
              <a:gd name="T11" fmla="*/ 2147483647 h 12"/>
              <a:gd name="T12" fmla="*/ 2147483647 w 50"/>
              <a:gd name="T13" fmla="*/ 2147483647 h 12"/>
              <a:gd name="T14" fmla="*/ 2147483647 w 50"/>
              <a:gd name="T15" fmla="*/ 2147483647 h 12"/>
              <a:gd name="T16" fmla="*/ 2147483647 w 50"/>
              <a:gd name="T17" fmla="*/ 2147483647 h 12"/>
              <a:gd name="T18" fmla="*/ 2147483647 w 50"/>
              <a:gd name="T19" fmla="*/ 2147483647 h 12"/>
              <a:gd name="T20" fmla="*/ 0 w 50"/>
              <a:gd name="T21" fmla="*/ 2147483647 h 12"/>
              <a:gd name="T22" fmla="*/ 2147483647 w 50"/>
              <a:gd name="T23" fmla="*/ 0 h 12"/>
              <a:gd name="T24" fmla="*/ 2147483647 w 50"/>
              <a:gd name="T25" fmla="*/ 0 h 1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50"/>
              <a:gd name="T40" fmla="*/ 0 h 12"/>
              <a:gd name="T41" fmla="*/ 50 w 50"/>
              <a:gd name="T42" fmla="*/ 12 h 1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50" h="12">
                <a:moveTo>
                  <a:pt x="8" y="0"/>
                </a:moveTo>
                <a:lnTo>
                  <a:pt x="20" y="0"/>
                </a:lnTo>
                <a:lnTo>
                  <a:pt x="32" y="2"/>
                </a:lnTo>
                <a:lnTo>
                  <a:pt x="42" y="4"/>
                </a:lnTo>
                <a:lnTo>
                  <a:pt x="50" y="6"/>
                </a:lnTo>
                <a:lnTo>
                  <a:pt x="46" y="8"/>
                </a:lnTo>
                <a:lnTo>
                  <a:pt x="34" y="8"/>
                </a:lnTo>
                <a:lnTo>
                  <a:pt x="26" y="8"/>
                </a:lnTo>
                <a:lnTo>
                  <a:pt x="16" y="8"/>
                </a:lnTo>
                <a:lnTo>
                  <a:pt x="6" y="12"/>
                </a:lnTo>
                <a:lnTo>
                  <a:pt x="0" y="10"/>
                </a:lnTo>
                <a:lnTo>
                  <a:pt x="4" y="0"/>
                </a:lnTo>
                <a:lnTo>
                  <a:pt x="8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51" name="Freeform 131">
            <a:extLst>
              <a:ext uri="{FF2B5EF4-FFF2-40B4-BE49-F238E27FC236}">
                <a16:creationId xmlns:a16="http://schemas.microsoft.com/office/drawing/2014/main" id="{CFB7CB85-8C58-7295-B636-1E500C56E819}"/>
              </a:ext>
            </a:extLst>
          </p:cNvPr>
          <p:cNvSpPr>
            <a:spLocks/>
          </p:cNvSpPr>
          <p:nvPr/>
        </p:nvSpPr>
        <p:spPr bwMode="auto">
          <a:xfrm>
            <a:off x="4690532" y="4489451"/>
            <a:ext cx="95251" cy="21167"/>
          </a:xfrm>
          <a:custGeom>
            <a:avLst/>
            <a:gdLst>
              <a:gd name="T0" fmla="*/ 2147483647 w 50"/>
              <a:gd name="T1" fmla="*/ 0 h 12"/>
              <a:gd name="T2" fmla="*/ 2147483647 w 50"/>
              <a:gd name="T3" fmla="*/ 0 h 12"/>
              <a:gd name="T4" fmla="*/ 2147483647 w 50"/>
              <a:gd name="T5" fmla="*/ 2147483647 h 12"/>
              <a:gd name="T6" fmla="*/ 2147483647 w 50"/>
              <a:gd name="T7" fmla="*/ 2147483647 h 12"/>
              <a:gd name="T8" fmla="*/ 2147483647 w 50"/>
              <a:gd name="T9" fmla="*/ 2147483647 h 12"/>
              <a:gd name="T10" fmla="*/ 2147483647 w 50"/>
              <a:gd name="T11" fmla="*/ 2147483647 h 12"/>
              <a:gd name="T12" fmla="*/ 2147483647 w 50"/>
              <a:gd name="T13" fmla="*/ 2147483647 h 12"/>
              <a:gd name="T14" fmla="*/ 2147483647 w 50"/>
              <a:gd name="T15" fmla="*/ 2147483647 h 12"/>
              <a:gd name="T16" fmla="*/ 2147483647 w 50"/>
              <a:gd name="T17" fmla="*/ 2147483647 h 12"/>
              <a:gd name="T18" fmla="*/ 2147483647 w 50"/>
              <a:gd name="T19" fmla="*/ 2147483647 h 12"/>
              <a:gd name="T20" fmla="*/ 0 w 50"/>
              <a:gd name="T21" fmla="*/ 2147483647 h 12"/>
              <a:gd name="T22" fmla="*/ 2147483647 w 50"/>
              <a:gd name="T23" fmla="*/ 0 h 12"/>
              <a:gd name="T24" fmla="*/ 2147483647 w 50"/>
              <a:gd name="T25" fmla="*/ 0 h 1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50"/>
              <a:gd name="T40" fmla="*/ 0 h 12"/>
              <a:gd name="T41" fmla="*/ 50 w 50"/>
              <a:gd name="T42" fmla="*/ 12 h 1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50" h="12">
                <a:moveTo>
                  <a:pt x="8" y="0"/>
                </a:moveTo>
                <a:lnTo>
                  <a:pt x="20" y="0"/>
                </a:lnTo>
                <a:lnTo>
                  <a:pt x="32" y="2"/>
                </a:lnTo>
                <a:lnTo>
                  <a:pt x="42" y="4"/>
                </a:lnTo>
                <a:lnTo>
                  <a:pt x="50" y="6"/>
                </a:lnTo>
                <a:lnTo>
                  <a:pt x="46" y="8"/>
                </a:lnTo>
                <a:lnTo>
                  <a:pt x="34" y="8"/>
                </a:lnTo>
                <a:lnTo>
                  <a:pt x="26" y="8"/>
                </a:lnTo>
                <a:lnTo>
                  <a:pt x="16" y="8"/>
                </a:lnTo>
                <a:lnTo>
                  <a:pt x="6" y="12"/>
                </a:lnTo>
                <a:lnTo>
                  <a:pt x="0" y="10"/>
                </a:lnTo>
                <a:lnTo>
                  <a:pt x="4" y="0"/>
                </a:lnTo>
                <a:lnTo>
                  <a:pt x="8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52" name="Freeform 132">
            <a:extLst>
              <a:ext uri="{FF2B5EF4-FFF2-40B4-BE49-F238E27FC236}">
                <a16:creationId xmlns:a16="http://schemas.microsoft.com/office/drawing/2014/main" id="{FAFDB7C1-6A71-AB69-90AB-7E98FFF30CF8}"/>
              </a:ext>
            </a:extLst>
          </p:cNvPr>
          <p:cNvSpPr>
            <a:spLocks/>
          </p:cNvSpPr>
          <p:nvPr/>
        </p:nvSpPr>
        <p:spPr bwMode="auto">
          <a:xfrm>
            <a:off x="4682066" y="4392084"/>
            <a:ext cx="179917" cy="137584"/>
          </a:xfrm>
          <a:custGeom>
            <a:avLst/>
            <a:gdLst>
              <a:gd name="T0" fmla="*/ 2147483647 w 92"/>
              <a:gd name="T1" fmla="*/ 2147483647 h 70"/>
              <a:gd name="T2" fmla="*/ 0 w 92"/>
              <a:gd name="T3" fmla="*/ 2147483647 h 70"/>
              <a:gd name="T4" fmla="*/ 2147483647 w 92"/>
              <a:gd name="T5" fmla="*/ 2147483647 h 70"/>
              <a:gd name="T6" fmla="*/ 2147483647 w 92"/>
              <a:gd name="T7" fmla="*/ 2147483647 h 70"/>
              <a:gd name="T8" fmla="*/ 2147483647 w 92"/>
              <a:gd name="T9" fmla="*/ 2147483647 h 70"/>
              <a:gd name="T10" fmla="*/ 2147483647 w 92"/>
              <a:gd name="T11" fmla="*/ 0 h 70"/>
              <a:gd name="T12" fmla="*/ 2147483647 w 92"/>
              <a:gd name="T13" fmla="*/ 0 h 70"/>
              <a:gd name="T14" fmla="*/ 2147483647 w 92"/>
              <a:gd name="T15" fmla="*/ 2147483647 h 70"/>
              <a:gd name="T16" fmla="*/ 2147483647 w 92"/>
              <a:gd name="T17" fmla="*/ 2147483647 h 70"/>
              <a:gd name="T18" fmla="*/ 2147483647 w 92"/>
              <a:gd name="T19" fmla="*/ 2147483647 h 70"/>
              <a:gd name="T20" fmla="*/ 2147483647 w 92"/>
              <a:gd name="T21" fmla="*/ 2147483647 h 70"/>
              <a:gd name="T22" fmla="*/ 2147483647 w 92"/>
              <a:gd name="T23" fmla="*/ 2147483647 h 70"/>
              <a:gd name="T24" fmla="*/ 2147483647 w 92"/>
              <a:gd name="T25" fmla="*/ 2147483647 h 70"/>
              <a:gd name="T26" fmla="*/ 2147483647 w 92"/>
              <a:gd name="T27" fmla="*/ 2147483647 h 70"/>
              <a:gd name="T28" fmla="*/ 2147483647 w 92"/>
              <a:gd name="T29" fmla="*/ 2147483647 h 70"/>
              <a:gd name="T30" fmla="*/ 2147483647 w 92"/>
              <a:gd name="T31" fmla="*/ 2147483647 h 70"/>
              <a:gd name="T32" fmla="*/ 2147483647 w 92"/>
              <a:gd name="T33" fmla="*/ 2147483647 h 70"/>
              <a:gd name="T34" fmla="*/ 2147483647 w 92"/>
              <a:gd name="T35" fmla="*/ 2147483647 h 70"/>
              <a:gd name="T36" fmla="*/ 2147483647 w 92"/>
              <a:gd name="T37" fmla="*/ 2147483647 h 70"/>
              <a:gd name="T38" fmla="*/ 2147483647 w 92"/>
              <a:gd name="T39" fmla="*/ 2147483647 h 70"/>
              <a:gd name="T40" fmla="*/ 2147483647 w 92"/>
              <a:gd name="T41" fmla="*/ 2147483647 h 70"/>
              <a:gd name="T42" fmla="*/ 2147483647 w 92"/>
              <a:gd name="T43" fmla="*/ 2147483647 h 70"/>
              <a:gd name="T44" fmla="*/ 2147483647 w 92"/>
              <a:gd name="T45" fmla="*/ 2147483647 h 70"/>
              <a:gd name="T46" fmla="*/ 2147483647 w 92"/>
              <a:gd name="T47" fmla="*/ 2147483647 h 70"/>
              <a:gd name="T48" fmla="*/ 2147483647 w 92"/>
              <a:gd name="T49" fmla="*/ 2147483647 h 70"/>
              <a:gd name="T50" fmla="*/ 2147483647 w 92"/>
              <a:gd name="T51" fmla="*/ 2147483647 h 70"/>
              <a:gd name="T52" fmla="*/ 2147483647 w 92"/>
              <a:gd name="T53" fmla="*/ 2147483647 h 70"/>
              <a:gd name="T54" fmla="*/ 2147483647 w 92"/>
              <a:gd name="T55" fmla="*/ 2147483647 h 70"/>
              <a:gd name="T56" fmla="*/ 2147483647 w 92"/>
              <a:gd name="T57" fmla="*/ 2147483647 h 70"/>
              <a:gd name="T58" fmla="*/ 2147483647 w 92"/>
              <a:gd name="T59" fmla="*/ 2147483647 h 70"/>
              <a:gd name="T60" fmla="*/ 2147483647 w 92"/>
              <a:gd name="T61" fmla="*/ 2147483647 h 70"/>
              <a:gd name="T62" fmla="*/ 2147483647 w 92"/>
              <a:gd name="T63" fmla="*/ 2147483647 h 70"/>
              <a:gd name="T64" fmla="*/ 2147483647 w 92"/>
              <a:gd name="T65" fmla="*/ 2147483647 h 70"/>
              <a:gd name="T66" fmla="*/ 2147483647 w 92"/>
              <a:gd name="T67" fmla="*/ 2147483647 h 70"/>
              <a:gd name="T68" fmla="*/ 2147483647 w 92"/>
              <a:gd name="T69" fmla="*/ 2147483647 h 70"/>
              <a:gd name="T70" fmla="*/ 2147483647 w 92"/>
              <a:gd name="T71" fmla="*/ 2147483647 h 70"/>
              <a:gd name="T72" fmla="*/ 2147483647 w 92"/>
              <a:gd name="T73" fmla="*/ 2147483647 h 70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92"/>
              <a:gd name="T112" fmla="*/ 0 h 70"/>
              <a:gd name="T113" fmla="*/ 92 w 92"/>
              <a:gd name="T114" fmla="*/ 70 h 70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92" h="70">
                <a:moveTo>
                  <a:pt x="2" y="34"/>
                </a:moveTo>
                <a:lnTo>
                  <a:pt x="0" y="28"/>
                </a:lnTo>
                <a:lnTo>
                  <a:pt x="6" y="20"/>
                </a:lnTo>
                <a:lnTo>
                  <a:pt x="12" y="12"/>
                </a:lnTo>
                <a:lnTo>
                  <a:pt x="14" y="2"/>
                </a:lnTo>
                <a:lnTo>
                  <a:pt x="28" y="0"/>
                </a:lnTo>
                <a:lnTo>
                  <a:pt x="42" y="0"/>
                </a:lnTo>
                <a:lnTo>
                  <a:pt x="54" y="6"/>
                </a:lnTo>
                <a:lnTo>
                  <a:pt x="62" y="12"/>
                </a:lnTo>
                <a:lnTo>
                  <a:pt x="70" y="24"/>
                </a:lnTo>
                <a:lnTo>
                  <a:pt x="80" y="32"/>
                </a:lnTo>
                <a:lnTo>
                  <a:pt x="82" y="38"/>
                </a:lnTo>
                <a:lnTo>
                  <a:pt x="84" y="50"/>
                </a:lnTo>
                <a:lnTo>
                  <a:pt x="90" y="58"/>
                </a:lnTo>
                <a:lnTo>
                  <a:pt x="92" y="66"/>
                </a:lnTo>
                <a:lnTo>
                  <a:pt x="92" y="70"/>
                </a:lnTo>
                <a:lnTo>
                  <a:pt x="70" y="68"/>
                </a:lnTo>
                <a:lnTo>
                  <a:pt x="64" y="64"/>
                </a:lnTo>
                <a:lnTo>
                  <a:pt x="58" y="64"/>
                </a:lnTo>
                <a:lnTo>
                  <a:pt x="50" y="64"/>
                </a:lnTo>
                <a:lnTo>
                  <a:pt x="38" y="64"/>
                </a:lnTo>
                <a:lnTo>
                  <a:pt x="32" y="64"/>
                </a:lnTo>
                <a:lnTo>
                  <a:pt x="28" y="68"/>
                </a:lnTo>
                <a:lnTo>
                  <a:pt x="10" y="70"/>
                </a:lnTo>
                <a:lnTo>
                  <a:pt x="10" y="60"/>
                </a:lnTo>
                <a:lnTo>
                  <a:pt x="20" y="56"/>
                </a:lnTo>
                <a:lnTo>
                  <a:pt x="30" y="56"/>
                </a:lnTo>
                <a:lnTo>
                  <a:pt x="38" y="56"/>
                </a:lnTo>
                <a:lnTo>
                  <a:pt x="50" y="56"/>
                </a:lnTo>
                <a:lnTo>
                  <a:pt x="54" y="54"/>
                </a:lnTo>
                <a:lnTo>
                  <a:pt x="40" y="50"/>
                </a:lnTo>
                <a:lnTo>
                  <a:pt x="36" y="50"/>
                </a:lnTo>
                <a:lnTo>
                  <a:pt x="22" y="48"/>
                </a:lnTo>
                <a:lnTo>
                  <a:pt x="12" y="48"/>
                </a:lnTo>
                <a:lnTo>
                  <a:pt x="8" y="48"/>
                </a:lnTo>
                <a:lnTo>
                  <a:pt x="4" y="40"/>
                </a:lnTo>
                <a:lnTo>
                  <a:pt x="2" y="3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53" name="Freeform 133">
            <a:extLst>
              <a:ext uri="{FF2B5EF4-FFF2-40B4-BE49-F238E27FC236}">
                <a16:creationId xmlns:a16="http://schemas.microsoft.com/office/drawing/2014/main" id="{96D8D7EF-3BC3-D62E-A2FE-C7E24191D1A2}"/>
              </a:ext>
            </a:extLst>
          </p:cNvPr>
          <p:cNvSpPr>
            <a:spLocks/>
          </p:cNvSpPr>
          <p:nvPr/>
        </p:nvSpPr>
        <p:spPr bwMode="auto">
          <a:xfrm>
            <a:off x="5869518" y="2266952"/>
            <a:ext cx="328084" cy="512233"/>
          </a:xfrm>
          <a:custGeom>
            <a:avLst/>
            <a:gdLst>
              <a:gd name="T0" fmla="*/ 2147483647 w 170"/>
              <a:gd name="T1" fmla="*/ 2147483647 h 262"/>
              <a:gd name="T2" fmla="*/ 2147483647 w 170"/>
              <a:gd name="T3" fmla="*/ 2147483647 h 262"/>
              <a:gd name="T4" fmla="*/ 2147483647 w 170"/>
              <a:gd name="T5" fmla="*/ 2147483647 h 262"/>
              <a:gd name="T6" fmla="*/ 2147483647 w 170"/>
              <a:gd name="T7" fmla="*/ 2147483647 h 262"/>
              <a:gd name="T8" fmla="*/ 2147483647 w 170"/>
              <a:gd name="T9" fmla="*/ 2147483647 h 262"/>
              <a:gd name="T10" fmla="*/ 2147483647 w 170"/>
              <a:gd name="T11" fmla="*/ 2147483647 h 262"/>
              <a:gd name="T12" fmla="*/ 2147483647 w 170"/>
              <a:gd name="T13" fmla="*/ 2147483647 h 262"/>
              <a:gd name="T14" fmla="*/ 2147483647 w 170"/>
              <a:gd name="T15" fmla="*/ 2147483647 h 262"/>
              <a:gd name="T16" fmla="*/ 2147483647 w 170"/>
              <a:gd name="T17" fmla="*/ 2147483647 h 262"/>
              <a:gd name="T18" fmla="*/ 2147483647 w 170"/>
              <a:gd name="T19" fmla="*/ 2147483647 h 262"/>
              <a:gd name="T20" fmla="*/ 2147483647 w 170"/>
              <a:gd name="T21" fmla="*/ 2147483647 h 262"/>
              <a:gd name="T22" fmla="*/ 2147483647 w 170"/>
              <a:gd name="T23" fmla="*/ 2147483647 h 262"/>
              <a:gd name="T24" fmla="*/ 2147483647 w 170"/>
              <a:gd name="T25" fmla="*/ 2147483647 h 262"/>
              <a:gd name="T26" fmla="*/ 2147483647 w 170"/>
              <a:gd name="T27" fmla="*/ 2147483647 h 262"/>
              <a:gd name="T28" fmla="*/ 2147483647 w 170"/>
              <a:gd name="T29" fmla="*/ 2147483647 h 262"/>
              <a:gd name="T30" fmla="*/ 2147483647 w 170"/>
              <a:gd name="T31" fmla="*/ 2147483647 h 262"/>
              <a:gd name="T32" fmla="*/ 2147483647 w 170"/>
              <a:gd name="T33" fmla="*/ 2147483647 h 262"/>
              <a:gd name="T34" fmla="*/ 2147483647 w 170"/>
              <a:gd name="T35" fmla="*/ 2147483647 h 262"/>
              <a:gd name="T36" fmla="*/ 2147483647 w 170"/>
              <a:gd name="T37" fmla="*/ 2147483647 h 262"/>
              <a:gd name="T38" fmla="*/ 2147483647 w 170"/>
              <a:gd name="T39" fmla="*/ 2147483647 h 262"/>
              <a:gd name="T40" fmla="*/ 0 w 170"/>
              <a:gd name="T41" fmla="*/ 2147483647 h 262"/>
              <a:gd name="T42" fmla="*/ 2147483647 w 170"/>
              <a:gd name="T43" fmla="*/ 2147483647 h 262"/>
              <a:gd name="T44" fmla="*/ 2147483647 w 170"/>
              <a:gd name="T45" fmla="*/ 2147483647 h 262"/>
              <a:gd name="T46" fmla="*/ 2147483647 w 170"/>
              <a:gd name="T47" fmla="*/ 2147483647 h 262"/>
              <a:gd name="T48" fmla="*/ 2147483647 w 170"/>
              <a:gd name="T49" fmla="*/ 2147483647 h 262"/>
              <a:gd name="T50" fmla="*/ 2147483647 w 170"/>
              <a:gd name="T51" fmla="*/ 2147483647 h 262"/>
              <a:gd name="T52" fmla="*/ 2147483647 w 170"/>
              <a:gd name="T53" fmla="*/ 0 h 262"/>
              <a:gd name="T54" fmla="*/ 2147483647 w 170"/>
              <a:gd name="T55" fmla="*/ 2147483647 h 262"/>
              <a:gd name="T56" fmla="*/ 2147483647 w 170"/>
              <a:gd name="T57" fmla="*/ 2147483647 h 262"/>
              <a:gd name="T58" fmla="*/ 2147483647 w 170"/>
              <a:gd name="T59" fmla="*/ 2147483647 h 262"/>
              <a:gd name="T60" fmla="*/ 2147483647 w 170"/>
              <a:gd name="T61" fmla="*/ 2147483647 h 262"/>
              <a:gd name="T62" fmla="*/ 2147483647 w 170"/>
              <a:gd name="T63" fmla="*/ 2147483647 h 262"/>
              <a:gd name="T64" fmla="*/ 2147483647 w 170"/>
              <a:gd name="T65" fmla="*/ 2147483647 h 262"/>
              <a:gd name="T66" fmla="*/ 2147483647 w 170"/>
              <a:gd name="T67" fmla="*/ 2147483647 h 262"/>
              <a:gd name="T68" fmla="*/ 2147483647 w 170"/>
              <a:gd name="T69" fmla="*/ 2147483647 h 262"/>
              <a:gd name="T70" fmla="*/ 2147483647 w 170"/>
              <a:gd name="T71" fmla="*/ 2147483647 h 262"/>
              <a:gd name="T72" fmla="*/ 2147483647 w 170"/>
              <a:gd name="T73" fmla="*/ 2147483647 h 262"/>
              <a:gd name="T74" fmla="*/ 2147483647 w 170"/>
              <a:gd name="T75" fmla="*/ 2147483647 h 262"/>
              <a:gd name="T76" fmla="*/ 2147483647 w 170"/>
              <a:gd name="T77" fmla="*/ 2147483647 h 262"/>
              <a:gd name="T78" fmla="*/ 2147483647 w 170"/>
              <a:gd name="T79" fmla="*/ 2147483647 h 262"/>
              <a:gd name="T80" fmla="*/ 2147483647 w 170"/>
              <a:gd name="T81" fmla="*/ 2147483647 h 262"/>
              <a:gd name="T82" fmla="*/ 2147483647 w 170"/>
              <a:gd name="T83" fmla="*/ 2147483647 h 262"/>
              <a:gd name="T84" fmla="*/ 2147483647 w 170"/>
              <a:gd name="T85" fmla="*/ 2147483647 h 26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70"/>
              <a:gd name="T130" fmla="*/ 0 h 262"/>
              <a:gd name="T131" fmla="*/ 170 w 170"/>
              <a:gd name="T132" fmla="*/ 262 h 262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70" h="262">
                <a:moveTo>
                  <a:pt x="106" y="250"/>
                </a:moveTo>
                <a:lnTo>
                  <a:pt x="88" y="250"/>
                </a:lnTo>
                <a:lnTo>
                  <a:pt x="64" y="258"/>
                </a:lnTo>
                <a:lnTo>
                  <a:pt x="40" y="262"/>
                </a:lnTo>
                <a:lnTo>
                  <a:pt x="10" y="246"/>
                </a:lnTo>
                <a:lnTo>
                  <a:pt x="12" y="226"/>
                </a:lnTo>
                <a:lnTo>
                  <a:pt x="6" y="204"/>
                </a:lnTo>
                <a:lnTo>
                  <a:pt x="10" y="188"/>
                </a:lnTo>
                <a:lnTo>
                  <a:pt x="22" y="182"/>
                </a:lnTo>
                <a:lnTo>
                  <a:pt x="28" y="170"/>
                </a:lnTo>
                <a:lnTo>
                  <a:pt x="64" y="142"/>
                </a:lnTo>
                <a:lnTo>
                  <a:pt x="72" y="140"/>
                </a:lnTo>
                <a:lnTo>
                  <a:pt x="70" y="124"/>
                </a:lnTo>
                <a:lnTo>
                  <a:pt x="54" y="116"/>
                </a:lnTo>
                <a:lnTo>
                  <a:pt x="44" y="102"/>
                </a:lnTo>
                <a:lnTo>
                  <a:pt x="50" y="86"/>
                </a:lnTo>
                <a:lnTo>
                  <a:pt x="42" y="82"/>
                </a:lnTo>
                <a:lnTo>
                  <a:pt x="44" y="62"/>
                </a:lnTo>
                <a:lnTo>
                  <a:pt x="34" y="48"/>
                </a:lnTo>
                <a:lnTo>
                  <a:pt x="20" y="48"/>
                </a:lnTo>
                <a:lnTo>
                  <a:pt x="0" y="30"/>
                </a:lnTo>
                <a:lnTo>
                  <a:pt x="10" y="22"/>
                </a:lnTo>
                <a:lnTo>
                  <a:pt x="24" y="38"/>
                </a:lnTo>
                <a:lnTo>
                  <a:pt x="66" y="42"/>
                </a:lnTo>
                <a:lnTo>
                  <a:pt x="76" y="32"/>
                </a:lnTo>
                <a:lnTo>
                  <a:pt x="84" y="12"/>
                </a:lnTo>
                <a:lnTo>
                  <a:pt x="104" y="0"/>
                </a:lnTo>
                <a:lnTo>
                  <a:pt x="126" y="8"/>
                </a:lnTo>
                <a:lnTo>
                  <a:pt x="136" y="22"/>
                </a:lnTo>
                <a:lnTo>
                  <a:pt x="126" y="32"/>
                </a:lnTo>
                <a:lnTo>
                  <a:pt x="122" y="54"/>
                </a:lnTo>
                <a:lnTo>
                  <a:pt x="146" y="68"/>
                </a:lnTo>
                <a:lnTo>
                  <a:pt x="130" y="84"/>
                </a:lnTo>
                <a:lnTo>
                  <a:pt x="140" y="102"/>
                </a:lnTo>
                <a:lnTo>
                  <a:pt x="146" y="118"/>
                </a:lnTo>
                <a:lnTo>
                  <a:pt x="138" y="138"/>
                </a:lnTo>
                <a:lnTo>
                  <a:pt x="148" y="148"/>
                </a:lnTo>
                <a:lnTo>
                  <a:pt x="156" y="162"/>
                </a:lnTo>
                <a:lnTo>
                  <a:pt x="146" y="172"/>
                </a:lnTo>
                <a:lnTo>
                  <a:pt x="170" y="190"/>
                </a:lnTo>
                <a:lnTo>
                  <a:pt x="162" y="204"/>
                </a:lnTo>
                <a:lnTo>
                  <a:pt x="136" y="228"/>
                </a:lnTo>
                <a:lnTo>
                  <a:pt x="106" y="25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54" name="Freeform 134">
            <a:extLst>
              <a:ext uri="{FF2B5EF4-FFF2-40B4-BE49-F238E27FC236}">
                <a16:creationId xmlns:a16="http://schemas.microsoft.com/office/drawing/2014/main" id="{DC175C39-223F-5463-B1B1-5FF2658BBA12}"/>
              </a:ext>
            </a:extLst>
          </p:cNvPr>
          <p:cNvSpPr>
            <a:spLocks/>
          </p:cNvSpPr>
          <p:nvPr/>
        </p:nvSpPr>
        <p:spPr bwMode="auto">
          <a:xfrm>
            <a:off x="5560484" y="2326218"/>
            <a:ext cx="406400" cy="666751"/>
          </a:xfrm>
          <a:custGeom>
            <a:avLst/>
            <a:gdLst>
              <a:gd name="T0" fmla="*/ 2147483647 w 209"/>
              <a:gd name="T1" fmla="*/ 2147483647 h 338"/>
              <a:gd name="T2" fmla="*/ 2147483647 w 209"/>
              <a:gd name="T3" fmla="*/ 2147483647 h 338"/>
              <a:gd name="T4" fmla="*/ 2147483647 w 209"/>
              <a:gd name="T5" fmla="*/ 2147483647 h 338"/>
              <a:gd name="T6" fmla="*/ 2147483647 w 209"/>
              <a:gd name="T7" fmla="*/ 2147483647 h 338"/>
              <a:gd name="T8" fmla="*/ 2147483647 w 209"/>
              <a:gd name="T9" fmla="*/ 2147483647 h 338"/>
              <a:gd name="T10" fmla="*/ 2147483647 w 209"/>
              <a:gd name="T11" fmla="*/ 2147483647 h 338"/>
              <a:gd name="T12" fmla="*/ 2147483647 w 209"/>
              <a:gd name="T13" fmla="*/ 2147483647 h 338"/>
              <a:gd name="T14" fmla="*/ 2147483647 w 209"/>
              <a:gd name="T15" fmla="*/ 2147483647 h 338"/>
              <a:gd name="T16" fmla="*/ 2147483647 w 209"/>
              <a:gd name="T17" fmla="*/ 2147483647 h 338"/>
              <a:gd name="T18" fmla="*/ 2147483647 w 209"/>
              <a:gd name="T19" fmla="*/ 2147483647 h 338"/>
              <a:gd name="T20" fmla="*/ 2147483647 w 209"/>
              <a:gd name="T21" fmla="*/ 2147483647 h 338"/>
              <a:gd name="T22" fmla="*/ 2147483647 w 209"/>
              <a:gd name="T23" fmla="*/ 2147483647 h 338"/>
              <a:gd name="T24" fmla="*/ 2147483647 w 209"/>
              <a:gd name="T25" fmla="*/ 2147483647 h 338"/>
              <a:gd name="T26" fmla="*/ 2147483647 w 209"/>
              <a:gd name="T27" fmla="*/ 2147483647 h 338"/>
              <a:gd name="T28" fmla="*/ 2147483647 w 209"/>
              <a:gd name="T29" fmla="*/ 2147483647 h 338"/>
              <a:gd name="T30" fmla="*/ 2147483647 w 209"/>
              <a:gd name="T31" fmla="*/ 2147483647 h 338"/>
              <a:gd name="T32" fmla="*/ 2147483647 w 209"/>
              <a:gd name="T33" fmla="*/ 2147483647 h 338"/>
              <a:gd name="T34" fmla="*/ 2147483647 w 209"/>
              <a:gd name="T35" fmla="*/ 2147483647 h 338"/>
              <a:gd name="T36" fmla="*/ 2147483647 w 209"/>
              <a:gd name="T37" fmla="*/ 2147483647 h 338"/>
              <a:gd name="T38" fmla="*/ 2147483647 w 209"/>
              <a:gd name="T39" fmla="*/ 2147483647 h 338"/>
              <a:gd name="T40" fmla="*/ 2147483647 w 209"/>
              <a:gd name="T41" fmla="*/ 2147483647 h 338"/>
              <a:gd name="T42" fmla="*/ 2147483647 w 209"/>
              <a:gd name="T43" fmla="*/ 2147483647 h 338"/>
              <a:gd name="T44" fmla="*/ 2147483647 w 209"/>
              <a:gd name="T45" fmla="*/ 2147483647 h 338"/>
              <a:gd name="T46" fmla="*/ 2147483647 w 209"/>
              <a:gd name="T47" fmla="*/ 2147483647 h 338"/>
              <a:gd name="T48" fmla="*/ 2147483647 w 209"/>
              <a:gd name="T49" fmla="*/ 2147483647 h 338"/>
              <a:gd name="T50" fmla="*/ 2147483647 w 209"/>
              <a:gd name="T51" fmla="*/ 2147483647 h 338"/>
              <a:gd name="T52" fmla="*/ 2147483647 w 209"/>
              <a:gd name="T53" fmla="*/ 2147483647 h 338"/>
              <a:gd name="T54" fmla="*/ 2147483647 w 209"/>
              <a:gd name="T55" fmla="*/ 2147483647 h 338"/>
              <a:gd name="T56" fmla="*/ 2147483647 w 209"/>
              <a:gd name="T57" fmla="*/ 2147483647 h 338"/>
              <a:gd name="T58" fmla="*/ 2147483647 w 209"/>
              <a:gd name="T59" fmla="*/ 2147483647 h 338"/>
              <a:gd name="T60" fmla="*/ 2147483647 w 209"/>
              <a:gd name="T61" fmla="*/ 2147483647 h 338"/>
              <a:gd name="T62" fmla="*/ 2147483647 w 209"/>
              <a:gd name="T63" fmla="*/ 2147483647 h 338"/>
              <a:gd name="T64" fmla="*/ 2147483647 w 209"/>
              <a:gd name="T65" fmla="*/ 2147483647 h 338"/>
              <a:gd name="T66" fmla="*/ 2147483647 w 209"/>
              <a:gd name="T67" fmla="*/ 2147483647 h 33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09"/>
              <a:gd name="T103" fmla="*/ 0 h 338"/>
              <a:gd name="T104" fmla="*/ 209 w 209"/>
              <a:gd name="T105" fmla="*/ 338 h 338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09" h="338">
                <a:moveTo>
                  <a:pt x="155" y="0"/>
                </a:moveTo>
                <a:lnTo>
                  <a:pt x="167" y="10"/>
                </a:lnTo>
                <a:lnTo>
                  <a:pt x="175" y="18"/>
                </a:lnTo>
                <a:lnTo>
                  <a:pt x="189" y="18"/>
                </a:lnTo>
                <a:lnTo>
                  <a:pt x="199" y="32"/>
                </a:lnTo>
                <a:lnTo>
                  <a:pt x="199" y="40"/>
                </a:lnTo>
                <a:lnTo>
                  <a:pt x="197" y="52"/>
                </a:lnTo>
                <a:lnTo>
                  <a:pt x="205" y="56"/>
                </a:lnTo>
                <a:lnTo>
                  <a:pt x="199" y="72"/>
                </a:lnTo>
                <a:lnTo>
                  <a:pt x="209" y="86"/>
                </a:lnTo>
                <a:lnTo>
                  <a:pt x="191" y="88"/>
                </a:lnTo>
                <a:lnTo>
                  <a:pt x="181" y="90"/>
                </a:lnTo>
                <a:lnTo>
                  <a:pt x="167" y="100"/>
                </a:lnTo>
                <a:lnTo>
                  <a:pt x="161" y="114"/>
                </a:lnTo>
                <a:lnTo>
                  <a:pt x="165" y="124"/>
                </a:lnTo>
                <a:lnTo>
                  <a:pt x="153" y="138"/>
                </a:lnTo>
                <a:lnTo>
                  <a:pt x="137" y="150"/>
                </a:lnTo>
                <a:lnTo>
                  <a:pt x="121" y="152"/>
                </a:lnTo>
                <a:lnTo>
                  <a:pt x="111" y="166"/>
                </a:lnTo>
                <a:lnTo>
                  <a:pt x="103" y="178"/>
                </a:lnTo>
                <a:lnTo>
                  <a:pt x="99" y="194"/>
                </a:lnTo>
                <a:lnTo>
                  <a:pt x="101" y="216"/>
                </a:lnTo>
                <a:lnTo>
                  <a:pt x="115" y="222"/>
                </a:lnTo>
                <a:lnTo>
                  <a:pt x="125" y="236"/>
                </a:lnTo>
                <a:lnTo>
                  <a:pt x="123" y="248"/>
                </a:lnTo>
                <a:lnTo>
                  <a:pt x="111" y="256"/>
                </a:lnTo>
                <a:lnTo>
                  <a:pt x="93" y="266"/>
                </a:lnTo>
                <a:lnTo>
                  <a:pt x="91" y="278"/>
                </a:lnTo>
                <a:lnTo>
                  <a:pt x="91" y="292"/>
                </a:lnTo>
                <a:lnTo>
                  <a:pt x="87" y="304"/>
                </a:lnTo>
                <a:lnTo>
                  <a:pt x="81" y="316"/>
                </a:lnTo>
                <a:lnTo>
                  <a:pt x="69" y="322"/>
                </a:lnTo>
                <a:lnTo>
                  <a:pt x="55" y="324"/>
                </a:lnTo>
                <a:lnTo>
                  <a:pt x="51" y="336"/>
                </a:lnTo>
                <a:lnTo>
                  <a:pt x="37" y="338"/>
                </a:lnTo>
                <a:lnTo>
                  <a:pt x="33" y="324"/>
                </a:lnTo>
                <a:lnTo>
                  <a:pt x="29" y="316"/>
                </a:lnTo>
                <a:lnTo>
                  <a:pt x="29" y="308"/>
                </a:lnTo>
                <a:lnTo>
                  <a:pt x="17" y="290"/>
                </a:lnTo>
                <a:lnTo>
                  <a:pt x="11" y="274"/>
                </a:lnTo>
                <a:lnTo>
                  <a:pt x="0" y="254"/>
                </a:lnTo>
                <a:lnTo>
                  <a:pt x="17" y="252"/>
                </a:lnTo>
                <a:lnTo>
                  <a:pt x="17" y="236"/>
                </a:lnTo>
                <a:lnTo>
                  <a:pt x="25" y="228"/>
                </a:lnTo>
                <a:lnTo>
                  <a:pt x="29" y="216"/>
                </a:lnTo>
                <a:lnTo>
                  <a:pt x="17" y="208"/>
                </a:lnTo>
                <a:lnTo>
                  <a:pt x="31" y="206"/>
                </a:lnTo>
                <a:lnTo>
                  <a:pt x="29" y="194"/>
                </a:lnTo>
                <a:lnTo>
                  <a:pt x="17" y="188"/>
                </a:lnTo>
                <a:lnTo>
                  <a:pt x="17" y="168"/>
                </a:lnTo>
                <a:lnTo>
                  <a:pt x="17" y="138"/>
                </a:lnTo>
                <a:lnTo>
                  <a:pt x="33" y="134"/>
                </a:lnTo>
                <a:lnTo>
                  <a:pt x="49" y="128"/>
                </a:lnTo>
                <a:lnTo>
                  <a:pt x="53" y="124"/>
                </a:lnTo>
                <a:lnTo>
                  <a:pt x="47" y="110"/>
                </a:lnTo>
                <a:lnTo>
                  <a:pt x="57" y="94"/>
                </a:lnTo>
                <a:lnTo>
                  <a:pt x="59" y="80"/>
                </a:lnTo>
                <a:lnTo>
                  <a:pt x="73" y="76"/>
                </a:lnTo>
                <a:lnTo>
                  <a:pt x="75" y="64"/>
                </a:lnTo>
                <a:lnTo>
                  <a:pt x="87" y="54"/>
                </a:lnTo>
                <a:lnTo>
                  <a:pt x="87" y="42"/>
                </a:lnTo>
                <a:lnTo>
                  <a:pt x="99" y="26"/>
                </a:lnTo>
                <a:lnTo>
                  <a:pt x="117" y="24"/>
                </a:lnTo>
                <a:lnTo>
                  <a:pt x="117" y="12"/>
                </a:lnTo>
                <a:lnTo>
                  <a:pt x="131" y="10"/>
                </a:lnTo>
                <a:lnTo>
                  <a:pt x="131" y="18"/>
                </a:lnTo>
                <a:lnTo>
                  <a:pt x="145" y="18"/>
                </a:lnTo>
                <a:lnTo>
                  <a:pt x="145" y="2"/>
                </a:lnTo>
                <a:lnTo>
                  <a:pt x="155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55" name="Freeform 135">
            <a:extLst>
              <a:ext uri="{FF2B5EF4-FFF2-40B4-BE49-F238E27FC236}">
                <a16:creationId xmlns:a16="http://schemas.microsoft.com/office/drawing/2014/main" id="{979A3F29-7BA8-E893-2F8A-10B88468596F}"/>
              </a:ext>
            </a:extLst>
          </p:cNvPr>
          <p:cNvSpPr>
            <a:spLocks/>
          </p:cNvSpPr>
          <p:nvPr/>
        </p:nvSpPr>
        <p:spPr bwMode="auto">
          <a:xfrm>
            <a:off x="5376334" y="2209801"/>
            <a:ext cx="802217" cy="666751"/>
          </a:xfrm>
          <a:custGeom>
            <a:avLst/>
            <a:gdLst>
              <a:gd name="T0" fmla="*/ 2147483647 w 411"/>
              <a:gd name="T1" fmla="*/ 2147483647 h 338"/>
              <a:gd name="T2" fmla="*/ 2147483647 w 411"/>
              <a:gd name="T3" fmla="*/ 2147483647 h 338"/>
              <a:gd name="T4" fmla="*/ 2147483647 w 411"/>
              <a:gd name="T5" fmla="*/ 2147483647 h 338"/>
              <a:gd name="T6" fmla="*/ 2147483647 w 411"/>
              <a:gd name="T7" fmla="*/ 2147483647 h 338"/>
              <a:gd name="T8" fmla="*/ 2147483647 w 411"/>
              <a:gd name="T9" fmla="*/ 2147483647 h 338"/>
              <a:gd name="T10" fmla="*/ 2147483647 w 411"/>
              <a:gd name="T11" fmla="*/ 2147483647 h 338"/>
              <a:gd name="T12" fmla="*/ 2147483647 w 411"/>
              <a:gd name="T13" fmla="*/ 2147483647 h 338"/>
              <a:gd name="T14" fmla="*/ 2147483647 w 411"/>
              <a:gd name="T15" fmla="*/ 2147483647 h 338"/>
              <a:gd name="T16" fmla="*/ 0 w 411"/>
              <a:gd name="T17" fmla="*/ 2147483647 h 338"/>
              <a:gd name="T18" fmla="*/ 2147483647 w 411"/>
              <a:gd name="T19" fmla="*/ 2147483647 h 338"/>
              <a:gd name="T20" fmla="*/ 2147483647 w 411"/>
              <a:gd name="T21" fmla="*/ 2147483647 h 338"/>
              <a:gd name="T22" fmla="*/ 2147483647 w 411"/>
              <a:gd name="T23" fmla="*/ 2147483647 h 338"/>
              <a:gd name="T24" fmla="*/ 2147483647 w 411"/>
              <a:gd name="T25" fmla="*/ 2147483647 h 338"/>
              <a:gd name="T26" fmla="*/ 2147483647 w 411"/>
              <a:gd name="T27" fmla="*/ 2147483647 h 338"/>
              <a:gd name="T28" fmla="*/ 2147483647 w 411"/>
              <a:gd name="T29" fmla="*/ 2147483647 h 338"/>
              <a:gd name="T30" fmla="*/ 2147483647 w 411"/>
              <a:gd name="T31" fmla="*/ 2147483647 h 338"/>
              <a:gd name="T32" fmla="*/ 2147483647 w 411"/>
              <a:gd name="T33" fmla="*/ 2147483647 h 338"/>
              <a:gd name="T34" fmla="*/ 2147483647 w 411"/>
              <a:gd name="T35" fmla="*/ 2147483647 h 338"/>
              <a:gd name="T36" fmla="*/ 2147483647 w 411"/>
              <a:gd name="T37" fmla="*/ 2147483647 h 338"/>
              <a:gd name="T38" fmla="*/ 2147483647 w 411"/>
              <a:gd name="T39" fmla="*/ 2147483647 h 338"/>
              <a:gd name="T40" fmla="*/ 2147483647 w 411"/>
              <a:gd name="T41" fmla="*/ 2147483647 h 338"/>
              <a:gd name="T42" fmla="*/ 2147483647 w 411"/>
              <a:gd name="T43" fmla="*/ 2147483647 h 338"/>
              <a:gd name="T44" fmla="*/ 2147483647 w 411"/>
              <a:gd name="T45" fmla="*/ 2147483647 h 338"/>
              <a:gd name="T46" fmla="*/ 2147483647 w 411"/>
              <a:gd name="T47" fmla="*/ 2147483647 h 338"/>
              <a:gd name="T48" fmla="*/ 2147483647 w 411"/>
              <a:gd name="T49" fmla="*/ 2147483647 h 338"/>
              <a:gd name="T50" fmla="*/ 2147483647 w 411"/>
              <a:gd name="T51" fmla="*/ 2147483647 h 338"/>
              <a:gd name="T52" fmla="*/ 2147483647 w 411"/>
              <a:gd name="T53" fmla="*/ 2147483647 h 338"/>
              <a:gd name="T54" fmla="*/ 2147483647 w 411"/>
              <a:gd name="T55" fmla="*/ 2147483647 h 338"/>
              <a:gd name="T56" fmla="*/ 2147483647 w 411"/>
              <a:gd name="T57" fmla="*/ 2147483647 h 338"/>
              <a:gd name="T58" fmla="*/ 2147483647 w 411"/>
              <a:gd name="T59" fmla="*/ 2147483647 h 338"/>
              <a:gd name="T60" fmla="*/ 2147483647 w 411"/>
              <a:gd name="T61" fmla="*/ 2147483647 h 338"/>
              <a:gd name="T62" fmla="*/ 2147483647 w 411"/>
              <a:gd name="T63" fmla="*/ 2147483647 h 338"/>
              <a:gd name="T64" fmla="*/ 2147483647 w 411"/>
              <a:gd name="T65" fmla="*/ 2147483647 h 338"/>
              <a:gd name="T66" fmla="*/ 2147483647 w 411"/>
              <a:gd name="T67" fmla="*/ 2147483647 h 338"/>
              <a:gd name="T68" fmla="*/ 2147483647 w 411"/>
              <a:gd name="T69" fmla="*/ 2147483647 h 338"/>
              <a:gd name="T70" fmla="*/ 2147483647 w 411"/>
              <a:gd name="T71" fmla="*/ 2147483647 h 338"/>
              <a:gd name="T72" fmla="*/ 2147483647 w 411"/>
              <a:gd name="T73" fmla="*/ 2147483647 h 338"/>
              <a:gd name="T74" fmla="*/ 2147483647 w 411"/>
              <a:gd name="T75" fmla="*/ 2147483647 h 338"/>
              <a:gd name="T76" fmla="*/ 2147483647 w 411"/>
              <a:gd name="T77" fmla="*/ 2147483647 h 338"/>
              <a:gd name="T78" fmla="*/ 2147483647 w 411"/>
              <a:gd name="T79" fmla="*/ 2147483647 h 338"/>
              <a:gd name="T80" fmla="*/ 2147483647 w 411"/>
              <a:gd name="T81" fmla="*/ 2147483647 h 338"/>
              <a:gd name="T82" fmla="*/ 2147483647 w 411"/>
              <a:gd name="T83" fmla="*/ 2147483647 h 338"/>
              <a:gd name="T84" fmla="*/ 2147483647 w 411"/>
              <a:gd name="T85" fmla="*/ 2147483647 h 338"/>
              <a:gd name="T86" fmla="*/ 2147483647 w 411"/>
              <a:gd name="T87" fmla="*/ 2147483647 h 338"/>
              <a:gd name="T88" fmla="*/ 2147483647 w 411"/>
              <a:gd name="T89" fmla="*/ 2147483647 h 338"/>
              <a:gd name="T90" fmla="*/ 2147483647 w 411"/>
              <a:gd name="T91" fmla="*/ 2147483647 h 338"/>
              <a:gd name="T92" fmla="*/ 2147483647 w 411"/>
              <a:gd name="T93" fmla="*/ 2147483647 h 338"/>
              <a:gd name="T94" fmla="*/ 2147483647 w 411"/>
              <a:gd name="T95" fmla="*/ 2147483647 h 338"/>
              <a:gd name="T96" fmla="*/ 2147483647 w 411"/>
              <a:gd name="T97" fmla="*/ 2147483647 h 338"/>
              <a:gd name="T98" fmla="*/ 2147483647 w 411"/>
              <a:gd name="T99" fmla="*/ 2147483647 h 338"/>
              <a:gd name="T100" fmla="*/ 2147483647 w 411"/>
              <a:gd name="T101" fmla="*/ 2147483647 h 338"/>
              <a:gd name="T102" fmla="*/ 2147483647 w 411"/>
              <a:gd name="T103" fmla="*/ 2147483647 h 338"/>
              <a:gd name="T104" fmla="*/ 2147483647 w 411"/>
              <a:gd name="T105" fmla="*/ 2147483647 h 338"/>
              <a:gd name="T106" fmla="*/ 2147483647 w 411"/>
              <a:gd name="T107" fmla="*/ 2147483647 h 338"/>
              <a:gd name="T108" fmla="*/ 2147483647 w 411"/>
              <a:gd name="T109" fmla="*/ 2147483647 h 338"/>
              <a:gd name="T110" fmla="*/ 2147483647 w 411"/>
              <a:gd name="T111" fmla="*/ 2147483647 h 338"/>
              <a:gd name="T112" fmla="*/ 2147483647 w 411"/>
              <a:gd name="T113" fmla="*/ 2147483647 h 33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1"/>
              <a:gd name="T172" fmla="*/ 0 h 338"/>
              <a:gd name="T173" fmla="*/ 411 w 411"/>
              <a:gd name="T174" fmla="*/ 338 h 33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1" h="338">
                <a:moveTo>
                  <a:pt x="96" y="314"/>
                </a:moveTo>
                <a:lnTo>
                  <a:pt x="92" y="310"/>
                </a:lnTo>
                <a:lnTo>
                  <a:pt x="88" y="300"/>
                </a:lnTo>
                <a:lnTo>
                  <a:pt x="82" y="312"/>
                </a:lnTo>
                <a:lnTo>
                  <a:pt x="74" y="316"/>
                </a:lnTo>
                <a:lnTo>
                  <a:pt x="62" y="328"/>
                </a:lnTo>
                <a:lnTo>
                  <a:pt x="42" y="338"/>
                </a:lnTo>
                <a:lnTo>
                  <a:pt x="24" y="334"/>
                </a:lnTo>
                <a:lnTo>
                  <a:pt x="12" y="324"/>
                </a:lnTo>
                <a:lnTo>
                  <a:pt x="10" y="316"/>
                </a:lnTo>
                <a:lnTo>
                  <a:pt x="18" y="306"/>
                </a:lnTo>
                <a:lnTo>
                  <a:pt x="16" y="302"/>
                </a:lnTo>
                <a:lnTo>
                  <a:pt x="6" y="304"/>
                </a:lnTo>
                <a:lnTo>
                  <a:pt x="4" y="296"/>
                </a:lnTo>
                <a:lnTo>
                  <a:pt x="18" y="286"/>
                </a:lnTo>
                <a:lnTo>
                  <a:pt x="8" y="280"/>
                </a:lnTo>
                <a:lnTo>
                  <a:pt x="4" y="272"/>
                </a:lnTo>
                <a:lnTo>
                  <a:pt x="0" y="250"/>
                </a:lnTo>
                <a:lnTo>
                  <a:pt x="4" y="240"/>
                </a:lnTo>
                <a:lnTo>
                  <a:pt x="26" y="230"/>
                </a:lnTo>
                <a:lnTo>
                  <a:pt x="42" y="226"/>
                </a:lnTo>
                <a:lnTo>
                  <a:pt x="56" y="220"/>
                </a:lnTo>
                <a:lnTo>
                  <a:pt x="62" y="208"/>
                </a:lnTo>
                <a:lnTo>
                  <a:pt x="70" y="208"/>
                </a:lnTo>
                <a:lnTo>
                  <a:pt x="84" y="210"/>
                </a:lnTo>
                <a:lnTo>
                  <a:pt x="98" y="202"/>
                </a:lnTo>
                <a:lnTo>
                  <a:pt x="94" y="194"/>
                </a:lnTo>
                <a:lnTo>
                  <a:pt x="84" y="204"/>
                </a:lnTo>
                <a:lnTo>
                  <a:pt x="74" y="202"/>
                </a:lnTo>
                <a:lnTo>
                  <a:pt x="92" y="184"/>
                </a:lnTo>
                <a:lnTo>
                  <a:pt x="103" y="178"/>
                </a:lnTo>
                <a:lnTo>
                  <a:pt x="113" y="164"/>
                </a:lnTo>
                <a:lnTo>
                  <a:pt x="127" y="140"/>
                </a:lnTo>
                <a:lnTo>
                  <a:pt x="137" y="134"/>
                </a:lnTo>
                <a:lnTo>
                  <a:pt x="137" y="122"/>
                </a:lnTo>
                <a:lnTo>
                  <a:pt x="157" y="106"/>
                </a:lnTo>
                <a:lnTo>
                  <a:pt x="167" y="100"/>
                </a:lnTo>
                <a:lnTo>
                  <a:pt x="175" y="86"/>
                </a:lnTo>
                <a:lnTo>
                  <a:pt x="183" y="86"/>
                </a:lnTo>
                <a:lnTo>
                  <a:pt x="185" y="72"/>
                </a:lnTo>
                <a:lnTo>
                  <a:pt x="175" y="78"/>
                </a:lnTo>
                <a:lnTo>
                  <a:pt x="163" y="78"/>
                </a:lnTo>
                <a:lnTo>
                  <a:pt x="161" y="72"/>
                </a:lnTo>
                <a:lnTo>
                  <a:pt x="165" y="62"/>
                </a:lnTo>
                <a:lnTo>
                  <a:pt x="175" y="56"/>
                </a:lnTo>
                <a:lnTo>
                  <a:pt x="183" y="64"/>
                </a:lnTo>
                <a:lnTo>
                  <a:pt x="201" y="68"/>
                </a:lnTo>
                <a:lnTo>
                  <a:pt x="203" y="60"/>
                </a:lnTo>
                <a:lnTo>
                  <a:pt x="193" y="54"/>
                </a:lnTo>
                <a:lnTo>
                  <a:pt x="199" y="44"/>
                </a:lnTo>
                <a:lnTo>
                  <a:pt x="217" y="48"/>
                </a:lnTo>
                <a:lnTo>
                  <a:pt x="225" y="30"/>
                </a:lnTo>
                <a:lnTo>
                  <a:pt x="237" y="30"/>
                </a:lnTo>
                <a:lnTo>
                  <a:pt x="243" y="40"/>
                </a:lnTo>
                <a:lnTo>
                  <a:pt x="257" y="32"/>
                </a:lnTo>
                <a:lnTo>
                  <a:pt x="267" y="38"/>
                </a:lnTo>
                <a:lnTo>
                  <a:pt x="273" y="26"/>
                </a:lnTo>
                <a:lnTo>
                  <a:pt x="285" y="24"/>
                </a:lnTo>
                <a:lnTo>
                  <a:pt x="285" y="34"/>
                </a:lnTo>
                <a:lnTo>
                  <a:pt x="291" y="36"/>
                </a:lnTo>
                <a:lnTo>
                  <a:pt x="295" y="16"/>
                </a:lnTo>
                <a:lnTo>
                  <a:pt x="309" y="16"/>
                </a:lnTo>
                <a:lnTo>
                  <a:pt x="329" y="0"/>
                </a:lnTo>
                <a:lnTo>
                  <a:pt x="337" y="4"/>
                </a:lnTo>
                <a:lnTo>
                  <a:pt x="319" y="22"/>
                </a:lnTo>
                <a:lnTo>
                  <a:pt x="319" y="32"/>
                </a:lnTo>
                <a:lnTo>
                  <a:pt x="343" y="10"/>
                </a:lnTo>
                <a:lnTo>
                  <a:pt x="343" y="22"/>
                </a:lnTo>
                <a:lnTo>
                  <a:pt x="359" y="4"/>
                </a:lnTo>
                <a:lnTo>
                  <a:pt x="373" y="6"/>
                </a:lnTo>
                <a:lnTo>
                  <a:pt x="369" y="20"/>
                </a:lnTo>
                <a:lnTo>
                  <a:pt x="387" y="10"/>
                </a:lnTo>
                <a:lnTo>
                  <a:pt x="411" y="20"/>
                </a:lnTo>
                <a:lnTo>
                  <a:pt x="401" y="32"/>
                </a:lnTo>
                <a:lnTo>
                  <a:pt x="381" y="30"/>
                </a:lnTo>
                <a:lnTo>
                  <a:pt x="397" y="44"/>
                </a:lnTo>
                <a:lnTo>
                  <a:pt x="397" y="50"/>
                </a:lnTo>
                <a:lnTo>
                  <a:pt x="387" y="52"/>
                </a:lnTo>
                <a:lnTo>
                  <a:pt x="377" y="38"/>
                </a:lnTo>
                <a:lnTo>
                  <a:pt x="355" y="30"/>
                </a:lnTo>
                <a:lnTo>
                  <a:pt x="335" y="42"/>
                </a:lnTo>
                <a:lnTo>
                  <a:pt x="333" y="44"/>
                </a:lnTo>
                <a:lnTo>
                  <a:pt x="329" y="60"/>
                </a:lnTo>
                <a:lnTo>
                  <a:pt x="317" y="72"/>
                </a:lnTo>
                <a:lnTo>
                  <a:pt x="303" y="70"/>
                </a:lnTo>
                <a:lnTo>
                  <a:pt x="275" y="68"/>
                </a:lnTo>
                <a:lnTo>
                  <a:pt x="267" y="58"/>
                </a:lnTo>
                <a:lnTo>
                  <a:pt x="261" y="52"/>
                </a:lnTo>
                <a:lnTo>
                  <a:pt x="251" y="60"/>
                </a:lnTo>
                <a:lnTo>
                  <a:pt x="241" y="62"/>
                </a:lnTo>
                <a:lnTo>
                  <a:pt x="241" y="78"/>
                </a:lnTo>
                <a:lnTo>
                  <a:pt x="227" y="78"/>
                </a:lnTo>
                <a:lnTo>
                  <a:pt x="227" y="70"/>
                </a:lnTo>
                <a:lnTo>
                  <a:pt x="213" y="72"/>
                </a:lnTo>
                <a:lnTo>
                  <a:pt x="213" y="84"/>
                </a:lnTo>
                <a:lnTo>
                  <a:pt x="195" y="86"/>
                </a:lnTo>
                <a:lnTo>
                  <a:pt x="183" y="102"/>
                </a:lnTo>
                <a:lnTo>
                  <a:pt x="183" y="114"/>
                </a:lnTo>
                <a:lnTo>
                  <a:pt x="171" y="124"/>
                </a:lnTo>
                <a:lnTo>
                  <a:pt x="169" y="136"/>
                </a:lnTo>
                <a:lnTo>
                  <a:pt x="155" y="140"/>
                </a:lnTo>
                <a:lnTo>
                  <a:pt x="153" y="154"/>
                </a:lnTo>
                <a:lnTo>
                  <a:pt x="143" y="170"/>
                </a:lnTo>
                <a:lnTo>
                  <a:pt x="149" y="184"/>
                </a:lnTo>
                <a:lnTo>
                  <a:pt x="145" y="188"/>
                </a:lnTo>
                <a:lnTo>
                  <a:pt x="113" y="198"/>
                </a:lnTo>
                <a:lnTo>
                  <a:pt x="113" y="248"/>
                </a:lnTo>
                <a:lnTo>
                  <a:pt x="125" y="254"/>
                </a:lnTo>
                <a:lnTo>
                  <a:pt x="127" y="266"/>
                </a:lnTo>
                <a:lnTo>
                  <a:pt x="113" y="268"/>
                </a:lnTo>
                <a:lnTo>
                  <a:pt x="125" y="276"/>
                </a:lnTo>
                <a:lnTo>
                  <a:pt x="121" y="288"/>
                </a:lnTo>
                <a:lnTo>
                  <a:pt x="113" y="296"/>
                </a:lnTo>
                <a:lnTo>
                  <a:pt x="113" y="312"/>
                </a:lnTo>
                <a:lnTo>
                  <a:pt x="96" y="31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56" name="Freeform 136">
            <a:extLst>
              <a:ext uri="{FF2B5EF4-FFF2-40B4-BE49-F238E27FC236}">
                <a16:creationId xmlns:a16="http://schemas.microsoft.com/office/drawing/2014/main" id="{C34E5DBF-96D5-35AC-14FA-AAD7ACC8B68F}"/>
              </a:ext>
            </a:extLst>
          </p:cNvPr>
          <p:cNvSpPr>
            <a:spLocks/>
          </p:cNvSpPr>
          <p:nvPr/>
        </p:nvSpPr>
        <p:spPr bwMode="auto">
          <a:xfrm>
            <a:off x="5956301" y="2808817"/>
            <a:ext cx="133351" cy="86784"/>
          </a:xfrm>
          <a:custGeom>
            <a:avLst/>
            <a:gdLst>
              <a:gd name="T0" fmla="*/ 2147483647 w 70"/>
              <a:gd name="T1" fmla="*/ 2147483647 h 44"/>
              <a:gd name="T2" fmla="*/ 2147483647 w 70"/>
              <a:gd name="T3" fmla="*/ 2147483647 h 44"/>
              <a:gd name="T4" fmla="*/ 2147483647 w 70"/>
              <a:gd name="T5" fmla="*/ 2147483647 h 44"/>
              <a:gd name="T6" fmla="*/ 2147483647 w 70"/>
              <a:gd name="T7" fmla="*/ 2147483647 h 44"/>
              <a:gd name="T8" fmla="*/ 2147483647 w 70"/>
              <a:gd name="T9" fmla="*/ 2147483647 h 44"/>
              <a:gd name="T10" fmla="*/ 2147483647 w 70"/>
              <a:gd name="T11" fmla="*/ 2147483647 h 44"/>
              <a:gd name="T12" fmla="*/ 2147483647 w 70"/>
              <a:gd name="T13" fmla="*/ 2147483647 h 44"/>
              <a:gd name="T14" fmla="*/ 2147483647 w 70"/>
              <a:gd name="T15" fmla="*/ 2147483647 h 44"/>
              <a:gd name="T16" fmla="*/ 2147483647 w 70"/>
              <a:gd name="T17" fmla="*/ 2147483647 h 44"/>
              <a:gd name="T18" fmla="*/ 2147483647 w 70"/>
              <a:gd name="T19" fmla="*/ 0 h 44"/>
              <a:gd name="T20" fmla="*/ 2147483647 w 70"/>
              <a:gd name="T21" fmla="*/ 2147483647 h 44"/>
              <a:gd name="T22" fmla="*/ 2147483647 w 70"/>
              <a:gd name="T23" fmla="*/ 2147483647 h 44"/>
              <a:gd name="T24" fmla="*/ 0 w 70"/>
              <a:gd name="T25" fmla="*/ 2147483647 h 44"/>
              <a:gd name="T26" fmla="*/ 2147483647 w 70"/>
              <a:gd name="T27" fmla="*/ 2147483647 h 44"/>
              <a:gd name="T28" fmla="*/ 2147483647 w 70"/>
              <a:gd name="T29" fmla="*/ 2147483647 h 44"/>
              <a:gd name="T30" fmla="*/ 2147483647 w 70"/>
              <a:gd name="T31" fmla="*/ 2147483647 h 44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70"/>
              <a:gd name="T49" fmla="*/ 0 h 44"/>
              <a:gd name="T50" fmla="*/ 70 w 70"/>
              <a:gd name="T51" fmla="*/ 44 h 44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70" h="44">
                <a:moveTo>
                  <a:pt x="16" y="36"/>
                </a:moveTo>
                <a:lnTo>
                  <a:pt x="28" y="36"/>
                </a:lnTo>
                <a:lnTo>
                  <a:pt x="40" y="40"/>
                </a:lnTo>
                <a:lnTo>
                  <a:pt x="52" y="44"/>
                </a:lnTo>
                <a:lnTo>
                  <a:pt x="62" y="44"/>
                </a:lnTo>
                <a:lnTo>
                  <a:pt x="64" y="32"/>
                </a:lnTo>
                <a:lnTo>
                  <a:pt x="64" y="16"/>
                </a:lnTo>
                <a:lnTo>
                  <a:pt x="70" y="4"/>
                </a:lnTo>
                <a:lnTo>
                  <a:pt x="54" y="6"/>
                </a:lnTo>
                <a:lnTo>
                  <a:pt x="40" y="0"/>
                </a:lnTo>
                <a:lnTo>
                  <a:pt x="18" y="4"/>
                </a:lnTo>
                <a:lnTo>
                  <a:pt x="2" y="8"/>
                </a:lnTo>
                <a:lnTo>
                  <a:pt x="0" y="20"/>
                </a:lnTo>
                <a:lnTo>
                  <a:pt x="6" y="30"/>
                </a:lnTo>
                <a:lnTo>
                  <a:pt x="14" y="30"/>
                </a:lnTo>
                <a:lnTo>
                  <a:pt x="16" y="3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57" name="Freeform 137">
            <a:extLst>
              <a:ext uri="{FF2B5EF4-FFF2-40B4-BE49-F238E27FC236}">
                <a16:creationId xmlns:a16="http://schemas.microsoft.com/office/drawing/2014/main" id="{E894D33F-FEC7-D985-5368-83886EB95811}"/>
              </a:ext>
            </a:extLst>
          </p:cNvPr>
          <p:cNvSpPr>
            <a:spLocks/>
          </p:cNvSpPr>
          <p:nvPr/>
        </p:nvSpPr>
        <p:spPr bwMode="auto">
          <a:xfrm>
            <a:off x="5869518" y="2876552"/>
            <a:ext cx="230717" cy="105833"/>
          </a:xfrm>
          <a:custGeom>
            <a:avLst/>
            <a:gdLst>
              <a:gd name="T0" fmla="*/ 2147483647 w 116"/>
              <a:gd name="T1" fmla="*/ 2147483647 h 54"/>
              <a:gd name="T2" fmla="*/ 2147483647 w 116"/>
              <a:gd name="T3" fmla="*/ 2147483647 h 54"/>
              <a:gd name="T4" fmla="*/ 2147483647 w 116"/>
              <a:gd name="T5" fmla="*/ 2147483647 h 54"/>
              <a:gd name="T6" fmla="*/ 2147483647 w 116"/>
              <a:gd name="T7" fmla="*/ 2147483647 h 54"/>
              <a:gd name="T8" fmla="*/ 2147483647 w 116"/>
              <a:gd name="T9" fmla="*/ 2147483647 h 54"/>
              <a:gd name="T10" fmla="*/ 2147483647 w 116"/>
              <a:gd name="T11" fmla="*/ 0 h 54"/>
              <a:gd name="T12" fmla="*/ 2147483647 w 116"/>
              <a:gd name="T13" fmla="*/ 0 h 54"/>
              <a:gd name="T14" fmla="*/ 2147483647 w 116"/>
              <a:gd name="T15" fmla="*/ 2147483647 h 54"/>
              <a:gd name="T16" fmla="*/ 2147483647 w 116"/>
              <a:gd name="T17" fmla="*/ 2147483647 h 54"/>
              <a:gd name="T18" fmla="*/ 2147483647 w 116"/>
              <a:gd name="T19" fmla="*/ 2147483647 h 54"/>
              <a:gd name="T20" fmla="*/ 2147483647 w 116"/>
              <a:gd name="T21" fmla="*/ 2147483647 h 54"/>
              <a:gd name="T22" fmla="*/ 2147483647 w 116"/>
              <a:gd name="T23" fmla="*/ 2147483647 h 54"/>
              <a:gd name="T24" fmla="*/ 2147483647 w 116"/>
              <a:gd name="T25" fmla="*/ 2147483647 h 54"/>
              <a:gd name="T26" fmla="*/ 2147483647 w 116"/>
              <a:gd name="T27" fmla="*/ 2147483647 h 54"/>
              <a:gd name="T28" fmla="*/ 2147483647 w 116"/>
              <a:gd name="T29" fmla="*/ 2147483647 h 54"/>
              <a:gd name="T30" fmla="*/ 2147483647 w 116"/>
              <a:gd name="T31" fmla="*/ 2147483647 h 54"/>
              <a:gd name="T32" fmla="*/ 2147483647 w 116"/>
              <a:gd name="T33" fmla="*/ 2147483647 h 54"/>
              <a:gd name="T34" fmla="*/ 2147483647 w 116"/>
              <a:gd name="T35" fmla="*/ 2147483647 h 54"/>
              <a:gd name="T36" fmla="*/ 0 w 116"/>
              <a:gd name="T37" fmla="*/ 2147483647 h 54"/>
              <a:gd name="T38" fmla="*/ 0 w 116"/>
              <a:gd name="T39" fmla="*/ 2147483647 h 54"/>
              <a:gd name="T40" fmla="*/ 2147483647 w 116"/>
              <a:gd name="T41" fmla="*/ 2147483647 h 54"/>
              <a:gd name="T42" fmla="*/ 2147483647 w 116"/>
              <a:gd name="T43" fmla="*/ 2147483647 h 54"/>
              <a:gd name="T44" fmla="*/ 2147483647 w 116"/>
              <a:gd name="T45" fmla="*/ 2147483647 h 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16"/>
              <a:gd name="T70" fmla="*/ 0 h 54"/>
              <a:gd name="T71" fmla="*/ 116 w 116"/>
              <a:gd name="T72" fmla="*/ 54 h 5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16" h="54">
                <a:moveTo>
                  <a:pt x="26" y="12"/>
                </a:moveTo>
                <a:lnTo>
                  <a:pt x="36" y="18"/>
                </a:lnTo>
                <a:lnTo>
                  <a:pt x="46" y="24"/>
                </a:lnTo>
                <a:lnTo>
                  <a:pt x="54" y="18"/>
                </a:lnTo>
                <a:lnTo>
                  <a:pt x="56" y="8"/>
                </a:lnTo>
                <a:lnTo>
                  <a:pt x="56" y="0"/>
                </a:lnTo>
                <a:lnTo>
                  <a:pt x="68" y="0"/>
                </a:lnTo>
                <a:lnTo>
                  <a:pt x="80" y="4"/>
                </a:lnTo>
                <a:lnTo>
                  <a:pt x="88" y="6"/>
                </a:lnTo>
                <a:lnTo>
                  <a:pt x="102" y="8"/>
                </a:lnTo>
                <a:lnTo>
                  <a:pt x="104" y="12"/>
                </a:lnTo>
                <a:lnTo>
                  <a:pt x="108" y="20"/>
                </a:lnTo>
                <a:lnTo>
                  <a:pt x="112" y="36"/>
                </a:lnTo>
                <a:lnTo>
                  <a:pt x="116" y="42"/>
                </a:lnTo>
                <a:lnTo>
                  <a:pt x="104" y="50"/>
                </a:lnTo>
                <a:lnTo>
                  <a:pt x="90" y="54"/>
                </a:lnTo>
                <a:lnTo>
                  <a:pt x="62" y="36"/>
                </a:lnTo>
                <a:lnTo>
                  <a:pt x="10" y="38"/>
                </a:lnTo>
                <a:lnTo>
                  <a:pt x="0" y="40"/>
                </a:lnTo>
                <a:lnTo>
                  <a:pt x="0" y="30"/>
                </a:lnTo>
                <a:lnTo>
                  <a:pt x="8" y="20"/>
                </a:lnTo>
                <a:lnTo>
                  <a:pt x="14" y="10"/>
                </a:lnTo>
                <a:lnTo>
                  <a:pt x="26" y="1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58" name="Freeform 138">
            <a:extLst>
              <a:ext uri="{FF2B5EF4-FFF2-40B4-BE49-F238E27FC236}">
                <a16:creationId xmlns:a16="http://schemas.microsoft.com/office/drawing/2014/main" id="{9ABAF237-DA90-EF99-C28E-9761318D86E1}"/>
              </a:ext>
            </a:extLst>
          </p:cNvPr>
          <p:cNvSpPr>
            <a:spLocks/>
          </p:cNvSpPr>
          <p:nvPr/>
        </p:nvSpPr>
        <p:spPr bwMode="auto">
          <a:xfrm>
            <a:off x="5869518" y="2944285"/>
            <a:ext cx="182033" cy="105833"/>
          </a:xfrm>
          <a:custGeom>
            <a:avLst/>
            <a:gdLst>
              <a:gd name="T0" fmla="*/ 0 w 90"/>
              <a:gd name="T1" fmla="*/ 2147483647 h 54"/>
              <a:gd name="T2" fmla="*/ 2147483647 w 90"/>
              <a:gd name="T3" fmla="*/ 2147483647 h 54"/>
              <a:gd name="T4" fmla="*/ 2147483647 w 90"/>
              <a:gd name="T5" fmla="*/ 0 h 54"/>
              <a:gd name="T6" fmla="*/ 2147483647 w 90"/>
              <a:gd name="T7" fmla="*/ 2147483647 h 54"/>
              <a:gd name="T8" fmla="*/ 2147483647 w 90"/>
              <a:gd name="T9" fmla="*/ 2147483647 h 54"/>
              <a:gd name="T10" fmla="*/ 2147483647 w 90"/>
              <a:gd name="T11" fmla="*/ 2147483647 h 54"/>
              <a:gd name="T12" fmla="*/ 2147483647 w 90"/>
              <a:gd name="T13" fmla="*/ 2147483647 h 54"/>
              <a:gd name="T14" fmla="*/ 2147483647 w 90"/>
              <a:gd name="T15" fmla="*/ 2147483647 h 54"/>
              <a:gd name="T16" fmla="*/ 2147483647 w 90"/>
              <a:gd name="T17" fmla="*/ 2147483647 h 54"/>
              <a:gd name="T18" fmla="*/ 2147483647 w 90"/>
              <a:gd name="T19" fmla="*/ 2147483647 h 54"/>
              <a:gd name="T20" fmla="*/ 2147483647 w 90"/>
              <a:gd name="T21" fmla="*/ 2147483647 h 54"/>
              <a:gd name="T22" fmla="*/ 2147483647 w 90"/>
              <a:gd name="T23" fmla="*/ 2147483647 h 54"/>
              <a:gd name="T24" fmla="*/ 2147483647 w 90"/>
              <a:gd name="T25" fmla="*/ 2147483647 h 54"/>
              <a:gd name="T26" fmla="*/ 0 w 90"/>
              <a:gd name="T27" fmla="*/ 2147483647 h 54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90"/>
              <a:gd name="T43" fmla="*/ 0 h 54"/>
              <a:gd name="T44" fmla="*/ 90 w 90"/>
              <a:gd name="T45" fmla="*/ 54 h 54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90" h="54">
                <a:moveTo>
                  <a:pt x="0" y="4"/>
                </a:moveTo>
                <a:lnTo>
                  <a:pt x="10" y="2"/>
                </a:lnTo>
                <a:lnTo>
                  <a:pt x="62" y="0"/>
                </a:lnTo>
                <a:lnTo>
                  <a:pt x="90" y="18"/>
                </a:lnTo>
                <a:lnTo>
                  <a:pt x="90" y="30"/>
                </a:lnTo>
                <a:lnTo>
                  <a:pt x="76" y="34"/>
                </a:lnTo>
                <a:lnTo>
                  <a:pt x="74" y="50"/>
                </a:lnTo>
                <a:lnTo>
                  <a:pt x="58" y="52"/>
                </a:lnTo>
                <a:lnTo>
                  <a:pt x="38" y="54"/>
                </a:lnTo>
                <a:lnTo>
                  <a:pt x="28" y="44"/>
                </a:lnTo>
                <a:lnTo>
                  <a:pt x="30" y="34"/>
                </a:lnTo>
                <a:lnTo>
                  <a:pt x="20" y="30"/>
                </a:lnTo>
                <a:lnTo>
                  <a:pt x="4" y="26"/>
                </a:lnTo>
                <a:lnTo>
                  <a:pt x="0" y="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59" name="Freeform 139">
            <a:extLst>
              <a:ext uri="{FF2B5EF4-FFF2-40B4-BE49-F238E27FC236}">
                <a16:creationId xmlns:a16="http://schemas.microsoft.com/office/drawing/2014/main" id="{1616CA50-D139-65A2-74C4-25A5E8DD8285}"/>
              </a:ext>
            </a:extLst>
          </p:cNvPr>
          <p:cNvSpPr>
            <a:spLocks/>
          </p:cNvSpPr>
          <p:nvPr/>
        </p:nvSpPr>
        <p:spPr bwMode="auto">
          <a:xfrm>
            <a:off x="5829301" y="2992967"/>
            <a:ext cx="107951" cy="48684"/>
          </a:xfrm>
          <a:custGeom>
            <a:avLst/>
            <a:gdLst>
              <a:gd name="T0" fmla="*/ 0 w 52"/>
              <a:gd name="T1" fmla="*/ 2147483647 h 20"/>
              <a:gd name="T2" fmla="*/ 2147483647 w 52"/>
              <a:gd name="T3" fmla="*/ 2147483647 h 20"/>
              <a:gd name="T4" fmla="*/ 2147483647 w 52"/>
              <a:gd name="T5" fmla="*/ 2147483647 h 20"/>
              <a:gd name="T6" fmla="*/ 2147483647 w 52"/>
              <a:gd name="T7" fmla="*/ 2147483647 h 20"/>
              <a:gd name="T8" fmla="*/ 2147483647 w 52"/>
              <a:gd name="T9" fmla="*/ 0 h 20"/>
              <a:gd name="T10" fmla="*/ 2147483647 w 52"/>
              <a:gd name="T11" fmla="*/ 2147483647 h 20"/>
              <a:gd name="T12" fmla="*/ 2147483647 w 52"/>
              <a:gd name="T13" fmla="*/ 2147483647 h 20"/>
              <a:gd name="T14" fmla="*/ 2147483647 w 52"/>
              <a:gd name="T15" fmla="*/ 2147483647 h 20"/>
              <a:gd name="T16" fmla="*/ 0 w 52"/>
              <a:gd name="T17" fmla="*/ 2147483647 h 2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2"/>
              <a:gd name="T28" fmla="*/ 0 h 20"/>
              <a:gd name="T29" fmla="*/ 52 w 52"/>
              <a:gd name="T30" fmla="*/ 20 h 2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2" h="20">
                <a:moveTo>
                  <a:pt x="0" y="12"/>
                </a:moveTo>
                <a:lnTo>
                  <a:pt x="4" y="20"/>
                </a:lnTo>
                <a:lnTo>
                  <a:pt x="50" y="18"/>
                </a:lnTo>
                <a:lnTo>
                  <a:pt x="52" y="8"/>
                </a:lnTo>
                <a:lnTo>
                  <a:pt x="30" y="0"/>
                </a:lnTo>
                <a:lnTo>
                  <a:pt x="24" y="8"/>
                </a:lnTo>
                <a:lnTo>
                  <a:pt x="8" y="6"/>
                </a:lnTo>
                <a:lnTo>
                  <a:pt x="6" y="12"/>
                </a:lnTo>
                <a:lnTo>
                  <a:pt x="0" y="1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60" name="Freeform 140">
            <a:extLst>
              <a:ext uri="{FF2B5EF4-FFF2-40B4-BE49-F238E27FC236}">
                <a16:creationId xmlns:a16="http://schemas.microsoft.com/office/drawing/2014/main" id="{0C4D60DE-9FD5-7EB8-D125-4A8AEB528CAB}"/>
              </a:ext>
            </a:extLst>
          </p:cNvPr>
          <p:cNvSpPr>
            <a:spLocks/>
          </p:cNvSpPr>
          <p:nvPr/>
        </p:nvSpPr>
        <p:spPr bwMode="auto">
          <a:xfrm>
            <a:off x="5947833" y="2952751"/>
            <a:ext cx="287867" cy="211667"/>
          </a:xfrm>
          <a:custGeom>
            <a:avLst/>
            <a:gdLst>
              <a:gd name="T0" fmla="*/ 2147483647 w 150"/>
              <a:gd name="T1" fmla="*/ 2147483647 h 106"/>
              <a:gd name="T2" fmla="*/ 2147483647 w 150"/>
              <a:gd name="T3" fmla="*/ 2147483647 h 106"/>
              <a:gd name="T4" fmla="*/ 2147483647 w 150"/>
              <a:gd name="T5" fmla="*/ 2147483647 h 106"/>
              <a:gd name="T6" fmla="*/ 2147483647 w 150"/>
              <a:gd name="T7" fmla="*/ 2147483647 h 106"/>
              <a:gd name="T8" fmla="*/ 2147483647 w 150"/>
              <a:gd name="T9" fmla="*/ 2147483647 h 106"/>
              <a:gd name="T10" fmla="*/ 2147483647 w 150"/>
              <a:gd name="T11" fmla="*/ 2147483647 h 106"/>
              <a:gd name="T12" fmla="*/ 2147483647 w 150"/>
              <a:gd name="T13" fmla="*/ 2147483647 h 106"/>
              <a:gd name="T14" fmla="*/ 2147483647 w 150"/>
              <a:gd name="T15" fmla="*/ 0 h 106"/>
              <a:gd name="T16" fmla="*/ 2147483647 w 150"/>
              <a:gd name="T17" fmla="*/ 2147483647 h 106"/>
              <a:gd name="T18" fmla="*/ 2147483647 w 150"/>
              <a:gd name="T19" fmla="*/ 2147483647 h 106"/>
              <a:gd name="T20" fmla="*/ 2147483647 w 150"/>
              <a:gd name="T21" fmla="*/ 2147483647 h 106"/>
              <a:gd name="T22" fmla="*/ 2147483647 w 150"/>
              <a:gd name="T23" fmla="*/ 2147483647 h 106"/>
              <a:gd name="T24" fmla="*/ 2147483647 w 150"/>
              <a:gd name="T25" fmla="*/ 2147483647 h 106"/>
              <a:gd name="T26" fmla="*/ 2147483647 w 150"/>
              <a:gd name="T27" fmla="*/ 2147483647 h 106"/>
              <a:gd name="T28" fmla="*/ 2147483647 w 150"/>
              <a:gd name="T29" fmla="*/ 2147483647 h 106"/>
              <a:gd name="T30" fmla="*/ 2147483647 w 150"/>
              <a:gd name="T31" fmla="*/ 2147483647 h 106"/>
              <a:gd name="T32" fmla="*/ 2147483647 w 150"/>
              <a:gd name="T33" fmla="*/ 2147483647 h 106"/>
              <a:gd name="T34" fmla="*/ 2147483647 w 150"/>
              <a:gd name="T35" fmla="*/ 2147483647 h 106"/>
              <a:gd name="T36" fmla="*/ 2147483647 w 150"/>
              <a:gd name="T37" fmla="*/ 2147483647 h 106"/>
              <a:gd name="T38" fmla="*/ 2147483647 w 150"/>
              <a:gd name="T39" fmla="*/ 2147483647 h 106"/>
              <a:gd name="T40" fmla="*/ 2147483647 w 150"/>
              <a:gd name="T41" fmla="*/ 2147483647 h 106"/>
              <a:gd name="T42" fmla="*/ 2147483647 w 150"/>
              <a:gd name="T43" fmla="*/ 2147483647 h 106"/>
              <a:gd name="T44" fmla="*/ 2147483647 w 150"/>
              <a:gd name="T45" fmla="*/ 2147483647 h 106"/>
              <a:gd name="T46" fmla="*/ 2147483647 w 150"/>
              <a:gd name="T47" fmla="*/ 2147483647 h 106"/>
              <a:gd name="T48" fmla="*/ 2147483647 w 150"/>
              <a:gd name="T49" fmla="*/ 2147483647 h 106"/>
              <a:gd name="T50" fmla="*/ 0 w 150"/>
              <a:gd name="T51" fmla="*/ 2147483647 h 106"/>
              <a:gd name="T52" fmla="*/ 2147483647 w 150"/>
              <a:gd name="T53" fmla="*/ 2147483647 h 106"/>
              <a:gd name="T54" fmla="*/ 2147483647 w 150"/>
              <a:gd name="T55" fmla="*/ 2147483647 h 106"/>
              <a:gd name="T56" fmla="*/ 2147483647 w 150"/>
              <a:gd name="T57" fmla="*/ 2147483647 h 106"/>
              <a:gd name="T58" fmla="*/ 2147483647 w 150"/>
              <a:gd name="T59" fmla="*/ 2147483647 h 106"/>
              <a:gd name="T60" fmla="*/ 2147483647 w 150"/>
              <a:gd name="T61" fmla="*/ 2147483647 h 10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50"/>
              <a:gd name="T94" fmla="*/ 0 h 106"/>
              <a:gd name="T95" fmla="*/ 150 w 150"/>
              <a:gd name="T96" fmla="*/ 106 h 10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50" h="106">
                <a:moveTo>
                  <a:pt x="2" y="48"/>
                </a:moveTo>
                <a:lnTo>
                  <a:pt x="24" y="44"/>
                </a:lnTo>
                <a:lnTo>
                  <a:pt x="38" y="44"/>
                </a:lnTo>
                <a:lnTo>
                  <a:pt x="40" y="28"/>
                </a:lnTo>
                <a:lnTo>
                  <a:pt x="54" y="24"/>
                </a:lnTo>
                <a:lnTo>
                  <a:pt x="54" y="12"/>
                </a:lnTo>
                <a:lnTo>
                  <a:pt x="68" y="8"/>
                </a:lnTo>
                <a:lnTo>
                  <a:pt x="80" y="0"/>
                </a:lnTo>
                <a:lnTo>
                  <a:pt x="98" y="4"/>
                </a:lnTo>
                <a:lnTo>
                  <a:pt x="98" y="10"/>
                </a:lnTo>
                <a:lnTo>
                  <a:pt x="118" y="12"/>
                </a:lnTo>
                <a:lnTo>
                  <a:pt x="122" y="34"/>
                </a:lnTo>
                <a:lnTo>
                  <a:pt x="150" y="64"/>
                </a:lnTo>
                <a:lnTo>
                  <a:pt x="148" y="66"/>
                </a:lnTo>
                <a:lnTo>
                  <a:pt x="130" y="66"/>
                </a:lnTo>
                <a:lnTo>
                  <a:pt x="130" y="86"/>
                </a:lnTo>
                <a:lnTo>
                  <a:pt x="118" y="88"/>
                </a:lnTo>
                <a:lnTo>
                  <a:pt x="114" y="106"/>
                </a:lnTo>
                <a:lnTo>
                  <a:pt x="94" y="104"/>
                </a:lnTo>
                <a:lnTo>
                  <a:pt x="92" y="98"/>
                </a:lnTo>
                <a:lnTo>
                  <a:pt x="64" y="98"/>
                </a:lnTo>
                <a:lnTo>
                  <a:pt x="46" y="94"/>
                </a:lnTo>
                <a:lnTo>
                  <a:pt x="16" y="88"/>
                </a:lnTo>
                <a:lnTo>
                  <a:pt x="6" y="102"/>
                </a:lnTo>
                <a:lnTo>
                  <a:pt x="6" y="88"/>
                </a:lnTo>
                <a:lnTo>
                  <a:pt x="0" y="84"/>
                </a:lnTo>
                <a:lnTo>
                  <a:pt x="2" y="78"/>
                </a:lnTo>
                <a:lnTo>
                  <a:pt x="10" y="78"/>
                </a:lnTo>
                <a:lnTo>
                  <a:pt x="10" y="64"/>
                </a:lnTo>
                <a:lnTo>
                  <a:pt x="6" y="60"/>
                </a:lnTo>
                <a:lnTo>
                  <a:pt x="2" y="4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61" name="Freeform 141">
            <a:extLst>
              <a:ext uri="{FF2B5EF4-FFF2-40B4-BE49-F238E27FC236}">
                <a16:creationId xmlns:a16="http://schemas.microsoft.com/office/drawing/2014/main" id="{A56FE2E4-825B-79A9-3E40-03AA14D44B3A}"/>
              </a:ext>
            </a:extLst>
          </p:cNvPr>
          <p:cNvSpPr>
            <a:spLocks/>
          </p:cNvSpPr>
          <p:nvPr/>
        </p:nvSpPr>
        <p:spPr bwMode="auto">
          <a:xfrm>
            <a:off x="5027085" y="2836334"/>
            <a:ext cx="251884" cy="387351"/>
          </a:xfrm>
          <a:custGeom>
            <a:avLst/>
            <a:gdLst>
              <a:gd name="T0" fmla="*/ 2147483647 w 126"/>
              <a:gd name="T1" fmla="*/ 2147483647 h 192"/>
              <a:gd name="T2" fmla="*/ 2147483647 w 126"/>
              <a:gd name="T3" fmla="*/ 2147483647 h 192"/>
              <a:gd name="T4" fmla="*/ 2147483647 w 126"/>
              <a:gd name="T5" fmla="*/ 2147483647 h 192"/>
              <a:gd name="T6" fmla="*/ 2147483647 w 126"/>
              <a:gd name="T7" fmla="*/ 2147483647 h 192"/>
              <a:gd name="T8" fmla="*/ 0 w 126"/>
              <a:gd name="T9" fmla="*/ 2147483647 h 192"/>
              <a:gd name="T10" fmla="*/ 2147483647 w 126"/>
              <a:gd name="T11" fmla="*/ 2147483647 h 192"/>
              <a:gd name="T12" fmla="*/ 2147483647 w 126"/>
              <a:gd name="T13" fmla="*/ 2147483647 h 192"/>
              <a:gd name="T14" fmla="*/ 2147483647 w 126"/>
              <a:gd name="T15" fmla="*/ 0 h 192"/>
              <a:gd name="T16" fmla="*/ 2147483647 w 126"/>
              <a:gd name="T17" fmla="*/ 2147483647 h 192"/>
              <a:gd name="T18" fmla="*/ 2147483647 w 126"/>
              <a:gd name="T19" fmla="*/ 2147483647 h 192"/>
              <a:gd name="T20" fmla="*/ 2147483647 w 126"/>
              <a:gd name="T21" fmla="*/ 2147483647 h 192"/>
              <a:gd name="T22" fmla="*/ 2147483647 w 126"/>
              <a:gd name="T23" fmla="*/ 2147483647 h 192"/>
              <a:gd name="T24" fmla="*/ 2147483647 w 126"/>
              <a:gd name="T25" fmla="*/ 2147483647 h 192"/>
              <a:gd name="T26" fmla="*/ 2147483647 w 126"/>
              <a:gd name="T27" fmla="*/ 2147483647 h 192"/>
              <a:gd name="T28" fmla="*/ 2147483647 w 126"/>
              <a:gd name="T29" fmla="*/ 2147483647 h 192"/>
              <a:gd name="T30" fmla="*/ 2147483647 w 126"/>
              <a:gd name="T31" fmla="*/ 2147483647 h 192"/>
              <a:gd name="T32" fmla="*/ 2147483647 w 126"/>
              <a:gd name="T33" fmla="*/ 2147483647 h 192"/>
              <a:gd name="T34" fmla="*/ 2147483647 w 126"/>
              <a:gd name="T35" fmla="*/ 2147483647 h 192"/>
              <a:gd name="T36" fmla="*/ 2147483647 w 126"/>
              <a:gd name="T37" fmla="*/ 2147483647 h 192"/>
              <a:gd name="T38" fmla="*/ 2147483647 w 126"/>
              <a:gd name="T39" fmla="*/ 2147483647 h 192"/>
              <a:gd name="T40" fmla="*/ 2147483647 w 126"/>
              <a:gd name="T41" fmla="*/ 2147483647 h 192"/>
              <a:gd name="T42" fmla="*/ 2147483647 w 126"/>
              <a:gd name="T43" fmla="*/ 2147483647 h 192"/>
              <a:gd name="T44" fmla="*/ 2147483647 w 126"/>
              <a:gd name="T45" fmla="*/ 2147483647 h 192"/>
              <a:gd name="T46" fmla="*/ 2147483647 w 126"/>
              <a:gd name="T47" fmla="*/ 2147483647 h 192"/>
              <a:gd name="T48" fmla="*/ 2147483647 w 126"/>
              <a:gd name="T49" fmla="*/ 2147483647 h 192"/>
              <a:gd name="T50" fmla="*/ 2147483647 w 126"/>
              <a:gd name="T51" fmla="*/ 2147483647 h 192"/>
              <a:gd name="T52" fmla="*/ 2147483647 w 126"/>
              <a:gd name="T53" fmla="*/ 2147483647 h 192"/>
              <a:gd name="T54" fmla="*/ 2147483647 w 126"/>
              <a:gd name="T55" fmla="*/ 2147483647 h 192"/>
              <a:gd name="T56" fmla="*/ 2147483647 w 126"/>
              <a:gd name="T57" fmla="*/ 2147483647 h 192"/>
              <a:gd name="T58" fmla="*/ 2147483647 w 126"/>
              <a:gd name="T59" fmla="*/ 2147483647 h 192"/>
              <a:gd name="T60" fmla="*/ 2147483647 w 126"/>
              <a:gd name="T61" fmla="*/ 2147483647 h 192"/>
              <a:gd name="T62" fmla="*/ 2147483647 w 126"/>
              <a:gd name="T63" fmla="*/ 2147483647 h 192"/>
              <a:gd name="T64" fmla="*/ 2147483647 w 126"/>
              <a:gd name="T65" fmla="*/ 2147483647 h 192"/>
              <a:gd name="T66" fmla="*/ 2147483647 w 126"/>
              <a:gd name="T67" fmla="*/ 2147483647 h 192"/>
              <a:gd name="T68" fmla="*/ 2147483647 w 126"/>
              <a:gd name="T69" fmla="*/ 2147483647 h 19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26"/>
              <a:gd name="T106" fmla="*/ 0 h 192"/>
              <a:gd name="T107" fmla="*/ 126 w 126"/>
              <a:gd name="T108" fmla="*/ 192 h 192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26" h="192">
                <a:moveTo>
                  <a:pt x="44" y="86"/>
                </a:moveTo>
                <a:lnTo>
                  <a:pt x="38" y="84"/>
                </a:lnTo>
                <a:lnTo>
                  <a:pt x="32" y="92"/>
                </a:lnTo>
                <a:lnTo>
                  <a:pt x="16" y="90"/>
                </a:lnTo>
                <a:lnTo>
                  <a:pt x="14" y="82"/>
                </a:lnTo>
                <a:lnTo>
                  <a:pt x="20" y="76"/>
                </a:lnTo>
                <a:lnTo>
                  <a:pt x="18" y="62"/>
                </a:lnTo>
                <a:lnTo>
                  <a:pt x="14" y="60"/>
                </a:lnTo>
                <a:lnTo>
                  <a:pt x="6" y="64"/>
                </a:lnTo>
                <a:lnTo>
                  <a:pt x="0" y="60"/>
                </a:lnTo>
                <a:lnTo>
                  <a:pt x="10" y="48"/>
                </a:lnTo>
                <a:lnTo>
                  <a:pt x="4" y="44"/>
                </a:lnTo>
                <a:lnTo>
                  <a:pt x="0" y="36"/>
                </a:lnTo>
                <a:lnTo>
                  <a:pt x="2" y="20"/>
                </a:lnTo>
                <a:lnTo>
                  <a:pt x="12" y="20"/>
                </a:lnTo>
                <a:lnTo>
                  <a:pt x="16" y="0"/>
                </a:lnTo>
                <a:lnTo>
                  <a:pt x="44" y="2"/>
                </a:lnTo>
                <a:lnTo>
                  <a:pt x="28" y="26"/>
                </a:lnTo>
                <a:lnTo>
                  <a:pt x="64" y="26"/>
                </a:lnTo>
                <a:lnTo>
                  <a:pt x="60" y="38"/>
                </a:lnTo>
                <a:lnTo>
                  <a:pt x="48" y="50"/>
                </a:lnTo>
                <a:lnTo>
                  <a:pt x="40" y="58"/>
                </a:lnTo>
                <a:lnTo>
                  <a:pt x="36" y="66"/>
                </a:lnTo>
                <a:lnTo>
                  <a:pt x="42" y="70"/>
                </a:lnTo>
                <a:lnTo>
                  <a:pt x="52" y="66"/>
                </a:lnTo>
                <a:lnTo>
                  <a:pt x="66" y="68"/>
                </a:lnTo>
                <a:lnTo>
                  <a:pt x="70" y="78"/>
                </a:lnTo>
                <a:lnTo>
                  <a:pt x="72" y="90"/>
                </a:lnTo>
                <a:lnTo>
                  <a:pt x="84" y="98"/>
                </a:lnTo>
                <a:lnTo>
                  <a:pt x="92" y="110"/>
                </a:lnTo>
                <a:lnTo>
                  <a:pt x="94" y="118"/>
                </a:lnTo>
                <a:lnTo>
                  <a:pt x="98" y="130"/>
                </a:lnTo>
                <a:lnTo>
                  <a:pt x="106" y="132"/>
                </a:lnTo>
                <a:lnTo>
                  <a:pt x="116" y="130"/>
                </a:lnTo>
                <a:lnTo>
                  <a:pt x="126" y="138"/>
                </a:lnTo>
                <a:lnTo>
                  <a:pt x="120" y="148"/>
                </a:lnTo>
                <a:lnTo>
                  <a:pt x="110" y="154"/>
                </a:lnTo>
                <a:lnTo>
                  <a:pt x="102" y="160"/>
                </a:lnTo>
                <a:lnTo>
                  <a:pt x="108" y="162"/>
                </a:lnTo>
                <a:lnTo>
                  <a:pt x="116" y="166"/>
                </a:lnTo>
                <a:lnTo>
                  <a:pt x="108" y="172"/>
                </a:lnTo>
                <a:lnTo>
                  <a:pt x="96" y="176"/>
                </a:lnTo>
                <a:lnTo>
                  <a:pt x="46" y="176"/>
                </a:lnTo>
                <a:lnTo>
                  <a:pt x="38" y="176"/>
                </a:lnTo>
                <a:lnTo>
                  <a:pt x="38" y="184"/>
                </a:lnTo>
                <a:lnTo>
                  <a:pt x="22" y="184"/>
                </a:lnTo>
                <a:lnTo>
                  <a:pt x="10" y="192"/>
                </a:lnTo>
                <a:lnTo>
                  <a:pt x="6" y="188"/>
                </a:lnTo>
                <a:lnTo>
                  <a:pt x="24" y="172"/>
                </a:lnTo>
                <a:lnTo>
                  <a:pt x="34" y="164"/>
                </a:lnTo>
                <a:lnTo>
                  <a:pt x="46" y="164"/>
                </a:lnTo>
                <a:lnTo>
                  <a:pt x="54" y="162"/>
                </a:lnTo>
                <a:lnTo>
                  <a:pt x="56" y="154"/>
                </a:lnTo>
                <a:lnTo>
                  <a:pt x="48" y="160"/>
                </a:lnTo>
                <a:lnTo>
                  <a:pt x="38" y="158"/>
                </a:lnTo>
                <a:lnTo>
                  <a:pt x="30" y="158"/>
                </a:lnTo>
                <a:lnTo>
                  <a:pt x="24" y="154"/>
                </a:lnTo>
                <a:lnTo>
                  <a:pt x="14" y="158"/>
                </a:lnTo>
                <a:lnTo>
                  <a:pt x="10" y="154"/>
                </a:lnTo>
                <a:lnTo>
                  <a:pt x="18" y="148"/>
                </a:lnTo>
                <a:lnTo>
                  <a:pt x="26" y="142"/>
                </a:lnTo>
                <a:lnTo>
                  <a:pt x="34" y="136"/>
                </a:lnTo>
                <a:lnTo>
                  <a:pt x="34" y="130"/>
                </a:lnTo>
                <a:lnTo>
                  <a:pt x="24" y="128"/>
                </a:lnTo>
                <a:lnTo>
                  <a:pt x="24" y="120"/>
                </a:lnTo>
                <a:lnTo>
                  <a:pt x="48" y="122"/>
                </a:lnTo>
                <a:lnTo>
                  <a:pt x="48" y="112"/>
                </a:lnTo>
                <a:lnTo>
                  <a:pt x="52" y="102"/>
                </a:lnTo>
                <a:lnTo>
                  <a:pt x="38" y="94"/>
                </a:lnTo>
                <a:lnTo>
                  <a:pt x="44" y="8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62" name="Freeform 142">
            <a:extLst>
              <a:ext uri="{FF2B5EF4-FFF2-40B4-BE49-F238E27FC236}">
                <a16:creationId xmlns:a16="http://schemas.microsoft.com/office/drawing/2014/main" id="{744DE4BC-BFBB-EAFD-FFB3-2407EFF1D305}"/>
              </a:ext>
            </a:extLst>
          </p:cNvPr>
          <p:cNvSpPr>
            <a:spLocks/>
          </p:cNvSpPr>
          <p:nvPr/>
        </p:nvSpPr>
        <p:spPr bwMode="auto">
          <a:xfrm>
            <a:off x="4959351" y="3001434"/>
            <a:ext cx="78317" cy="48684"/>
          </a:xfrm>
          <a:custGeom>
            <a:avLst/>
            <a:gdLst>
              <a:gd name="T0" fmla="*/ 2147483647 w 38"/>
              <a:gd name="T1" fmla="*/ 0 h 24"/>
              <a:gd name="T2" fmla="*/ 2147483647 w 38"/>
              <a:gd name="T3" fmla="*/ 2147483647 h 24"/>
              <a:gd name="T4" fmla="*/ 2147483647 w 38"/>
              <a:gd name="T5" fmla="*/ 2147483647 h 24"/>
              <a:gd name="T6" fmla="*/ 2147483647 w 38"/>
              <a:gd name="T7" fmla="*/ 2147483647 h 24"/>
              <a:gd name="T8" fmla="*/ 2147483647 w 38"/>
              <a:gd name="T9" fmla="*/ 2147483647 h 24"/>
              <a:gd name="T10" fmla="*/ 2147483647 w 38"/>
              <a:gd name="T11" fmla="*/ 2147483647 h 24"/>
              <a:gd name="T12" fmla="*/ 2147483647 w 38"/>
              <a:gd name="T13" fmla="*/ 2147483647 h 24"/>
              <a:gd name="T14" fmla="*/ 2147483647 w 38"/>
              <a:gd name="T15" fmla="*/ 2147483647 h 24"/>
              <a:gd name="T16" fmla="*/ 0 w 38"/>
              <a:gd name="T17" fmla="*/ 2147483647 h 24"/>
              <a:gd name="T18" fmla="*/ 2147483647 w 38"/>
              <a:gd name="T19" fmla="*/ 2147483647 h 24"/>
              <a:gd name="T20" fmla="*/ 2147483647 w 38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"/>
              <a:gd name="T34" fmla="*/ 0 h 24"/>
              <a:gd name="T35" fmla="*/ 38 w 38"/>
              <a:gd name="T36" fmla="*/ 24 h 2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" h="24">
                <a:moveTo>
                  <a:pt x="12" y="0"/>
                </a:moveTo>
                <a:lnTo>
                  <a:pt x="30" y="2"/>
                </a:lnTo>
                <a:lnTo>
                  <a:pt x="34" y="8"/>
                </a:lnTo>
                <a:lnTo>
                  <a:pt x="38" y="16"/>
                </a:lnTo>
                <a:lnTo>
                  <a:pt x="34" y="24"/>
                </a:lnTo>
                <a:lnTo>
                  <a:pt x="22" y="24"/>
                </a:lnTo>
                <a:lnTo>
                  <a:pt x="16" y="18"/>
                </a:lnTo>
                <a:lnTo>
                  <a:pt x="8" y="22"/>
                </a:lnTo>
                <a:lnTo>
                  <a:pt x="0" y="18"/>
                </a:lnTo>
                <a:lnTo>
                  <a:pt x="4" y="8"/>
                </a:lnTo>
                <a:lnTo>
                  <a:pt x="12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63" name="Freeform 143">
            <a:extLst>
              <a:ext uri="{FF2B5EF4-FFF2-40B4-BE49-F238E27FC236}">
                <a16:creationId xmlns:a16="http://schemas.microsoft.com/office/drawing/2014/main" id="{4AFB5F1A-E0E5-C26A-8DDB-0CF73EA16EBA}"/>
              </a:ext>
            </a:extLst>
          </p:cNvPr>
          <p:cNvSpPr>
            <a:spLocks/>
          </p:cNvSpPr>
          <p:nvPr/>
        </p:nvSpPr>
        <p:spPr bwMode="auto">
          <a:xfrm>
            <a:off x="4891617" y="3041651"/>
            <a:ext cx="135467" cy="114300"/>
          </a:xfrm>
          <a:custGeom>
            <a:avLst/>
            <a:gdLst>
              <a:gd name="T0" fmla="*/ 2147483647 w 66"/>
              <a:gd name="T1" fmla="*/ 2147483647 h 62"/>
              <a:gd name="T2" fmla="*/ 2147483647 w 66"/>
              <a:gd name="T3" fmla="*/ 2147483647 h 62"/>
              <a:gd name="T4" fmla="*/ 2147483647 w 66"/>
              <a:gd name="T5" fmla="*/ 2147483647 h 62"/>
              <a:gd name="T6" fmla="*/ 2147483647 w 66"/>
              <a:gd name="T7" fmla="*/ 2147483647 h 62"/>
              <a:gd name="T8" fmla="*/ 2147483647 w 66"/>
              <a:gd name="T9" fmla="*/ 2147483647 h 62"/>
              <a:gd name="T10" fmla="*/ 2147483647 w 66"/>
              <a:gd name="T11" fmla="*/ 2147483647 h 62"/>
              <a:gd name="T12" fmla="*/ 2147483647 w 66"/>
              <a:gd name="T13" fmla="*/ 2147483647 h 62"/>
              <a:gd name="T14" fmla="*/ 0 w 66"/>
              <a:gd name="T15" fmla="*/ 2147483647 h 62"/>
              <a:gd name="T16" fmla="*/ 2147483647 w 66"/>
              <a:gd name="T17" fmla="*/ 2147483647 h 62"/>
              <a:gd name="T18" fmla="*/ 2147483647 w 66"/>
              <a:gd name="T19" fmla="*/ 2147483647 h 62"/>
              <a:gd name="T20" fmla="*/ 2147483647 w 66"/>
              <a:gd name="T21" fmla="*/ 2147483647 h 62"/>
              <a:gd name="T22" fmla="*/ 2147483647 w 66"/>
              <a:gd name="T23" fmla="*/ 2147483647 h 62"/>
              <a:gd name="T24" fmla="*/ 2147483647 w 66"/>
              <a:gd name="T25" fmla="*/ 2147483647 h 62"/>
              <a:gd name="T26" fmla="*/ 2147483647 w 66"/>
              <a:gd name="T27" fmla="*/ 2147483647 h 62"/>
              <a:gd name="T28" fmla="*/ 2147483647 w 66"/>
              <a:gd name="T29" fmla="*/ 2147483647 h 62"/>
              <a:gd name="T30" fmla="*/ 2147483647 w 66"/>
              <a:gd name="T31" fmla="*/ 2147483647 h 62"/>
              <a:gd name="T32" fmla="*/ 2147483647 w 66"/>
              <a:gd name="T33" fmla="*/ 0 h 62"/>
              <a:gd name="T34" fmla="*/ 2147483647 w 66"/>
              <a:gd name="T35" fmla="*/ 2147483647 h 62"/>
              <a:gd name="T36" fmla="*/ 2147483647 w 66"/>
              <a:gd name="T37" fmla="*/ 2147483647 h 62"/>
              <a:gd name="T38" fmla="*/ 2147483647 w 66"/>
              <a:gd name="T39" fmla="*/ 0 h 62"/>
              <a:gd name="T40" fmla="*/ 2147483647 w 66"/>
              <a:gd name="T41" fmla="*/ 2147483647 h 62"/>
              <a:gd name="T42" fmla="*/ 2147483647 w 66"/>
              <a:gd name="T43" fmla="*/ 0 h 62"/>
              <a:gd name="T44" fmla="*/ 2147483647 w 66"/>
              <a:gd name="T45" fmla="*/ 2147483647 h 62"/>
              <a:gd name="T46" fmla="*/ 2147483647 w 66"/>
              <a:gd name="T47" fmla="*/ 2147483647 h 62"/>
              <a:gd name="T48" fmla="*/ 2147483647 w 66"/>
              <a:gd name="T49" fmla="*/ 2147483647 h 6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66"/>
              <a:gd name="T76" fmla="*/ 0 h 62"/>
              <a:gd name="T77" fmla="*/ 66 w 66"/>
              <a:gd name="T78" fmla="*/ 62 h 62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66" h="62">
                <a:moveTo>
                  <a:pt x="66" y="26"/>
                </a:moveTo>
                <a:lnTo>
                  <a:pt x="64" y="44"/>
                </a:lnTo>
                <a:lnTo>
                  <a:pt x="48" y="48"/>
                </a:lnTo>
                <a:lnTo>
                  <a:pt x="36" y="52"/>
                </a:lnTo>
                <a:lnTo>
                  <a:pt x="26" y="58"/>
                </a:lnTo>
                <a:lnTo>
                  <a:pt x="18" y="62"/>
                </a:lnTo>
                <a:lnTo>
                  <a:pt x="8" y="58"/>
                </a:lnTo>
                <a:lnTo>
                  <a:pt x="0" y="48"/>
                </a:lnTo>
                <a:lnTo>
                  <a:pt x="10" y="40"/>
                </a:lnTo>
                <a:lnTo>
                  <a:pt x="12" y="30"/>
                </a:lnTo>
                <a:lnTo>
                  <a:pt x="20" y="26"/>
                </a:lnTo>
                <a:lnTo>
                  <a:pt x="14" y="22"/>
                </a:lnTo>
                <a:lnTo>
                  <a:pt x="4" y="24"/>
                </a:lnTo>
                <a:lnTo>
                  <a:pt x="2" y="16"/>
                </a:lnTo>
                <a:lnTo>
                  <a:pt x="6" y="12"/>
                </a:lnTo>
                <a:lnTo>
                  <a:pt x="4" y="6"/>
                </a:lnTo>
                <a:lnTo>
                  <a:pt x="10" y="0"/>
                </a:lnTo>
                <a:lnTo>
                  <a:pt x="20" y="4"/>
                </a:lnTo>
                <a:lnTo>
                  <a:pt x="28" y="2"/>
                </a:lnTo>
                <a:lnTo>
                  <a:pt x="36" y="0"/>
                </a:lnTo>
                <a:lnTo>
                  <a:pt x="44" y="4"/>
                </a:lnTo>
                <a:lnTo>
                  <a:pt x="52" y="0"/>
                </a:lnTo>
                <a:lnTo>
                  <a:pt x="58" y="6"/>
                </a:lnTo>
                <a:lnTo>
                  <a:pt x="64" y="12"/>
                </a:lnTo>
                <a:lnTo>
                  <a:pt x="66" y="2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64" name="Freeform 144">
            <a:extLst>
              <a:ext uri="{FF2B5EF4-FFF2-40B4-BE49-F238E27FC236}">
                <a16:creationId xmlns:a16="http://schemas.microsoft.com/office/drawing/2014/main" id="{9DAD5AB4-CE99-9079-DC89-31E8CB5C1FF0}"/>
              </a:ext>
            </a:extLst>
          </p:cNvPr>
          <p:cNvSpPr>
            <a:spLocks/>
          </p:cNvSpPr>
          <p:nvPr/>
        </p:nvSpPr>
        <p:spPr bwMode="auto">
          <a:xfrm>
            <a:off x="5403851" y="3310467"/>
            <a:ext cx="137584" cy="78317"/>
          </a:xfrm>
          <a:custGeom>
            <a:avLst/>
            <a:gdLst>
              <a:gd name="T0" fmla="*/ 2147483647 w 70"/>
              <a:gd name="T1" fmla="*/ 2147483647 h 38"/>
              <a:gd name="T2" fmla="*/ 2147483647 w 70"/>
              <a:gd name="T3" fmla="*/ 2147483647 h 38"/>
              <a:gd name="T4" fmla="*/ 2147483647 w 70"/>
              <a:gd name="T5" fmla="*/ 0 h 38"/>
              <a:gd name="T6" fmla="*/ 2147483647 w 70"/>
              <a:gd name="T7" fmla="*/ 2147483647 h 38"/>
              <a:gd name="T8" fmla="*/ 2147483647 w 70"/>
              <a:gd name="T9" fmla="*/ 2147483647 h 38"/>
              <a:gd name="T10" fmla="*/ 2147483647 w 70"/>
              <a:gd name="T11" fmla="*/ 2147483647 h 38"/>
              <a:gd name="T12" fmla="*/ 2147483647 w 70"/>
              <a:gd name="T13" fmla="*/ 2147483647 h 38"/>
              <a:gd name="T14" fmla="*/ 2147483647 w 70"/>
              <a:gd name="T15" fmla="*/ 2147483647 h 38"/>
              <a:gd name="T16" fmla="*/ 2147483647 w 70"/>
              <a:gd name="T17" fmla="*/ 2147483647 h 38"/>
              <a:gd name="T18" fmla="*/ 2147483647 w 70"/>
              <a:gd name="T19" fmla="*/ 2147483647 h 38"/>
              <a:gd name="T20" fmla="*/ 2147483647 w 70"/>
              <a:gd name="T21" fmla="*/ 2147483647 h 38"/>
              <a:gd name="T22" fmla="*/ 2147483647 w 70"/>
              <a:gd name="T23" fmla="*/ 2147483647 h 38"/>
              <a:gd name="T24" fmla="*/ 2147483647 w 70"/>
              <a:gd name="T25" fmla="*/ 2147483647 h 38"/>
              <a:gd name="T26" fmla="*/ 2147483647 w 70"/>
              <a:gd name="T27" fmla="*/ 2147483647 h 38"/>
              <a:gd name="T28" fmla="*/ 2147483647 w 70"/>
              <a:gd name="T29" fmla="*/ 2147483647 h 38"/>
              <a:gd name="T30" fmla="*/ 2147483647 w 70"/>
              <a:gd name="T31" fmla="*/ 2147483647 h 38"/>
              <a:gd name="T32" fmla="*/ 2147483647 w 70"/>
              <a:gd name="T33" fmla="*/ 2147483647 h 38"/>
              <a:gd name="T34" fmla="*/ 2147483647 w 70"/>
              <a:gd name="T35" fmla="*/ 2147483647 h 38"/>
              <a:gd name="T36" fmla="*/ 2147483647 w 70"/>
              <a:gd name="T37" fmla="*/ 2147483647 h 38"/>
              <a:gd name="T38" fmla="*/ 2147483647 w 70"/>
              <a:gd name="T39" fmla="*/ 2147483647 h 38"/>
              <a:gd name="T40" fmla="*/ 2147483647 w 70"/>
              <a:gd name="T41" fmla="*/ 2147483647 h 38"/>
              <a:gd name="T42" fmla="*/ 0 w 70"/>
              <a:gd name="T43" fmla="*/ 2147483647 h 38"/>
              <a:gd name="T44" fmla="*/ 2147483647 w 70"/>
              <a:gd name="T45" fmla="*/ 2147483647 h 38"/>
              <a:gd name="T46" fmla="*/ 2147483647 w 70"/>
              <a:gd name="T47" fmla="*/ 2147483647 h 38"/>
              <a:gd name="T48" fmla="*/ 2147483647 w 70"/>
              <a:gd name="T49" fmla="*/ 2147483647 h 38"/>
              <a:gd name="T50" fmla="*/ 2147483647 w 70"/>
              <a:gd name="T51" fmla="*/ 2147483647 h 3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70"/>
              <a:gd name="T79" fmla="*/ 0 h 38"/>
              <a:gd name="T80" fmla="*/ 70 w 70"/>
              <a:gd name="T81" fmla="*/ 38 h 38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70" h="38">
                <a:moveTo>
                  <a:pt x="24" y="2"/>
                </a:moveTo>
                <a:lnTo>
                  <a:pt x="40" y="2"/>
                </a:lnTo>
                <a:lnTo>
                  <a:pt x="50" y="0"/>
                </a:lnTo>
                <a:lnTo>
                  <a:pt x="58" y="2"/>
                </a:lnTo>
                <a:lnTo>
                  <a:pt x="60" y="4"/>
                </a:lnTo>
                <a:lnTo>
                  <a:pt x="58" y="8"/>
                </a:lnTo>
                <a:lnTo>
                  <a:pt x="56" y="14"/>
                </a:lnTo>
                <a:lnTo>
                  <a:pt x="64" y="16"/>
                </a:lnTo>
                <a:lnTo>
                  <a:pt x="68" y="16"/>
                </a:lnTo>
                <a:lnTo>
                  <a:pt x="70" y="20"/>
                </a:lnTo>
                <a:lnTo>
                  <a:pt x="66" y="28"/>
                </a:lnTo>
                <a:lnTo>
                  <a:pt x="56" y="30"/>
                </a:lnTo>
                <a:lnTo>
                  <a:pt x="50" y="24"/>
                </a:lnTo>
                <a:lnTo>
                  <a:pt x="50" y="34"/>
                </a:lnTo>
                <a:lnTo>
                  <a:pt x="46" y="36"/>
                </a:lnTo>
                <a:lnTo>
                  <a:pt x="40" y="34"/>
                </a:lnTo>
                <a:lnTo>
                  <a:pt x="34" y="30"/>
                </a:lnTo>
                <a:lnTo>
                  <a:pt x="30" y="32"/>
                </a:lnTo>
                <a:lnTo>
                  <a:pt x="30" y="36"/>
                </a:lnTo>
                <a:lnTo>
                  <a:pt x="16" y="38"/>
                </a:lnTo>
                <a:lnTo>
                  <a:pt x="16" y="28"/>
                </a:lnTo>
                <a:lnTo>
                  <a:pt x="0" y="28"/>
                </a:lnTo>
                <a:lnTo>
                  <a:pt x="8" y="16"/>
                </a:lnTo>
                <a:lnTo>
                  <a:pt x="18" y="6"/>
                </a:lnTo>
                <a:lnTo>
                  <a:pt x="22" y="6"/>
                </a:lnTo>
                <a:lnTo>
                  <a:pt x="24" y="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65" name="Freeform 145">
            <a:extLst>
              <a:ext uri="{FF2B5EF4-FFF2-40B4-BE49-F238E27FC236}">
                <a16:creationId xmlns:a16="http://schemas.microsoft.com/office/drawing/2014/main" id="{B42DAFEE-5C14-1A75-FD08-50D571A4CA4E}"/>
              </a:ext>
            </a:extLst>
          </p:cNvPr>
          <p:cNvSpPr>
            <a:spLocks/>
          </p:cNvSpPr>
          <p:nvPr/>
        </p:nvSpPr>
        <p:spPr bwMode="auto">
          <a:xfrm>
            <a:off x="5067300" y="3164418"/>
            <a:ext cx="406400" cy="351367"/>
          </a:xfrm>
          <a:custGeom>
            <a:avLst/>
            <a:gdLst>
              <a:gd name="T0" fmla="*/ 2147483647 w 204"/>
              <a:gd name="T1" fmla="*/ 2147483647 h 172"/>
              <a:gd name="T2" fmla="*/ 2147483647 w 204"/>
              <a:gd name="T3" fmla="*/ 2147483647 h 172"/>
              <a:gd name="T4" fmla="*/ 2147483647 w 204"/>
              <a:gd name="T5" fmla="*/ 2147483647 h 172"/>
              <a:gd name="T6" fmla="*/ 2147483647 w 204"/>
              <a:gd name="T7" fmla="*/ 2147483647 h 172"/>
              <a:gd name="T8" fmla="*/ 2147483647 w 204"/>
              <a:gd name="T9" fmla="*/ 2147483647 h 172"/>
              <a:gd name="T10" fmla="*/ 2147483647 w 204"/>
              <a:gd name="T11" fmla="*/ 2147483647 h 172"/>
              <a:gd name="T12" fmla="*/ 2147483647 w 204"/>
              <a:gd name="T13" fmla="*/ 2147483647 h 172"/>
              <a:gd name="T14" fmla="*/ 2147483647 w 204"/>
              <a:gd name="T15" fmla="*/ 2147483647 h 172"/>
              <a:gd name="T16" fmla="*/ 2147483647 w 204"/>
              <a:gd name="T17" fmla="*/ 2147483647 h 172"/>
              <a:gd name="T18" fmla="*/ 2147483647 w 204"/>
              <a:gd name="T19" fmla="*/ 2147483647 h 172"/>
              <a:gd name="T20" fmla="*/ 2147483647 w 204"/>
              <a:gd name="T21" fmla="*/ 2147483647 h 172"/>
              <a:gd name="T22" fmla="*/ 2147483647 w 204"/>
              <a:gd name="T23" fmla="*/ 2147483647 h 172"/>
              <a:gd name="T24" fmla="*/ 2147483647 w 204"/>
              <a:gd name="T25" fmla="*/ 2147483647 h 172"/>
              <a:gd name="T26" fmla="*/ 2147483647 w 204"/>
              <a:gd name="T27" fmla="*/ 2147483647 h 172"/>
              <a:gd name="T28" fmla="*/ 2147483647 w 204"/>
              <a:gd name="T29" fmla="*/ 2147483647 h 172"/>
              <a:gd name="T30" fmla="*/ 2147483647 w 204"/>
              <a:gd name="T31" fmla="*/ 2147483647 h 172"/>
              <a:gd name="T32" fmla="*/ 2147483647 w 204"/>
              <a:gd name="T33" fmla="*/ 2147483647 h 172"/>
              <a:gd name="T34" fmla="*/ 2147483647 w 204"/>
              <a:gd name="T35" fmla="*/ 2147483647 h 172"/>
              <a:gd name="T36" fmla="*/ 2147483647 w 204"/>
              <a:gd name="T37" fmla="*/ 2147483647 h 172"/>
              <a:gd name="T38" fmla="*/ 2147483647 w 204"/>
              <a:gd name="T39" fmla="*/ 2147483647 h 172"/>
              <a:gd name="T40" fmla="*/ 2147483647 w 204"/>
              <a:gd name="T41" fmla="*/ 2147483647 h 172"/>
              <a:gd name="T42" fmla="*/ 2147483647 w 204"/>
              <a:gd name="T43" fmla="*/ 2147483647 h 172"/>
              <a:gd name="T44" fmla="*/ 2147483647 w 204"/>
              <a:gd name="T45" fmla="*/ 2147483647 h 172"/>
              <a:gd name="T46" fmla="*/ 2147483647 w 204"/>
              <a:gd name="T47" fmla="*/ 2147483647 h 172"/>
              <a:gd name="T48" fmla="*/ 2147483647 w 204"/>
              <a:gd name="T49" fmla="*/ 2147483647 h 172"/>
              <a:gd name="T50" fmla="*/ 0 w 204"/>
              <a:gd name="T51" fmla="*/ 2147483647 h 172"/>
              <a:gd name="T52" fmla="*/ 2147483647 w 204"/>
              <a:gd name="T53" fmla="*/ 2147483647 h 172"/>
              <a:gd name="T54" fmla="*/ 2147483647 w 204"/>
              <a:gd name="T55" fmla="*/ 2147483647 h 172"/>
              <a:gd name="T56" fmla="*/ 2147483647 w 204"/>
              <a:gd name="T57" fmla="*/ 2147483647 h 172"/>
              <a:gd name="T58" fmla="*/ 2147483647 w 204"/>
              <a:gd name="T59" fmla="*/ 2147483647 h 172"/>
              <a:gd name="T60" fmla="*/ 2147483647 w 204"/>
              <a:gd name="T61" fmla="*/ 2147483647 h 172"/>
              <a:gd name="T62" fmla="*/ 2147483647 w 204"/>
              <a:gd name="T63" fmla="*/ 2147483647 h 172"/>
              <a:gd name="T64" fmla="*/ 2147483647 w 204"/>
              <a:gd name="T65" fmla="*/ 2147483647 h 172"/>
              <a:gd name="T66" fmla="*/ 2147483647 w 204"/>
              <a:gd name="T67" fmla="*/ 2147483647 h 172"/>
              <a:gd name="T68" fmla="*/ 2147483647 w 204"/>
              <a:gd name="T69" fmla="*/ 0 h 17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04"/>
              <a:gd name="T106" fmla="*/ 0 h 172"/>
              <a:gd name="T107" fmla="*/ 204 w 204"/>
              <a:gd name="T108" fmla="*/ 172 h 172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04" h="172">
                <a:moveTo>
                  <a:pt x="116" y="0"/>
                </a:moveTo>
                <a:lnTo>
                  <a:pt x="126" y="8"/>
                </a:lnTo>
                <a:lnTo>
                  <a:pt x="140" y="20"/>
                </a:lnTo>
                <a:lnTo>
                  <a:pt x="152" y="24"/>
                </a:lnTo>
                <a:lnTo>
                  <a:pt x="154" y="28"/>
                </a:lnTo>
                <a:lnTo>
                  <a:pt x="162" y="32"/>
                </a:lnTo>
                <a:lnTo>
                  <a:pt x="174" y="32"/>
                </a:lnTo>
                <a:lnTo>
                  <a:pt x="180" y="36"/>
                </a:lnTo>
                <a:lnTo>
                  <a:pt x="184" y="40"/>
                </a:lnTo>
                <a:lnTo>
                  <a:pt x="202" y="40"/>
                </a:lnTo>
                <a:lnTo>
                  <a:pt x="204" y="44"/>
                </a:lnTo>
                <a:lnTo>
                  <a:pt x="198" y="56"/>
                </a:lnTo>
                <a:lnTo>
                  <a:pt x="194" y="64"/>
                </a:lnTo>
                <a:lnTo>
                  <a:pt x="194" y="70"/>
                </a:lnTo>
                <a:lnTo>
                  <a:pt x="192" y="74"/>
                </a:lnTo>
                <a:lnTo>
                  <a:pt x="188" y="74"/>
                </a:lnTo>
                <a:lnTo>
                  <a:pt x="178" y="84"/>
                </a:lnTo>
                <a:lnTo>
                  <a:pt x="170" y="96"/>
                </a:lnTo>
                <a:lnTo>
                  <a:pt x="186" y="96"/>
                </a:lnTo>
                <a:lnTo>
                  <a:pt x="186" y="106"/>
                </a:lnTo>
                <a:lnTo>
                  <a:pt x="186" y="112"/>
                </a:lnTo>
                <a:lnTo>
                  <a:pt x="188" y="116"/>
                </a:lnTo>
                <a:lnTo>
                  <a:pt x="184" y="124"/>
                </a:lnTo>
                <a:lnTo>
                  <a:pt x="186" y="140"/>
                </a:lnTo>
                <a:lnTo>
                  <a:pt x="194" y="140"/>
                </a:lnTo>
                <a:lnTo>
                  <a:pt x="194" y="148"/>
                </a:lnTo>
                <a:lnTo>
                  <a:pt x="186" y="150"/>
                </a:lnTo>
                <a:lnTo>
                  <a:pt x="182" y="158"/>
                </a:lnTo>
                <a:lnTo>
                  <a:pt x="172" y="162"/>
                </a:lnTo>
                <a:lnTo>
                  <a:pt x="160" y="156"/>
                </a:lnTo>
                <a:lnTo>
                  <a:pt x="150" y="154"/>
                </a:lnTo>
                <a:lnTo>
                  <a:pt x="138" y="152"/>
                </a:lnTo>
                <a:lnTo>
                  <a:pt x="128" y="156"/>
                </a:lnTo>
                <a:lnTo>
                  <a:pt x="122" y="162"/>
                </a:lnTo>
                <a:lnTo>
                  <a:pt x="122" y="172"/>
                </a:lnTo>
                <a:lnTo>
                  <a:pt x="106" y="172"/>
                </a:lnTo>
                <a:lnTo>
                  <a:pt x="92" y="166"/>
                </a:lnTo>
                <a:lnTo>
                  <a:pt x="80" y="168"/>
                </a:lnTo>
                <a:lnTo>
                  <a:pt x="64" y="162"/>
                </a:lnTo>
                <a:lnTo>
                  <a:pt x="50" y="156"/>
                </a:lnTo>
                <a:lnTo>
                  <a:pt x="50" y="144"/>
                </a:lnTo>
                <a:lnTo>
                  <a:pt x="56" y="128"/>
                </a:lnTo>
                <a:lnTo>
                  <a:pt x="56" y="116"/>
                </a:lnTo>
                <a:lnTo>
                  <a:pt x="64" y="116"/>
                </a:lnTo>
                <a:lnTo>
                  <a:pt x="56" y="98"/>
                </a:lnTo>
                <a:lnTo>
                  <a:pt x="44" y="90"/>
                </a:lnTo>
                <a:lnTo>
                  <a:pt x="42" y="82"/>
                </a:lnTo>
                <a:lnTo>
                  <a:pt x="36" y="76"/>
                </a:lnTo>
                <a:lnTo>
                  <a:pt x="26" y="70"/>
                </a:lnTo>
                <a:lnTo>
                  <a:pt x="18" y="66"/>
                </a:lnTo>
                <a:lnTo>
                  <a:pt x="6" y="66"/>
                </a:lnTo>
                <a:lnTo>
                  <a:pt x="0" y="60"/>
                </a:lnTo>
                <a:lnTo>
                  <a:pt x="2" y="52"/>
                </a:lnTo>
                <a:lnTo>
                  <a:pt x="8" y="50"/>
                </a:lnTo>
                <a:lnTo>
                  <a:pt x="18" y="48"/>
                </a:lnTo>
                <a:lnTo>
                  <a:pt x="26" y="48"/>
                </a:lnTo>
                <a:lnTo>
                  <a:pt x="32" y="54"/>
                </a:lnTo>
                <a:lnTo>
                  <a:pt x="40" y="50"/>
                </a:lnTo>
                <a:lnTo>
                  <a:pt x="48" y="52"/>
                </a:lnTo>
                <a:lnTo>
                  <a:pt x="54" y="46"/>
                </a:lnTo>
                <a:lnTo>
                  <a:pt x="50" y="36"/>
                </a:lnTo>
                <a:lnTo>
                  <a:pt x="48" y="30"/>
                </a:lnTo>
                <a:lnTo>
                  <a:pt x="54" y="30"/>
                </a:lnTo>
                <a:lnTo>
                  <a:pt x="62" y="36"/>
                </a:lnTo>
                <a:lnTo>
                  <a:pt x="76" y="34"/>
                </a:lnTo>
                <a:lnTo>
                  <a:pt x="84" y="28"/>
                </a:lnTo>
                <a:lnTo>
                  <a:pt x="96" y="22"/>
                </a:lnTo>
                <a:lnTo>
                  <a:pt x="106" y="18"/>
                </a:lnTo>
                <a:lnTo>
                  <a:pt x="106" y="4"/>
                </a:lnTo>
                <a:lnTo>
                  <a:pt x="116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66" name="Freeform 146">
            <a:extLst>
              <a:ext uri="{FF2B5EF4-FFF2-40B4-BE49-F238E27FC236}">
                <a16:creationId xmlns:a16="http://schemas.microsoft.com/office/drawing/2014/main" id="{144CF3F3-7329-8124-100F-D24CABB0A94E}"/>
              </a:ext>
            </a:extLst>
          </p:cNvPr>
          <p:cNvSpPr>
            <a:spLocks/>
          </p:cNvSpPr>
          <p:nvPr/>
        </p:nvSpPr>
        <p:spPr bwMode="auto">
          <a:xfrm>
            <a:off x="4921252" y="3515785"/>
            <a:ext cx="105833" cy="190500"/>
          </a:xfrm>
          <a:custGeom>
            <a:avLst/>
            <a:gdLst>
              <a:gd name="T0" fmla="*/ 2147483647 w 54"/>
              <a:gd name="T1" fmla="*/ 2147483647 h 96"/>
              <a:gd name="T2" fmla="*/ 2147483647 w 54"/>
              <a:gd name="T3" fmla="*/ 2147483647 h 96"/>
              <a:gd name="T4" fmla="*/ 2147483647 w 54"/>
              <a:gd name="T5" fmla="*/ 2147483647 h 96"/>
              <a:gd name="T6" fmla="*/ 2147483647 w 54"/>
              <a:gd name="T7" fmla="*/ 2147483647 h 96"/>
              <a:gd name="T8" fmla="*/ 2147483647 w 54"/>
              <a:gd name="T9" fmla="*/ 2147483647 h 96"/>
              <a:gd name="T10" fmla="*/ 2147483647 w 54"/>
              <a:gd name="T11" fmla="*/ 2147483647 h 96"/>
              <a:gd name="T12" fmla="*/ 0 w 54"/>
              <a:gd name="T13" fmla="*/ 2147483647 h 96"/>
              <a:gd name="T14" fmla="*/ 2147483647 w 54"/>
              <a:gd name="T15" fmla="*/ 2147483647 h 96"/>
              <a:gd name="T16" fmla="*/ 2147483647 w 54"/>
              <a:gd name="T17" fmla="*/ 2147483647 h 96"/>
              <a:gd name="T18" fmla="*/ 2147483647 w 54"/>
              <a:gd name="T19" fmla="*/ 2147483647 h 96"/>
              <a:gd name="T20" fmla="*/ 2147483647 w 54"/>
              <a:gd name="T21" fmla="*/ 2147483647 h 96"/>
              <a:gd name="T22" fmla="*/ 2147483647 w 54"/>
              <a:gd name="T23" fmla="*/ 0 h 96"/>
              <a:gd name="T24" fmla="*/ 2147483647 w 54"/>
              <a:gd name="T25" fmla="*/ 2147483647 h 96"/>
              <a:gd name="T26" fmla="*/ 2147483647 w 54"/>
              <a:gd name="T27" fmla="*/ 2147483647 h 96"/>
              <a:gd name="T28" fmla="*/ 2147483647 w 54"/>
              <a:gd name="T29" fmla="*/ 2147483647 h 96"/>
              <a:gd name="T30" fmla="*/ 2147483647 w 54"/>
              <a:gd name="T31" fmla="*/ 2147483647 h 96"/>
              <a:gd name="T32" fmla="*/ 2147483647 w 54"/>
              <a:gd name="T33" fmla="*/ 2147483647 h 96"/>
              <a:gd name="T34" fmla="*/ 2147483647 w 54"/>
              <a:gd name="T35" fmla="*/ 2147483647 h 96"/>
              <a:gd name="T36" fmla="*/ 2147483647 w 54"/>
              <a:gd name="T37" fmla="*/ 2147483647 h 96"/>
              <a:gd name="T38" fmla="*/ 2147483647 w 54"/>
              <a:gd name="T39" fmla="*/ 2147483647 h 96"/>
              <a:gd name="T40" fmla="*/ 2147483647 w 54"/>
              <a:gd name="T41" fmla="*/ 2147483647 h 96"/>
              <a:gd name="T42" fmla="*/ 2147483647 w 54"/>
              <a:gd name="T43" fmla="*/ 2147483647 h 96"/>
              <a:gd name="T44" fmla="*/ 2147483647 w 54"/>
              <a:gd name="T45" fmla="*/ 2147483647 h 96"/>
              <a:gd name="T46" fmla="*/ 2147483647 w 54"/>
              <a:gd name="T47" fmla="*/ 2147483647 h 96"/>
              <a:gd name="T48" fmla="*/ 2147483647 w 54"/>
              <a:gd name="T49" fmla="*/ 2147483647 h 96"/>
              <a:gd name="T50" fmla="*/ 2147483647 w 54"/>
              <a:gd name="T51" fmla="*/ 2147483647 h 96"/>
              <a:gd name="T52" fmla="*/ 2147483647 w 54"/>
              <a:gd name="T53" fmla="*/ 2147483647 h 96"/>
              <a:gd name="T54" fmla="*/ 2147483647 w 54"/>
              <a:gd name="T55" fmla="*/ 2147483647 h 96"/>
              <a:gd name="T56" fmla="*/ 2147483647 w 54"/>
              <a:gd name="T57" fmla="*/ 2147483647 h 96"/>
              <a:gd name="T58" fmla="*/ 2147483647 w 54"/>
              <a:gd name="T59" fmla="*/ 2147483647 h 9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54"/>
              <a:gd name="T91" fmla="*/ 0 h 96"/>
              <a:gd name="T92" fmla="*/ 54 w 54"/>
              <a:gd name="T93" fmla="*/ 96 h 9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54" h="96">
                <a:moveTo>
                  <a:pt x="36" y="96"/>
                </a:moveTo>
                <a:lnTo>
                  <a:pt x="24" y="96"/>
                </a:lnTo>
                <a:lnTo>
                  <a:pt x="12" y="96"/>
                </a:lnTo>
                <a:lnTo>
                  <a:pt x="12" y="88"/>
                </a:lnTo>
                <a:lnTo>
                  <a:pt x="12" y="72"/>
                </a:lnTo>
                <a:lnTo>
                  <a:pt x="8" y="70"/>
                </a:lnTo>
                <a:lnTo>
                  <a:pt x="0" y="60"/>
                </a:lnTo>
                <a:lnTo>
                  <a:pt x="8" y="50"/>
                </a:lnTo>
                <a:lnTo>
                  <a:pt x="10" y="40"/>
                </a:lnTo>
                <a:lnTo>
                  <a:pt x="14" y="26"/>
                </a:lnTo>
                <a:lnTo>
                  <a:pt x="12" y="14"/>
                </a:lnTo>
                <a:lnTo>
                  <a:pt x="14" y="0"/>
                </a:lnTo>
                <a:lnTo>
                  <a:pt x="20" y="2"/>
                </a:lnTo>
                <a:lnTo>
                  <a:pt x="26" y="8"/>
                </a:lnTo>
                <a:lnTo>
                  <a:pt x="38" y="6"/>
                </a:lnTo>
                <a:lnTo>
                  <a:pt x="48" y="6"/>
                </a:lnTo>
                <a:lnTo>
                  <a:pt x="54" y="14"/>
                </a:lnTo>
                <a:lnTo>
                  <a:pt x="52" y="20"/>
                </a:lnTo>
                <a:lnTo>
                  <a:pt x="42" y="22"/>
                </a:lnTo>
                <a:lnTo>
                  <a:pt x="42" y="36"/>
                </a:lnTo>
                <a:lnTo>
                  <a:pt x="42" y="46"/>
                </a:lnTo>
                <a:lnTo>
                  <a:pt x="40" y="50"/>
                </a:lnTo>
                <a:lnTo>
                  <a:pt x="34" y="54"/>
                </a:lnTo>
                <a:lnTo>
                  <a:pt x="34" y="58"/>
                </a:lnTo>
                <a:lnTo>
                  <a:pt x="40" y="66"/>
                </a:lnTo>
                <a:lnTo>
                  <a:pt x="34" y="70"/>
                </a:lnTo>
                <a:lnTo>
                  <a:pt x="36" y="76"/>
                </a:lnTo>
                <a:lnTo>
                  <a:pt x="38" y="82"/>
                </a:lnTo>
                <a:lnTo>
                  <a:pt x="32" y="86"/>
                </a:lnTo>
                <a:lnTo>
                  <a:pt x="36" y="9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67" name="Freeform 147">
            <a:extLst>
              <a:ext uri="{FF2B5EF4-FFF2-40B4-BE49-F238E27FC236}">
                <a16:creationId xmlns:a16="http://schemas.microsoft.com/office/drawing/2014/main" id="{EDFE9CE5-E5E7-64C0-CB1D-0D001FD64DB7}"/>
              </a:ext>
            </a:extLst>
          </p:cNvPr>
          <p:cNvSpPr>
            <a:spLocks/>
          </p:cNvSpPr>
          <p:nvPr/>
        </p:nvSpPr>
        <p:spPr bwMode="auto">
          <a:xfrm>
            <a:off x="4929718" y="3467100"/>
            <a:ext cx="378884" cy="279400"/>
          </a:xfrm>
          <a:custGeom>
            <a:avLst/>
            <a:gdLst>
              <a:gd name="T0" fmla="*/ 2147483647 w 196"/>
              <a:gd name="T1" fmla="*/ 2147483647 h 142"/>
              <a:gd name="T2" fmla="*/ 2147483647 w 196"/>
              <a:gd name="T3" fmla="*/ 2147483647 h 142"/>
              <a:gd name="T4" fmla="*/ 0 w 196"/>
              <a:gd name="T5" fmla="*/ 2147483647 h 142"/>
              <a:gd name="T6" fmla="*/ 2147483647 w 196"/>
              <a:gd name="T7" fmla="*/ 2147483647 h 142"/>
              <a:gd name="T8" fmla="*/ 2147483647 w 196"/>
              <a:gd name="T9" fmla="*/ 2147483647 h 142"/>
              <a:gd name="T10" fmla="*/ 2147483647 w 196"/>
              <a:gd name="T11" fmla="*/ 0 h 142"/>
              <a:gd name="T12" fmla="*/ 2147483647 w 196"/>
              <a:gd name="T13" fmla="*/ 2147483647 h 142"/>
              <a:gd name="T14" fmla="*/ 2147483647 w 196"/>
              <a:gd name="T15" fmla="*/ 2147483647 h 142"/>
              <a:gd name="T16" fmla="*/ 2147483647 w 196"/>
              <a:gd name="T17" fmla="*/ 2147483647 h 142"/>
              <a:gd name="T18" fmla="*/ 2147483647 w 196"/>
              <a:gd name="T19" fmla="*/ 2147483647 h 142"/>
              <a:gd name="T20" fmla="*/ 2147483647 w 196"/>
              <a:gd name="T21" fmla="*/ 2147483647 h 142"/>
              <a:gd name="T22" fmla="*/ 2147483647 w 196"/>
              <a:gd name="T23" fmla="*/ 2147483647 h 142"/>
              <a:gd name="T24" fmla="*/ 2147483647 w 196"/>
              <a:gd name="T25" fmla="*/ 2147483647 h 142"/>
              <a:gd name="T26" fmla="*/ 2147483647 w 196"/>
              <a:gd name="T27" fmla="*/ 2147483647 h 142"/>
              <a:gd name="T28" fmla="*/ 2147483647 w 196"/>
              <a:gd name="T29" fmla="*/ 2147483647 h 142"/>
              <a:gd name="T30" fmla="*/ 2147483647 w 196"/>
              <a:gd name="T31" fmla="*/ 2147483647 h 142"/>
              <a:gd name="T32" fmla="*/ 2147483647 w 196"/>
              <a:gd name="T33" fmla="*/ 2147483647 h 142"/>
              <a:gd name="T34" fmla="*/ 2147483647 w 196"/>
              <a:gd name="T35" fmla="*/ 2147483647 h 142"/>
              <a:gd name="T36" fmla="*/ 2147483647 w 196"/>
              <a:gd name="T37" fmla="*/ 2147483647 h 142"/>
              <a:gd name="T38" fmla="*/ 2147483647 w 196"/>
              <a:gd name="T39" fmla="*/ 2147483647 h 142"/>
              <a:gd name="T40" fmla="*/ 2147483647 w 196"/>
              <a:gd name="T41" fmla="*/ 2147483647 h 142"/>
              <a:gd name="T42" fmla="*/ 2147483647 w 196"/>
              <a:gd name="T43" fmla="*/ 2147483647 h 142"/>
              <a:gd name="T44" fmla="*/ 2147483647 w 196"/>
              <a:gd name="T45" fmla="*/ 2147483647 h 142"/>
              <a:gd name="T46" fmla="*/ 2147483647 w 196"/>
              <a:gd name="T47" fmla="*/ 2147483647 h 142"/>
              <a:gd name="T48" fmla="*/ 2147483647 w 196"/>
              <a:gd name="T49" fmla="*/ 2147483647 h 142"/>
              <a:gd name="T50" fmla="*/ 2147483647 w 196"/>
              <a:gd name="T51" fmla="*/ 2147483647 h 142"/>
              <a:gd name="T52" fmla="*/ 2147483647 w 196"/>
              <a:gd name="T53" fmla="*/ 2147483647 h 142"/>
              <a:gd name="T54" fmla="*/ 2147483647 w 196"/>
              <a:gd name="T55" fmla="*/ 2147483647 h 142"/>
              <a:gd name="T56" fmla="*/ 2147483647 w 196"/>
              <a:gd name="T57" fmla="*/ 2147483647 h 142"/>
              <a:gd name="T58" fmla="*/ 2147483647 w 196"/>
              <a:gd name="T59" fmla="*/ 2147483647 h 142"/>
              <a:gd name="T60" fmla="*/ 2147483647 w 196"/>
              <a:gd name="T61" fmla="*/ 2147483647 h 142"/>
              <a:gd name="T62" fmla="*/ 2147483647 w 196"/>
              <a:gd name="T63" fmla="*/ 2147483647 h 142"/>
              <a:gd name="T64" fmla="*/ 2147483647 w 196"/>
              <a:gd name="T65" fmla="*/ 2147483647 h 142"/>
              <a:gd name="T66" fmla="*/ 2147483647 w 196"/>
              <a:gd name="T67" fmla="*/ 2147483647 h 142"/>
              <a:gd name="T68" fmla="*/ 2147483647 w 196"/>
              <a:gd name="T69" fmla="*/ 2147483647 h 142"/>
              <a:gd name="T70" fmla="*/ 2147483647 w 196"/>
              <a:gd name="T71" fmla="*/ 2147483647 h 142"/>
              <a:gd name="T72" fmla="*/ 2147483647 w 196"/>
              <a:gd name="T73" fmla="*/ 2147483647 h 142"/>
              <a:gd name="T74" fmla="*/ 2147483647 w 196"/>
              <a:gd name="T75" fmla="*/ 2147483647 h 142"/>
              <a:gd name="T76" fmla="*/ 2147483647 w 196"/>
              <a:gd name="T77" fmla="*/ 2147483647 h 142"/>
              <a:gd name="T78" fmla="*/ 2147483647 w 196"/>
              <a:gd name="T79" fmla="*/ 2147483647 h 142"/>
              <a:gd name="T80" fmla="*/ 2147483647 w 196"/>
              <a:gd name="T81" fmla="*/ 2147483647 h 142"/>
              <a:gd name="T82" fmla="*/ 2147483647 w 196"/>
              <a:gd name="T83" fmla="*/ 2147483647 h 142"/>
              <a:gd name="T84" fmla="*/ 2147483647 w 196"/>
              <a:gd name="T85" fmla="*/ 2147483647 h 142"/>
              <a:gd name="T86" fmla="*/ 2147483647 w 196"/>
              <a:gd name="T87" fmla="*/ 2147483647 h 142"/>
              <a:gd name="T88" fmla="*/ 2147483647 w 196"/>
              <a:gd name="T89" fmla="*/ 2147483647 h 142"/>
              <a:gd name="T90" fmla="*/ 2147483647 w 196"/>
              <a:gd name="T91" fmla="*/ 2147483647 h 142"/>
              <a:gd name="T92" fmla="*/ 2147483647 w 196"/>
              <a:gd name="T93" fmla="*/ 2147483647 h 142"/>
              <a:gd name="T94" fmla="*/ 2147483647 w 196"/>
              <a:gd name="T95" fmla="*/ 2147483647 h 142"/>
              <a:gd name="T96" fmla="*/ 2147483647 w 196"/>
              <a:gd name="T97" fmla="*/ 2147483647 h 142"/>
              <a:gd name="T98" fmla="*/ 2147483647 w 196"/>
              <a:gd name="T99" fmla="*/ 2147483647 h 142"/>
              <a:gd name="T100" fmla="*/ 2147483647 w 196"/>
              <a:gd name="T101" fmla="*/ 2147483647 h 142"/>
              <a:gd name="T102" fmla="*/ 2147483647 w 196"/>
              <a:gd name="T103" fmla="*/ 2147483647 h 142"/>
              <a:gd name="T104" fmla="*/ 2147483647 w 196"/>
              <a:gd name="T105" fmla="*/ 2147483647 h 142"/>
              <a:gd name="T106" fmla="*/ 2147483647 w 196"/>
              <a:gd name="T107" fmla="*/ 2147483647 h 142"/>
              <a:gd name="T108" fmla="*/ 2147483647 w 196"/>
              <a:gd name="T109" fmla="*/ 2147483647 h 142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96"/>
              <a:gd name="T166" fmla="*/ 0 h 142"/>
              <a:gd name="T167" fmla="*/ 196 w 196"/>
              <a:gd name="T168" fmla="*/ 142 h 142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96" h="142">
                <a:moveTo>
                  <a:pt x="10" y="28"/>
                </a:moveTo>
                <a:lnTo>
                  <a:pt x="6" y="22"/>
                </a:lnTo>
                <a:lnTo>
                  <a:pt x="0" y="12"/>
                </a:lnTo>
                <a:lnTo>
                  <a:pt x="4" y="8"/>
                </a:lnTo>
                <a:lnTo>
                  <a:pt x="16" y="4"/>
                </a:lnTo>
                <a:lnTo>
                  <a:pt x="24" y="0"/>
                </a:lnTo>
                <a:lnTo>
                  <a:pt x="46" y="2"/>
                </a:lnTo>
                <a:lnTo>
                  <a:pt x="66" y="4"/>
                </a:lnTo>
                <a:lnTo>
                  <a:pt x="78" y="8"/>
                </a:lnTo>
                <a:lnTo>
                  <a:pt x="96" y="6"/>
                </a:lnTo>
                <a:lnTo>
                  <a:pt x="114" y="8"/>
                </a:lnTo>
                <a:lnTo>
                  <a:pt x="122" y="8"/>
                </a:lnTo>
                <a:lnTo>
                  <a:pt x="136" y="14"/>
                </a:lnTo>
                <a:lnTo>
                  <a:pt x="152" y="20"/>
                </a:lnTo>
                <a:lnTo>
                  <a:pt x="164" y="18"/>
                </a:lnTo>
                <a:lnTo>
                  <a:pt x="178" y="24"/>
                </a:lnTo>
                <a:lnTo>
                  <a:pt x="194" y="24"/>
                </a:lnTo>
                <a:lnTo>
                  <a:pt x="196" y="28"/>
                </a:lnTo>
                <a:lnTo>
                  <a:pt x="194" y="38"/>
                </a:lnTo>
                <a:lnTo>
                  <a:pt x="188" y="42"/>
                </a:lnTo>
                <a:lnTo>
                  <a:pt x="178" y="48"/>
                </a:lnTo>
                <a:lnTo>
                  <a:pt x="166" y="48"/>
                </a:lnTo>
                <a:lnTo>
                  <a:pt x="160" y="58"/>
                </a:lnTo>
                <a:lnTo>
                  <a:pt x="150" y="68"/>
                </a:lnTo>
                <a:lnTo>
                  <a:pt x="144" y="76"/>
                </a:lnTo>
                <a:lnTo>
                  <a:pt x="142" y="86"/>
                </a:lnTo>
                <a:lnTo>
                  <a:pt x="146" y="96"/>
                </a:lnTo>
                <a:lnTo>
                  <a:pt x="140" y="102"/>
                </a:lnTo>
                <a:lnTo>
                  <a:pt x="132" y="114"/>
                </a:lnTo>
                <a:lnTo>
                  <a:pt x="122" y="116"/>
                </a:lnTo>
                <a:lnTo>
                  <a:pt x="116" y="126"/>
                </a:lnTo>
                <a:lnTo>
                  <a:pt x="102" y="132"/>
                </a:lnTo>
                <a:lnTo>
                  <a:pt x="86" y="132"/>
                </a:lnTo>
                <a:lnTo>
                  <a:pt x="74" y="134"/>
                </a:lnTo>
                <a:lnTo>
                  <a:pt x="62" y="140"/>
                </a:lnTo>
                <a:lnTo>
                  <a:pt x="56" y="142"/>
                </a:lnTo>
                <a:lnTo>
                  <a:pt x="46" y="136"/>
                </a:lnTo>
                <a:lnTo>
                  <a:pt x="44" y="128"/>
                </a:lnTo>
                <a:lnTo>
                  <a:pt x="38" y="124"/>
                </a:lnTo>
                <a:lnTo>
                  <a:pt x="32" y="124"/>
                </a:lnTo>
                <a:lnTo>
                  <a:pt x="28" y="114"/>
                </a:lnTo>
                <a:lnTo>
                  <a:pt x="34" y="110"/>
                </a:lnTo>
                <a:lnTo>
                  <a:pt x="30" y="98"/>
                </a:lnTo>
                <a:lnTo>
                  <a:pt x="36" y="94"/>
                </a:lnTo>
                <a:lnTo>
                  <a:pt x="30" y="86"/>
                </a:lnTo>
                <a:lnTo>
                  <a:pt x="30" y="82"/>
                </a:lnTo>
                <a:lnTo>
                  <a:pt x="36" y="78"/>
                </a:lnTo>
                <a:lnTo>
                  <a:pt x="38" y="74"/>
                </a:lnTo>
                <a:lnTo>
                  <a:pt x="38" y="50"/>
                </a:lnTo>
                <a:lnTo>
                  <a:pt x="48" y="48"/>
                </a:lnTo>
                <a:lnTo>
                  <a:pt x="50" y="42"/>
                </a:lnTo>
                <a:lnTo>
                  <a:pt x="44" y="34"/>
                </a:lnTo>
                <a:lnTo>
                  <a:pt x="22" y="36"/>
                </a:lnTo>
                <a:lnTo>
                  <a:pt x="16" y="30"/>
                </a:lnTo>
                <a:lnTo>
                  <a:pt x="10" y="2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68" name="Freeform 148">
            <a:extLst>
              <a:ext uri="{FF2B5EF4-FFF2-40B4-BE49-F238E27FC236}">
                <a16:creationId xmlns:a16="http://schemas.microsoft.com/office/drawing/2014/main" id="{54A43881-0C2D-44D4-E44B-3C81A58E0A44}"/>
              </a:ext>
            </a:extLst>
          </p:cNvPr>
          <p:cNvSpPr>
            <a:spLocks/>
          </p:cNvSpPr>
          <p:nvPr/>
        </p:nvSpPr>
        <p:spPr bwMode="auto">
          <a:xfrm>
            <a:off x="5492751" y="3505201"/>
            <a:ext cx="19051" cy="46567"/>
          </a:xfrm>
          <a:custGeom>
            <a:avLst/>
            <a:gdLst>
              <a:gd name="T0" fmla="*/ 2147483647 w 14"/>
              <a:gd name="T1" fmla="*/ 0 h 26"/>
              <a:gd name="T2" fmla="*/ 2147483647 w 14"/>
              <a:gd name="T3" fmla="*/ 2147483647 h 26"/>
              <a:gd name="T4" fmla="*/ 0 w 14"/>
              <a:gd name="T5" fmla="*/ 2147483647 h 26"/>
              <a:gd name="T6" fmla="*/ 0 w 14"/>
              <a:gd name="T7" fmla="*/ 2147483647 h 26"/>
              <a:gd name="T8" fmla="*/ 0 w 14"/>
              <a:gd name="T9" fmla="*/ 2147483647 h 26"/>
              <a:gd name="T10" fmla="*/ 2147483647 w 14"/>
              <a:gd name="T11" fmla="*/ 2147483647 h 26"/>
              <a:gd name="T12" fmla="*/ 2147483647 w 14"/>
              <a:gd name="T13" fmla="*/ 2147483647 h 26"/>
              <a:gd name="T14" fmla="*/ 2147483647 w 14"/>
              <a:gd name="T15" fmla="*/ 2147483647 h 26"/>
              <a:gd name="T16" fmla="*/ 2147483647 w 14"/>
              <a:gd name="T17" fmla="*/ 2147483647 h 26"/>
              <a:gd name="T18" fmla="*/ 2147483647 w 14"/>
              <a:gd name="T19" fmla="*/ 0 h 2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4"/>
              <a:gd name="T31" fmla="*/ 0 h 26"/>
              <a:gd name="T32" fmla="*/ 14 w 14"/>
              <a:gd name="T33" fmla="*/ 26 h 2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4" h="26">
                <a:moveTo>
                  <a:pt x="10" y="0"/>
                </a:moveTo>
                <a:lnTo>
                  <a:pt x="4" y="2"/>
                </a:lnTo>
                <a:lnTo>
                  <a:pt x="0" y="6"/>
                </a:lnTo>
                <a:lnTo>
                  <a:pt x="0" y="14"/>
                </a:lnTo>
                <a:lnTo>
                  <a:pt x="0" y="22"/>
                </a:lnTo>
                <a:lnTo>
                  <a:pt x="6" y="26"/>
                </a:lnTo>
                <a:lnTo>
                  <a:pt x="10" y="18"/>
                </a:lnTo>
                <a:lnTo>
                  <a:pt x="8" y="12"/>
                </a:lnTo>
                <a:lnTo>
                  <a:pt x="14" y="10"/>
                </a:lnTo>
                <a:lnTo>
                  <a:pt x="1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69" name="Freeform 149">
            <a:extLst>
              <a:ext uri="{FF2B5EF4-FFF2-40B4-BE49-F238E27FC236}">
                <a16:creationId xmlns:a16="http://schemas.microsoft.com/office/drawing/2014/main" id="{68368DF9-9F5B-55D4-0EB4-64FF7BDBC075}"/>
              </a:ext>
            </a:extLst>
          </p:cNvPr>
          <p:cNvSpPr>
            <a:spLocks/>
          </p:cNvSpPr>
          <p:nvPr/>
        </p:nvSpPr>
        <p:spPr bwMode="auto">
          <a:xfrm>
            <a:off x="5482168" y="3570818"/>
            <a:ext cx="29633" cy="67733"/>
          </a:xfrm>
          <a:custGeom>
            <a:avLst/>
            <a:gdLst>
              <a:gd name="T0" fmla="*/ 2147483647 w 20"/>
              <a:gd name="T1" fmla="*/ 0 h 38"/>
              <a:gd name="T2" fmla="*/ 2147483647 w 20"/>
              <a:gd name="T3" fmla="*/ 2147483647 h 38"/>
              <a:gd name="T4" fmla="*/ 2147483647 w 20"/>
              <a:gd name="T5" fmla="*/ 2147483647 h 38"/>
              <a:gd name="T6" fmla="*/ 0 w 20"/>
              <a:gd name="T7" fmla="*/ 2147483647 h 38"/>
              <a:gd name="T8" fmla="*/ 2147483647 w 20"/>
              <a:gd name="T9" fmla="*/ 2147483647 h 38"/>
              <a:gd name="T10" fmla="*/ 2147483647 w 20"/>
              <a:gd name="T11" fmla="*/ 2147483647 h 38"/>
              <a:gd name="T12" fmla="*/ 2147483647 w 20"/>
              <a:gd name="T13" fmla="*/ 2147483647 h 38"/>
              <a:gd name="T14" fmla="*/ 2147483647 w 20"/>
              <a:gd name="T15" fmla="*/ 2147483647 h 38"/>
              <a:gd name="T16" fmla="*/ 2147483647 w 20"/>
              <a:gd name="T17" fmla="*/ 2147483647 h 38"/>
              <a:gd name="T18" fmla="*/ 2147483647 w 20"/>
              <a:gd name="T19" fmla="*/ 2147483647 h 38"/>
              <a:gd name="T20" fmla="*/ 2147483647 w 20"/>
              <a:gd name="T21" fmla="*/ 2147483647 h 38"/>
              <a:gd name="T22" fmla="*/ 2147483647 w 20"/>
              <a:gd name="T23" fmla="*/ 2147483647 h 38"/>
              <a:gd name="T24" fmla="*/ 2147483647 w 20"/>
              <a:gd name="T25" fmla="*/ 2147483647 h 38"/>
              <a:gd name="T26" fmla="*/ 2147483647 w 20"/>
              <a:gd name="T27" fmla="*/ 0 h 3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0"/>
              <a:gd name="T43" fmla="*/ 0 h 38"/>
              <a:gd name="T44" fmla="*/ 20 w 20"/>
              <a:gd name="T45" fmla="*/ 38 h 38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0" h="38">
                <a:moveTo>
                  <a:pt x="10" y="0"/>
                </a:moveTo>
                <a:lnTo>
                  <a:pt x="8" y="4"/>
                </a:lnTo>
                <a:lnTo>
                  <a:pt x="2" y="4"/>
                </a:lnTo>
                <a:lnTo>
                  <a:pt x="0" y="12"/>
                </a:lnTo>
                <a:lnTo>
                  <a:pt x="4" y="16"/>
                </a:lnTo>
                <a:lnTo>
                  <a:pt x="4" y="26"/>
                </a:lnTo>
                <a:lnTo>
                  <a:pt x="4" y="36"/>
                </a:lnTo>
                <a:lnTo>
                  <a:pt x="10" y="38"/>
                </a:lnTo>
                <a:lnTo>
                  <a:pt x="14" y="34"/>
                </a:lnTo>
                <a:lnTo>
                  <a:pt x="20" y="28"/>
                </a:lnTo>
                <a:lnTo>
                  <a:pt x="18" y="14"/>
                </a:lnTo>
                <a:lnTo>
                  <a:pt x="20" y="6"/>
                </a:lnTo>
                <a:lnTo>
                  <a:pt x="18" y="2"/>
                </a:lnTo>
                <a:lnTo>
                  <a:pt x="1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70" name="Freeform 150">
            <a:extLst>
              <a:ext uri="{FF2B5EF4-FFF2-40B4-BE49-F238E27FC236}">
                <a16:creationId xmlns:a16="http://schemas.microsoft.com/office/drawing/2014/main" id="{DD463078-BFAC-CBFE-D87D-2E2770BA52DA}"/>
              </a:ext>
            </a:extLst>
          </p:cNvPr>
          <p:cNvSpPr>
            <a:spLocks/>
          </p:cNvSpPr>
          <p:nvPr/>
        </p:nvSpPr>
        <p:spPr bwMode="auto">
          <a:xfrm>
            <a:off x="5298018" y="3164417"/>
            <a:ext cx="116417" cy="69851"/>
          </a:xfrm>
          <a:custGeom>
            <a:avLst/>
            <a:gdLst>
              <a:gd name="T0" fmla="*/ 0 w 60"/>
              <a:gd name="T1" fmla="*/ 2147483647 h 38"/>
              <a:gd name="T2" fmla="*/ 2147483647 w 60"/>
              <a:gd name="T3" fmla="*/ 2147483647 h 38"/>
              <a:gd name="T4" fmla="*/ 2147483647 w 60"/>
              <a:gd name="T5" fmla="*/ 2147483647 h 38"/>
              <a:gd name="T6" fmla="*/ 2147483647 w 60"/>
              <a:gd name="T7" fmla="*/ 0 h 38"/>
              <a:gd name="T8" fmla="*/ 2147483647 w 60"/>
              <a:gd name="T9" fmla="*/ 2147483647 h 38"/>
              <a:gd name="T10" fmla="*/ 2147483647 w 60"/>
              <a:gd name="T11" fmla="*/ 2147483647 h 38"/>
              <a:gd name="T12" fmla="*/ 2147483647 w 60"/>
              <a:gd name="T13" fmla="*/ 2147483647 h 38"/>
              <a:gd name="T14" fmla="*/ 2147483647 w 60"/>
              <a:gd name="T15" fmla="*/ 2147483647 h 38"/>
              <a:gd name="T16" fmla="*/ 2147483647 w 60"/>
              <a:gd name="T17" fmla="*/ 2147483647 h 38"/>
              <a:gd name="T18" fmla="*/ 2147483647 w 60"/>
              <a:gd name="T19" fmla="*/ 2147483647 h 38"/>
              <a:gd name="T20" fmla="*/ 2147483647 w 60"/>
              <a:gd name="T21" fmla="*/ 2147483647 h 38"/>
              <a:gd name="T22" fmla="*/ 2147483647 w 60"/>
              <a:gd name="T23" fmla="*/ 2147483647 h 38"/>
              <a:gd name="T24" fmla="*/ 2147483647 w 60"/>
              <a:gd name="T25" fmla="*/ 2147483647 h 38"/>
              <a:gd name="T26" fmla="*/ 2147483647 w 60"/>
              <a:gd name="T27" fmla="*/ 2147483647 h 38"/>
              <a:gd name="T28" fmla="*/ 2147483647 w 60"/>
              <a:gd name="T29" fmla="*/ 2147483647 h 38"/>
              <a:gd name="T30" fmla="*/ 2147483647 w 60"/>
              <a:gd name="T31" fmla="*/ 2147483647 h 38"/>
              <a:gd name="T32" fmla="*/ 0 w 60"/>
              <a:gd name="T33" fmla="*/ 2147483647 h 3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0"/>
              <a:gd name="T52" fmla="*/ 0 h 38"/>
              <a:gd name="T53" fmla="*/ 60 w 60"/>
              <a:gd name="T54" fmla="*/ 38 h 3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0" h="38">
                <a:moveTo>
                  <a:pt x="0" y="6"/>
                </a:moveTo>
                <a:lnTo>
                  <a:pt x="12" y="2"/>
                </a:lnTo>
                <a:lnTo>
                  <a:pt x="26" y="2"/>
                </a:lnTo>
                <a:lnTo>
                  <a:pt x="38" y="0"/>
                </a:lnTo>
                <a:lnTo>
                  <a:pt x="46" y="2"/>
                </a:lnTo>
                <a:lnTo>
                  <a:pt x="50" y="4"/>
                </a:lnTo>
                <a:lnTo>
                  <a:pt x="56" y="12"/>
                </a:lnTo>
                <a:lnTo>
                  <a:pt x="60" y="20"/>
                </a:lnTo>
                <a:lnTo>
                  <a:pt x="58" y="26"/>
                </a:lnTo>
                <a:lnTo>
                  <a:pt x="52" y="26"/>
                </a:lnTo>
                <a:lnTo>
                  <a:pt x="52" y="38"/>
                </a:lnTo>
                <a:lnTo>
                  <a:pt x="46" y="38"/>
                </a:lnTo>
                <a:lnTo>
                  <a:pt x="38" y="34"/>
                </a:lnTo>
                <a:lnTo>
                  <a:pt x="36" y="30"/>
                </a:lnTo>
                <a:lnTo>
                  <a:pt x="24" y="26"/>
                </a:lnTo>
                <a:lnTo>
                  <a:pt x="10" y="14"/>
                </a:lnTo>
                <a:lnTo>
                  <a:pt x="0" y="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71" name="Freeform 151">
            <a:extLst>
              <a:ext uri="{FF2B5EF4-FFF2-40B4-BE49-F238E27FC236}">
                <a16:creationId xmlns:a16="http://schemas.microsoft.com/office/drawing/2014/main" id="{40555867-C7D1-8B27-6ABC-C8BF78EE8E73}"/>
              </a:ext>
            </a:extLst>
          </p:cNvPr>
          <p:cNvSpPr>
            <a:spLocks/>
          </p:cNvSpPr>
          <p:nvPr/>
        </p:nvSpPr>
        <p:spPr bwMode="auto">
          <a:xfrm>
            <a:off x="5317068" y="3069168"/>
            <a:ext cx="116417" cy="105833"/>
          </a:xfrm>
          <a:custGeom>
            <a:avLst/>
            <a:gdLst>
              <a:gd name="T0" fmla="*/ 2147483647 w 60"/>
              <a:gd name="T1" fmla="*/ 2147483647 h 56"/>
              <a:gd name="T2" fmla="*/ 2147483647 w 60"/>
              <a:gd name="T3" fmla="*/ 2147483647 h 56"/>
              <a:gd name="T4" fmla="*/ 2147483647 w 60"/>
              <a:gd name="T5" fmla="*/ 2147483647 h 56"/>
              <a:gd name="T6" fmla="*/ 2147483647 w 60"/>
              <a:gd name="T7" fmla="*/ 2147483647 h 56"/>
              <a:gd name="T8" fmla="*/ 0 w 60"/>
              <a:gd name="T9" fmla="*/ 2147483647 h 56"/>
              <a:gd name="T10" fmla="*/ 2147483647 w 60"/>
              <a:gd name="T11" fmla="*/ 2147483647 h 56"/>
              <a:gd name="T12" fmla="*/ 2147483647 w 60"/>
              <a:gd name="T13" fmla="*/ 2147483647 h 56"/>
              <a:gd name="T14" fmla="*/ 2147483647 w 60"/>
              <a:gd name="T15" fmla="*/ 2147483647 h 56"/>
              <a:gd name="T16" fmla="*/ 2147483647 w 60"/>
              <a:gd name="T17" fmla="*/ 2147483647 h 56"/>
              <a:gd name="T18" fmla="*/ 2147483647 w 60"/>
              <a:gd name="T19" fmla="*/ 2147483647 h 56"/>
              <a:gd name="T20" fmla="*/ 2147483647 w 60"/>
              <a:gd name="T21" fmla="*/ 2147483647 h 56"/>
              <a:gd name="T22" fmla="*/ 2147483647 w 60"/>
              <a:gd name="T23" fmla="*/ 2147483647 h 56"/>
              <a:gd name="T24" fmla="*/ 2147483647 w 60"/>
              <a:gd name="T25" fmla="*/ 2147483647 h 56"/>
              <a:gd name="T26" fmla="*/ 2147483647 w 60"/>
              <a:gd name="T27" fmla="*/ 2147483647 h 56"/>
              <a:gd name="T28" fmla="*/ 2147483647 w 60"/>
              <a:gd name="T29" fmla="*/ 2147483647 h 56"/>
              <a:gd name="T30" fmla="*/ 2147483647 w 60"/>
              <a:gd name="T31" fmla="*/ 0 h 56"/>
              <a:gd name="T32" fmla="*/ 2147483647 w 60"/>
              <a:gd name="T33" fmla="*/ 2147483647 h 56"/>
              <a:gd name="T34" fmla="*/ 2147483647 w 60"/>
              <a:gd name="T35" fmla="*/ 2147483647 h 56"/>
              <a:gd name="T36" fmla="*/ 2147483647 w 60"/>
              <a:gd name="T37" fmla="*/ 2147483647 h 56"/>
              <a:gd name="T38" fmla="*/ 2147483647 w 60"/>
              <a:gd name="T39" fmla="*/ 2147483647 h 56"/>
              <a:gd name="T40" fmla="*/ 2147483647 w 60"/>
              <a:gd name="T41" fmla="*/ 2147483647 h 56"/>
              <a:gd name="T42" fmla="*/ 2147483647 w 60"/>
              <a:gd name="T43" fmla="*/ 2147483647 h 56"/>
              <a:gd name="T44" fmla="*/ 2147483647 w 60"/>
              <a:gd name="T45" fmla="*/ 2147483647 h 5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60"/>
              <a:gd name="T70" fmla="*/ 0 h 56"/>
              <a:gd name="T71" fmla="*/ 60 w 60"/>
              <a:gd name="T72" fmla="*/ 56 h 5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60" h="56">
                <a:moveTo>
                  <a:pt x="44" y="56"/>
                </a:moveTo>
                <a:lnTo>
                  <a:pt x="38" y="50"/>
                </a:lnTo>
                <a:lnTo>
                  <a:pt x="26" y="46"/>
                </a:lnTo>
                <a:lnTo>
                  <a:pt x="14" y="48"/>
                </a:lnTo>
                <a:lnTo>
                  <a:pt x="0" y="48"/>
                </a:lnTo>
                <a:lnTo>
                  <a:pt x="10" y="40"/>
                </a:lnTo>
                <a:lnTo>
                  <a:pt x="16" y="32"/>
                </a:lnTo>
                <a:lnTo>
                  <a:pt x="16" y="22"/>
                </a:lnTo>
                <a:lnTo>
                  <a:pt x="18" y="16"/>
                </a:lnTo>
                <a:lnTo>
                  <a:pt x="26" y="12"/>
                </a:lnTo>
                <a:lnTo>
                  <a:pt x="30" y="18"/>
                </a:lnTo>
                <a:lnTo>
                  <a:pt x="32" y="24"/>
                </a:lnTo>
                <a:lnTo>
                  <a:pt x="38" y="20"/>
                </a:lnTo>
                <a:lnTo>
                  <a:pt x="34" y="8"/>
                </a:lnTo>
                <a:lnTo>
                  <a:pt x="42" y="2"/>
                </a:lnTo>
                <a:lnTo>
                  <a:pt x="54" y="0"/>
                </a:lnTo>
                <a:lnTo>
                  <a:pt x="60" y="14"/>
                </a:lnTo>
                <a:lnTo>
                  <a:pt x="56" y="20"/>
                </a:lnTo>
                <a:lnTo>
                  <a:pt x="56" y="30"/>
                </a:lnTo>
                <a:lnTo>
                  <a:pt x="50" y="34"/>
                </a:lnTo>
                <a:lnTo>
                  <a:pt x="44" y="38"/>
                </a:lnTo>
                <a:lnTo>
                  <a:pt x="44" y="46"/>
                </a:lnTo>
                <a:lnTo>
                  <a:pt x="44" y="5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72" name="Freeform 152">
            <a:extLst>
              <a:ext uri="{FF2B5EF4-FFF2-40B4-BE49-F238E27FC236}">
                <a16:creationId xmlns:a16="http://schemas.microsoft.com/office/drawing/2014/main" id="{42217E51-2A16-EAF3-215A-0838F9015433}"/>
              </a:ext>
            </a:extLst>
          </p:cNvPr>
          <p:cNvSpPr>
            <a:spLocks/>
          </p:cNvSpPr>
          <p:nvPr/>
        </p:nvSpPr>
        <p:spPr bwMode="auto">
          <a:xfrm>
            <a:off x="5473700" y="2895601"/>
            <a:ext cx="76200" cy="116417"/>
          </a:xfrm>
          <a:custGeom>
            <a:avLst/>
            <a:gdLst>
              <a:gd name="T0" fmla="*/ 2147483647 w 42"/>
              <a:gd name="T1" fmla="*/ 2147483647 h 62"/>
              <a:gd name="T2" fmla="*/ 2147483647 w 42"/>
              <a:gd name="T3" fmla="*/ 2147483647 h 62"/>
              <a:gd name="T4" fmla="*/ 2147483647 w 42"/>
              <a:gd name="T5" fmla="*/ 2147483647 h 62"/>
              <a:gd name="T6" fmla="*/ 2147483647 w 42"/>
              <a:gd name="T7" fmla="*/ 2147483647 h 62"/>
              <a:gd name="T8" fmla="*/ 0 w 42"/>
              <a:gd name="T9" fmla="*/ 2147483647 h 62"/>
              <a:gd name="T10" fmla="*/ 0 w 42"/>
              <a:gd name="T11" fmla="*/ 2147483647 h 62"/>
              <a:gd name="T12" fmla="*/ 2147483647 w 42"/>
              <a:gd name="T13" fmla="*/ 2147483647 h 62"/>
              <a:gd name="T14" fmla="*/ 2147483647 w 42"/>
              <a:gd name="T15" fmla="*/ 2147483647 h 62"/>
              <a:gd name="T16" fmla="*/ 2147483647 w 42"/>
              <a:gd name="T17" fmla="*/ 2147483647 h 62"/>
              <a:gd name="T18" fmla="*/ 2147483647 w 42"/>
              <a:gd name="T19" fmla="*/ 2147483647 h 62"/>
              <a:gd name="T20" fmla="*/ 2147483647 w 42"/>
              <a:gd name="T21" fmla="*/ 0 h 62"/>
              <a:gd name="T22" fmla="*/ 2147483647 w 42"/>
              <a:gd name="T23" fmla="*/ 2147483647 h 62"/>
              <a:gd name="T24" fmla="*/ 2147483647 w 42"/>
              <a:gd name="T25" fmla="*/ 2147483647 h 62"/>
              <a:gd name="T26" fmla="*/ 2147483647 w 42"/>
              <a:gd name="T27" fmla="*/ 2147483647 h 62"/>
              <a:gd name="T28" fmla="*/ 2147483647 w 42"/>
              <a:gd name="T29" fmla="*/ 2147483647 h 62"/>
              <a:gd name="T30" fmla="*/ 2147483647 w 42"/>
              <a:gd name="T31" fmla="*/ 2147483647 h 62"/>
              <a:gd name="T32" fmla="*/ 2147483647 w 42"/>
              <a:gd name="T33" fmla="*/ 2147483647 h 62"/>
              <a:gd name="T34" fmla="*/ 2147483647 w 42"/>
              <a:gd name="T35" fmla="*/ 2147483647 h 62"/>
              <a:gd name="T36" fmla="*/ 2147483647 w 42"/>
              <a:gd name="T37" fmla="*/ 2147483647 h 62"/>
              <a:gd name="T38" fmla="*/ 2147483647 w 42"/>
              <a:gd name="T39" fmla="*/ 2147483647 h 62"/>
              <a:gd name="T40" fmla="*/ 2147483647 w 42"/>
              <a:gd name="T41" fmla="*/ 2147483647 h 62"/>
              <a:gd name="T42" fmla="*/ 2147483647 w 42"/>
              <a:gd name="T43" fmla="*/ 2147483647 h 62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42"/>
              <a:gd name="T67" fmla="*/ 0 h 62"/>
              <a:gd name="T68" fmla="*/ 42 w 42"/>
              <a:gd name="T69" fmla="*/ 62 h 62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42" h="62">
                <a:moveTo>
                  <a:pt x="24" y="60"/>
                </a:moveTo>
                <a:lnTo>
                  <a:pt x="14" y="62"/>
                </a:lnTo>
                <a:lnTo>
                  <a:pt x="8" y="54"/>
                </a:lnTo>
                <a:lnTo>
                  <a:pt x="4" y="46"/>
                </a:lnTo>
                <a:lnTo>
                  <a:pt x="0" y="34"/>
                </a:lnTo>
                <a:lnTo>
                  <a:pt x="0" y="20"/>
                </a:lnTo>
                <a:lnTo>
                  <a:pt x="8" y="12"/>
                </a:lnTo>
                <a:lnTo>
                  <a:pt x="14" y="18"/>
                </a:lnTo>
                <a:lnTo>
                  <a:pt x="22" y="12"/>
                </a:lnTo>
                <a:lnTo>
                  <a:pt x="26" y="6"/>
                </a:lnTo>
                <a:lnTo>
                  <a:pt x="34" y="0"/>
                </a:lnTo>
                <a:lnTo>
                  <a:pt x="38" y="4"/>
                </a:lnTo>
                <a:lnTo>
                  <a:pt x="36" y="12"/>
                </a:lnTo>
                <a:lnTo>
                  <a:pt x="32" y="16"/>
                </a:lnTo>
                <a:lnTo>
                  <a:pt x="34" y="22"/>
                </a:lnTo>
                <a:lnTo>
                  <a:pt x="42" y="26"/>
                </a:lnTo>
                <a:lnTo>
                  <a:pt x="42" y="32"/>
                </a:lnTo>
                <a:lnTo>
                  <a:pt x="32" y="34"/>
                </a:lnTo>
                <a:lnTo>
                  <a:pt x="24" y="38"/>
                </a:lnTo>
                <a:lnTo>
                  <a:pt x="22" y="44"/>
                </a:lnTo>
                <a:lnTo>
                  <a:pt x="20" y="52"/>
                </a:lnTo>
                <a:lnTo>
                  <a:pt x="24" y="6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73" name="Freeform 153">
            <a:extLst>
              <a:ext uri="{FF2B5EF4-FFF2-40B4-BE49-F238E27FC236}">
                <a16:creationId xmlns:a16="http://schemas.microsoft.com/office/drawing/2014/main" id="{82329E36-FA9D-4F6B-00DF-41B74BD0F871}"/>
              </a:ext>
            </a:extLst>
          </p:cNvPr>
          <p:cNvSpPr>
            <a:spLocks/>
          </p:cNvSpPr>
          <p:nvPr/>
        </p:nvSpPr>
        <p:spPr bwMode="auto">
          <a:xfrm>
            <a:off x="5530851" y="2982385"/>
            <a:ext cx="19051" cy="29633"/>
          </a:xfrm>
          <a:custGeom>
            <a:avLst/>
            <a:gdLst>
              <a:gd name="T0" fmla="*/ 2147483647 w 12"/>
              <a:gd name="T1" fmla="*/ 0 h 14"/>
              <a:gd name="T2" fmla="*/ 2147483647 w 12"/>
              <a:gd name="T3" fmla="*/ 0 h 14"/>
              <a:gd name="T4" fmla="*/ 2147483647 w 12"/>
              <a:gd name="T5" fmla="*/ 2147483647 h 14"/>
              <a:gd name="T6" fmla="*/ 2147483647 w 12"/>
              <a:gd name="T7" fmla="*/ 2147483647 h 14"/>
              <a:gd name="T8" fmla="*/ 2147483647 w 12"/>
              <a:gd name="T9" fmla="*/ 2147483647 h 14"/>
              <a:gd name="T10" fmla="*/ 0 w 12"/>
              <a:gd name="T11" fmla="*/ 2147483647 h 14"/>
              <a:gd name="T12" fmla="*/ 2147483647 w 12"/>
              <a:gd name="T13" fmla="*/ 0 h 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"/>
              <a:gd name="T22" fmla="*/ 0 h 14"/>
              <a:gd name="T23" fmla="*/ 12 w 12"/>
              <a:gd name="T24" fmla="*/ 14 h 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" h="14">
                <a:moveTo>
                  <a:pt x="2" y="0"/>
                </a:moveTo>
                <a:lnTo>
                  <a:pt x="12" y="0"/>
                </a:lnTo>
                <a:lnTo>
                  <a:pt x="12" y="8"/>
                </a:lnTo>
                <a:lnTo>
                  <a:pt x="12" y="14"/>
                </a:lnTo>
                <a:lnTo>
                  <a:pt x="4" y="14"/>
                </a:lnTo>
                <a:lnTo>
                  <a:pt x="0" y="8"/>
                </a:lnTo>
                <a:lnTo>
                  <a:pt x="2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74" name="Freeform 154">
            <a:extLst>
              <a:ext uri="{FF2B5EF4-FFF2-40B4-BE49-F238E27FC236}">
                <a16:creationId xmlns:a16="http://schemas.microsoft.com/office/drawing/2014/main" id="{08709098-054F-FF29-2CF0-715079E13D3E}"/>
              </a:ext>
            </a:extLst>
          </p:cNvPr>
          <p:cNvSpPr>
            <a:spLocks/>
          </p:cNvSpPr>
          <p:nvPr/>
        </p:nvSpPr>
        <p:spPr bwMode="auto">
          <a:xfrm>
            <a:off x="5568951" y="2952751"/>
            <a:ext cx="46567" cy="59267"/>
          </a:xfrm>
          <a:custGeom>
            <a:avLst/>
            <a:gdLst>
              <a:gd name="T0" fmla="*/ 0 w 25"/>
              <a:gd name="T1" fmla="*/ 2147483647 h 24"/>
              <a:gd name="T2" fmla="*/ 2147483647 w 25"/>
              <a:gd name="T3" fmla="*/ 2147483647 h 24"/>
              <a:gd name="T4" fmla="*/ 2147483647 w 25"/>
              <a:gd name="T5" fmla="*/ 2147483647 h 24"/>
              <a:gd name="T6" fmla="*/ 2147483647 w 25"/>
              <a:gd name="T7" fmla="*/ 2147483647 h 24"/>
              <a:gd name="T8" fmla="*/ 2147483647 w 25"/>
              <a:gd name="T9" fmla="*/ 0 h 24"/>
              <a:gd name="T10" fmla="*/ 2147483647 w 25"/>
              <a:gd name="T11" fmla="*/ 2147483647 h 24"/>
              <a:gd name="T12" fmla="*/ 2147483647 w 25"/>
              <a:gd name="T13" fmla="*/ 2147483647 h 24"/>
              <a:gd name="T14" fmla="*/ 2147483647 w 25"/>
              <a:gd name="T15" fmla="*/ 2147483647 h 24"/>
              <a:gd name="T16" fmla="*/ 2147483647 w 25"/>
              <a:gd name="T17" fmla="*/ 2147483647 h 24"/>
              <a:gd name="T18" fmla="*/ 2147483647 w 25"/>
              <a:gd name="T19" fmla="*/ 2147483647 h 24"/>
              <a:gd name="T20" fmla="*/ 2147483647 w 25"/>
              <a:gd name="T21" fmla="*/ 2147483647 h 24"/>
              <a:gd name="T22" fmla="*/ 0 w 25"/>
              <a:gd name="T23" fmla="*/ 2147483647 h 24"/>
              <a:gd name="T24" fmla="*/ 0 w 25"/>
              <a:gd name="T25" fmla="*/ 2147483647 h 2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5"/>
              <a:gd name="T40" fmla="*/ 0 h 24"/>
              <a:gd name="T41" fmla="*/ 25 w 25"/>
              <a:gd name="T42" fmla="*/ 24 h 2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5" h="24">
                <a:moveTo>
                  <a:pt x="0" y="6"/>
                </a:moveTo>
                <a:lnTo>
                  <a:pt x="7" y="6"/>
                </a:lnTo>
                <a:lnTo>
                  <a:pt x="15" y="8"/>
                </a:lnTo>
                <a:lnTo>
                  <a:pt x="15" y="2"/>
                </a:lnTo>
                <a:lnTo>
                  <a:pt x="23" y="0"/>
                </a:lnTo>
                <a:lnTo>
                  <a:pt x="25" y="4"/>
                </a:lnTo>
                <a:lnTo>
                  <a:pt x="21" y="10"/>
                </a:lnTo>
                <a:lnTo>
                  <a:pt x="15" y="12"/>
                </a:lnTo>
                <a:lnTo>
                  <a:pt x="15" y="18"/>
                </a:lnTo>
                <a:lnTo>
                  <a:pt x="15" y="24"/>
                </a:lnTo>
                <a:lnTo>
                  <a:pt x="3" y="20"/>
                </a:lnTo>
                <a:lnTo>
                  <a:pt x="0" y="14"/>
                </a:lnTo>
                <a:lnTo>
                  <a:pt x="0" y="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75" name="Freeform 155">
            <a:extLst>
              <a:ext uri="{FF2B5EF4-FFF2-40B4-BE49-F238E27FC236}">
                <a16:creationId xmlns:a16="http://schemas.microsoft.com/office/drawing/2014/main" id="{039D0C48-B951-0ABA-DDD9-3AAD8704923C}"/>
              </a:ext>
            </a:extLst>
          </p:cNvPr>
          <p:cNvSpPr>
            <a:spLocks/>
          </p:cNvSpPr>
          <p:nvPr/>
        </p:nvSpPr>
        <p:spPr bwMode="auto">
          <a:xfrm>
            <a:off x="5403851" y="3012018"/>
            <a:ext cx="281517" cy="309033"/>
          </a:xfrm>
          <a:custGeom>
            <a:avLst/>
            <a:gdLst>
              <a:gd name="T0" fmla="*/ 2147483647 w 143"/>
              <a:gd name="T1" fmla="*/ 2147483647 h 158"/>
              <a:gd name="T2" fmla="*/ 2147483647 w 143"/>
              <a:gd name="T3" fmla="*/ 2147483647 h 158"/>
              <a:gd name="T4" fmla="*/ 2147483647 w 143"/>
              <a:gd name="T5" fmla="*/ 2147483647 h 158"/>
              <a:gd name="T6" fmla="*/ 2147483647 w 143"/>
              <a:gd name="T7" fmla="*/ 2147483647 h 158"/>
              <a:gd name="T8" fmla="*/ 2147483647 w 143"/>
              <a:gd name="T9" fmla="*/ 2147483647 h 158"/>
              <a:gd name="T10" fmla="*/ 2147483647 w 143"/>
              <a:gd name="T11" fmla="*/ 2147483647 h 158"/>
              <a:gd name="T12" fmla="*/ 2147483647 w 143"/>
              <a:gd name="T13" fmla="*/ 2147483647 h 158"/>
              <a:gd name="T14" fmla="*/ 2147483647 w 143"/>
              <a:gd name="T15" fmla="*/ 2147483647 h 158"/>
              <a:gd name="T16" fmla="*/ 2147483647 w 143"/>
              <a:gd name="T17" fmla="*/ 2147483647 h 158"/>
              <a:gd name="T18" fmla="*/ 2147483647 w 143"/>
              <a:gd name="T19" fmla="*/ 0 h 158"/>
              <a:gd name="T20" fmla="*/ 2147483647 w 143"/>
              <a:gd name="T21" fmla="*/ 2147483647 h 158"/>
              <a:gd name="T22" fmla="*/ 2147483647 w 143"/>
              <a:gd name="T23" fmla="*/ 2147483647 h 158"/>
              <a:gd name="T24" fmla="*/ 2147483647 w 143"/>
              <a:gd name="T25" fmla="*/ 2147483647 h 158"/>
              <a:gd name="T26" fmla="*/ 2147483647 w 143"/>
              <a:gd name="T27" fmla="*/ 2147483647 h 158"/>
              <a:gd name="T28" fmla="*/ 2147483647 w 143"/>
              <a:gd name="T29" fmla="*/ 2147483647 h 158"/>
              <a:gd name="T30" fmla="*/ 2147483647 w 143"/>
              <a:gd name="T31" fmla="*/ 2147483647 h 158"/>
              <a:gd name="T32" fmla="*/ 2147483647 w 143"/>
              <a:gd name="T33" fmla="*/ 2147483647 h 158"/>
              <a:gd name="T34" fmla="*/ 2147483647 w 143"/>
              <a:gd name="T35" fmla="*/ 2147483647 h 158"/>
              <a:gd name="T36" fmla="*/ 2147483647 w 143"/>
              <a:gd name="T37" fmla="*/ 2147483647 h 158"/>
              <a:gd name="T38" fmla="*/ 2147483647 w 143"/>
              <a:gd name="T39" fmla="*/ 2147483647 h 158"/>
              <a:gd name="T40" fmla="*/ 2147483647 w 143"/>
              <a:gd name="T41" fmla="*/ 2147483647 h 158"/>
              <a:gd name="T42" fmla="*/ 2147483647 w 143"/>
              <a:gd name="T43" fmla="*/ 2147483647 h 158"/>
              <a:gd name="T44" fmla="*/ 2147483647 w 143"/>
              <a:gd name="T45" fmla="*/ 2147483647 h 158"/>
              <a:gd name="T46" fmla="*/ 2147483647 w 143"/>
              <a:gd name="T47" fmla="*/ 2147483647 h 158"/>
              <a:gd name="T48" fmla="*/ 2147483647 w 143"/>
              <a:gd name="T49" fmla="*/ 2147483647 h 158"/>
              <a:gd name="T50" fmla="*/ 2147483647 w 143"/>
              <a:gd name="T51" fmla="*/ 2147483647 h 158"/>
              <a:gd name="T52" fmla="*/ 2147483647 w 143"/>
              <a:gd name="T53" fmla="*/ 2147483647 h 158"/>
              <a:gd name="T54" fmla="*/ 2147483647 w 143"/>
              <a:gd name="T55" fmla="*/ 2147483647 h 158"/>
              <a:gd name="T56" fmla="*/ 2147483647 w 143"/>
              <a:gd name="T57" fmla="*/ 2147483647 h 158"/>
              <a:gd name="T58" fmla="*/ 2147483647 w 143"/>
              <a:gd name="T59" fmla="*/ 2147483647 h 158"/>
              <a:gd name="T60" fmla="*/ 2147483647 w 143"/>
              <a:gd name="T61" fmla="*/ 2147483647 h 158"/>
              <a:gd name="T62" fmla="*/ 2147483647 w 143"/>
              <a:gd name="T63" fmla="*/ 2147483647 h 158"/>
              <a:gd name="T64" fmla="*/ 2147483647 w 143"/>
              <a:gd name="T65" fmla="*/ 2147483647 h 158"/>
              <a:gd name="T66" fmla="*/ 2147483647 w 143"/>
              <a:gd name="T67" fmla="*/ 2147483647 h 158"/>
              <a:gd name="T68" fmla="*/ 2147483647 w 143"/>
              <a:gd name="T69" fmla="*/ 2147483647 h 158"/>
              <a:gd name="T70" fmla="*/ 2147483647 w 143"/>
              <a:gd name="T71" fmla="*/ 2147483647 h 158"/>
              <a:gd name="T72" fmla="*/ 2147483647 w 143"/>
              <a:gd name="T73" fmla="*/ 2147483647 h 158"/>
              <a:gd name="T74" fmla="*/ 2147483647 w 143"/>
              <a:gd name="T75" fmla="*/ 2147483647 h 158"/>
              <a:gd name="T76" fmla="*/ 2147483647 w 143"/>
              <a:gd name="T77" fmla="*/ 2147483647 h 158"/>
              <a:gd name="T78" fmla="*/ 2147483647 w 143"/>
              <a:gd name="T79" fmla="*/ 2147483647 h 158"/>
              <a:gd name="T80" fmla="*/ 2147483647 w 143"/>
              <a:gd name="T81" fmla="*/ 2147483647 h 158"/>
              <a:gd name="T82" fmla="*/ 2147483647 w 143"/>
              <a:gd name="T83" fmla="*/ 2147483647 h 158"/>
              <a:gd name="T84" fmla="*/ 2147483647 w 143"/>
              <a:gd name="T85" fmla="*/ 2147483647 h 158"/>
              <a:gd name="T86" fmla="*/ 2147483647 w 143"/>
              <a:gd name="T87" fmla="*/ 2147483647 h 158"/>
              <a:gd name="T88" fmla="*/ 2147483647 w 143"/>
              <a:gd name="T89" fmla="*/ 2147483647 h 158"/>
              <a:gd name="T90" fmla="*/ 2147483647 w 143"/>
              <a:gd name="T91" fmla="*/ 2147483647 h 158"/>
              <a:gd name="T92" fmla="*/ 2147483647 w 143"/>
              <a:gd name="T93" fmla="*/ 2147483647 h 158"/>
              <a:gd name="T94" fmla="*/ 2147483647 w 143"/>
              <a:gd name="T95" fmla="*/ 2147483647 h 158"/>
              <a:gd name="T96" fmla="*/ 2147483647 w 143"/>
              <a:gd name="T97" fmla="*/ 2147483647 h 158"/>
              <a:gd name="T98" fmla="*/ 2147483647 w 143"/>
              <a:gd name="T99" fmla="*/ 2147483647 h 158"/>
              <a:gd name="T100" fmla="*/ 2147483647 w 143"/>
              <a:gd name="T101" fmla="*/ 2147483647 h 158"/>
              <a:gd name="T102" fmla="*/ 2147483647 w 143"/>
              <a:gd name="T103" fmla="*/ 2147483647 h 158"/>
              <a:gd name="T104" fmla="*/ 2147483647 w 143"/>
              <a:gd name="T105" fmla="*/ 2147483647 h 158"/>
              <a:gd name="T106" fmla="*/ 2147483647 w 143"/>
              <a:gd name="T107" fmla="*/ 2147483647 h 158"/>
              <a:gd name="T108" fmla="*/ 2147483647 w 143"/>
              <a:gd name="T109" fmla="*/ 2147483647 h 158"/>
              <a:gd name="T110" fmla="*/ 2147483647 w 143"/>
              <a:gd name="T111" fmla="*/ 2147483647 h 158"/>
              <a:gd name="T112" fmla="*/ 0 w 143"/>
              <a:gd name="T113" fmla="*/ 2147483647 h 158"/>
              <a:gd name="T114" fmla="*/ 0 w 143"/>
              <a:gd name="T115" fmla="*/ 2147483647 h 158"/>
              <a:gd name="T116" fmla="*/ 2147483647 w 143"/>
              <a:gd name="T117" fmla="*/ 2147483647 h 158"/>
              <a:gd name="T118" fmla="*/ 2147483647 w 143"/>
              <a:gd name="T119" fmla="*/ 2147483647 h 158"/>
              <a:gd name="T120" fmla="*/ 2147483647 w 143"/>
              <a:gd name="T121" fmla="*/ 2147483647 h 158"/>
              <a:gd name="T122" fmla="*/ 2147483647 w 143"/>
              <a:gd name="T123" fmla="*/ 2147483647 h 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43"/>
              <a:gd name="T187" fmla="*/ 0 h 158"/>
              <a:gd name="T188" fmla="*/ 143 w 143"/>
              <a:gd name="T189" fmla="*/ 158 h 15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43" h="158">
                <a:moveTo>
                  <a:pt x="10" y="30"/>
                </a:moveTo>
                <a:lnTo>
                  <a:pt x="18" y="28"/>
                </a:lnTo>
                <a:lnTo>
                  <a:pt x="26" y="28"/>
                </a:lnTo>
                <a:lnTo>
                  <a:pt x="36" y="32"/>
                </a:lnTo>
                <a:lnTo>
                  <a:pt x="40" y="26"/>
                </a:lnTo>
                <a:lnTo>
                  <a:pt x="48" y="22"/>
                </a:lnTo>
                <a:lnTo>
                  <a:pt x="46" y="16"/>
                </a:lnTo>
                <a:lnTo>
                  <a:pt x="44" y="8"/>
                </a:lnTo>
                <a:lnTo>
                  <a:pt x="46" y="2"/>
                </a:lnTo>
                <a:lnTo>
                  <a:pt x="56" y="0"/>
                </a:lnTo>
                <a:lnTo>
                  <a:pt x="62" y="6"/>
                </a:lnTo>
                <a:lnTo>
                  <a:pt x="64" y="12"/>
                </a:lnTo>
                <a:lnTo>
                  <a:pt x="74" y="16"/>
                </a:lnTo>
                <a:lnTo>
                  <a:pt x="80" y="20"/>
                </a:lnTo>
                <a:lnTo>
                  <a:pt x="89" y="22"/>
                </a:lnTo>
                <a:lnTo>
                  <a:pt x="95" y="16"/>
                </a:lnTo>
                <a:lnTo>
                  <a:pt x="109" y="12"/>
                </a:lnTo>
                <a:lnTo>
                  <a:pt x="117" y="10"/>
                </a:lnTo>
                <a:lnTo>
                  <a:pt x="119" y="16"/>
                </a:lnTo>
                <a:lnTo>
                  <a:pt x="131" y="24"/>
                </a:lnTo>
                <a:lnTo>
                  <a:pt x="135" y="34"/>
                </a:lnTo>
                <a:lnTo>
                  <a:pt x="131" y="46"/>
                </a:lnTo>
                <a:lnTo>
                  <a:pt x="139" y="50"/>
                </a:lnTo>
                <a:lnTo>
                  <a:pt x="137" y="60"/>
                </a:lnTo>
                <a:lnTo>
                  <a:pt x="139" y="74"/>
                </a:lnTo>
                <a:lnTo>
                  <a:pt x="143" y="82"/>
                </a:lnTo>
                <a:lnTo>
                  <a:pt x="137" y="84"/>
                </a:lnTo>
                <a:lnTo>
                  <a:pt x="129" y="86"/>
                </a:lnTo>
                <a:lnTo>
                  <a:pt x="119" y="90"/>
                </a:lnTo>
                <a:lnTo>
                  <a:pt x="107" y="94"/>
                </a:lnTo>
                <a:lnTo>
                  <a:pt x="95" y="100"/>
                </a:lnTo>
                <a:lnTo>
                  <a:pt x="103" y="110"/>
                </a:lnTo>
                <a:lnTo>
                  <a:pt x="111" y="120"/>
                </a:lnTo>
                <a:lnTo>
                  <a:pt x="123" y="128"/>
                </a:lnTo>
                <a:lnTo>
                  <a:pt x="123" y="134"/>
                </a:lnTo>
                <a:lnTo>
                  <a:pt x="115" y="138"/>
                </a:lnTo>
                <a:lnTo>
                  <a:pt x="107" y="142"/>
                </a:lnTo>
                <a:lnTo>
                  <a:pt x="107" y="150"/>
                </a:lnTo>
                <a:lnTo>
                  <a:pt x="95" y="150"/>
                </a:lnTo>
                <a:lnTo>
                  <a:pt x="85" y="156"/>
                </a:lnTo>
                <a:lnTo>
                  <a:pt x="56" y="158"/>
                </a:lnTo>
                <a:lnTo>
                  <a:pt x="58" y="154"/>
                </a:lnTo>
                <a:lnTo>
                  <a:pt x="56" y="152"/>
                </a:lnTo>
                <a:lnTo>
                  <a:pt x="48" y="150"/>
                </a:lnTo>
                <a:lnTo>
                  <a:pt x="38" y="152"/>
                </a:lnTo>
                <a:lnTo>
                  <a:pt x="28" y="152"/>
                </a:lnTo>
                <a:lnTo>
                  <a:pt x="22" y="152"/>
                </a:lnTo>
                <a:lnTo>
                  <a:pt x="22" y="146"/>
                </a:lnTo>
                <a:lnTo>
                  <a:pt x="32" y="126"/>
                </a:lnTo>
                <a:lnTo>
                  <a:pt x="30" y="122"/>
                </a:lnTo>
                <a:lnTo>
                  <a:pt x="12" y="122"/>
                </a:lnTo>
                <a:lnTo>
                  <a:pt x="8" y="118"/>
                </a:lnTo>
                <a:lnTo>
                  <a:pt x="2" y="114"/>
                </a:lnTo>
                <a:lnTo>
                  <a:pt x="4" y="106"/>
                </a:lnTo>
                <a:lnTo>
                  <a:pt x="2" y="102"/>
                </a:lnTo>
                <a:lnTo>
                  <a:pt x="4" y="96"/>
                </a:lnTo>
                <a:lnTo>
                  <a:pt x="0" y="86"/>
                </a:lnTo>
                <a:lnTo>
                  <a:pt x="0" y="68"/>
                </a:lnTo>
                <a:lnTo>
                  <a:pt x="12" y="60"/>
                </a:lnTo>
                <a:lnTo>
                  <a:pt x="12" y="50"/>
                </a:lnTo>
                <a:lnTo>
                  <a:pt x="16" y="44"/>
                </a:lnTo>
                <a:lnTo>
                  <a:pt x="10" y="3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76" name="Freeform 156">
            <a:extLst>
              <a:ext uri="{FF2B5EF4-FFF2-40B4-BE49-F238E27FC236}">
                <a16:creationId xmlns:a16="http://schemas.microsoft.com/office/drawing/2014/main" id="{5B5B7C4D-4F4A-B2C5-C9DE-060E6B1221CB}"/>
              </a:ext>
            </a:extLst>
          </p:cNvPr>
          <p:cNvSpPr>
            <a:spLocks/>
          </p:cNvSpPr>
          <p:nvPr/>
        </p:nvSpPr>
        <p:spPr bwMode="auto">
          <a:xfrm>
            <a:off x="5596465" y="3164418"/>
            <a:ext cx="213784" cy="107951"/>
          </a:xfrm>
          <a:custGeom>
            <a:avLst/>
            <a:gdLst>
              <a:gd name="T0" fmla="*/ 2147483647 w 110"/>
              <a:gd name="T1" fmla="*/ 0 h 50"/>
              <a:gd name="T2" fmla="*/ 2147483647 w 110"/>
              <a:gd name="T3" fmla="*/ 2147483647 h 50"/>
              <a:gd name="T4" fmla="*/ 2147483647 w 110"/>
              <a:gd name="T5" fmla="*/ 2147483647 h 50"/>
              <a:gd name="T6" fmla="*/ 2147483647 w 110"/>
              <a:gd name="T7" fmla="*/ 2147483647 h 50"/>
              <a:gd name="T8" fmla="*/ 2147483647 w 110"/>
              <a:gd name="T9" fmla="*/ 2147483647 h 50"/>
              <a:gd name="T10" fmla="*/ 2147483647 w 110"/>
              <a:gd name="T11" fmla="*/ 2147483647 h 50"/>
              <a:gd name="T12" fmla="*/ 2147483647 w 110"/>
              <a:gd name="T13" fmla="*/ 2147483647 h 50"/>
              <a:gd name="T14" fmla="*/ 2147483647 w 110"/>
              <a:gd name="T15" fmla="*/ 2147483647 h 50"/>
              <a:gd name="T16" fmla="*/ 2147483647 w 110"/>
              <a:gd name="T17" fmla="*/ 2147483647 h 50"/>
              <a:gd name="T18" fmla="*/ 2147483647 w 110"/>
              <a:gd name="T19" fmla="*/ 2147483647 h 50"/>
              <a:gd name="T20" fmla="*/ 2147483647 w 110"/>
              <a:gd name="T21" fmla="*/ 2147483647 h 50"/>
              <a:gd name="T22" fmla="*/ 2147483647 w 110"/>
              <a:gd name="T23" fmla="*/ 2147483647 h 50"/>
              <a:gd name="T24" fmla="*/ 2147483647 w 110"/>
              <a:gd name="T25" fmla="*/ 2147483647 h 50"/>
              <a:gd name="T26" fmla="*/ 2147483647 w 110"/>
              <a:gd name="T27" fmla="*/ 2147483647 h 50"/>
              <a:gd name="T28" fmla="*/ 2147483647 w 110"/>
              <a:gd name="T29" fmla="*/ 2147483647 h 50"/>
              <a:gd name="T30" fmla="*/ 2147483647 w 110"/>
              <a:gd name="T31" fmla="*/ 2147483647 h 50"/>
              <a:gd name="T32" fmla="*/ 2147483647 w 110"/>
              <a:gd name="T33" fmla="*/ 2147483647 h 50"/>
              <a:gd name="T34" fmla="*/ 2147483647 w 110"/>
              <a:gd name="T35" fmla="*/ 2147483647 h 50"/>
              <a:gd name="T36" fmla="*/ 2147483647 w 110"/>
              <a:gd name="T37" fmla="*/ 2147483647 h 50"/>
              <a:gd name="T38" fmla="*/ 2147483647 w 110"/>
              <a:gd name="T39" fmla="*/ 2147483647 h 50"/>
              <a:gd name="T40" fmla="*/ 0 w 110"/>
              <a:gd name="T41" fmla="*/ 2147483647 h 50"/>
              <a:gd name="T42" fmla="*/ 2147483647 w 110"/>
              <a:gd name="T43" fmla="*/ 2147483647 h 50"/>
              <a:gd name="T44" fmla="*/ 2147483647 w 110"/>
              <a:gd name="T45" fmla="*/ 2147483647 h 50"/>
              <a:gd name="T46" fmla="*/ 2147483647 w 110"/>
              <a:gd name="T47" fmla="*/ 2147483647 h 50"/>
              <a:gd name="T48" fmla="*/ 2147483647 w 110"/>
              <a:gd name="T49" fmla="*/ 2147483647 h 50"/>
              <a:gd name="T50" fmla="*/ 2147483647 w 110"/>
              <a:gd name="T51" fmla="*/ 0 h 50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10"/>
              <a:gd name="T79" fmla="*/ 0 h 50"/>
              <a:gd name="T80" fmla="*/ 110 w 110"/>
              <a:gd name="T81" fmla="*/ 50 h 50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10" h="50">
                <a:moveTo>
                  <a:pt x="48" y="0"/>
                </a:moveTo>
                <a:lnTo>
                  <a:pt x="56" y="4"/>
                </a:lnTo>
                <a:lnTo>
                  <a:pt x="68" y="8"/>
                </a:lnTo>
                <a:lnTo>
                  <a:pt x="70" y="16"/>
                </a:lnTo>
                <a:lnTo>
                  <a:pt x="78" y="18"/>
                </a:lnTo>
                <a:lnTo>
                  <a:pt x="80" y="14"/>
                </a:lnTo>
                <a:lnTo>
                  <a:pt x="88" y="16"/>
                </a:lnTo>
                <a:lnTo>
                  <a:pt x="94" y="20"/>
                </a:lnTo>
                <a:lnTo>
                  <a:pt x="102" y="24"/>
                </a:lnTo>
                <a:lnTo>
                  <a:pt x="110" y="30"/>
                </a:lnTo>
                <a:lnTo>
                  <a:pt x="100" y="36"/>
                </a:lnTo>
                <a:lnTo>
                  <a:pt x="92" y="44"/>
                </a:lnTo>
                <a:lnTo>
                  <a:pt x="82" y="46"/>
                </a:lnTo>
                <a:lnTo>
                  <a:pt x="76" y="50"/>
                </a:lnTo>
                <a:lnTo>
                  <a:pt x="66" y="50"/>
                </a:lnTo>
                <a:lnTo>
                  <a:pt x="46" y="42"/>
                </a:lnTo>
                <a:lnTo>
                  <a:pt x="44" y="48"/>
                </a:lnTo>
                <a:lnTo>
                  <a:pt x="28" y="46"/>
                </a:lnTo>
                <a:lnTo>
                  <a:pt x="20" y="40"/>
                </a:lnTo>
                <a:lnTo>
                  <a:pt x="14" y="34"/>
                </a:lnTo>
                <a:lnTo>
                  <a:pt x="0" y="18"/>
                </a:lnTo>
                <a:lnTo>
                  <a:pt x="12" y="12"/>
                </a:lnTo>
                <a:lnTo>
                  <a:pt x="24" y="8"/>
                </a:lnTo>
                <a:lnTo>
                  <a:pt x="34" y="4"/>
                </a:lnTo>
                <a:lnTo>
                  <a:pt x="42" y="2"/>
                </a:lnTo>
                <a:lnTo>
                  <a:pt x="48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77" name="Freeform 157">
            <a:extLst>
              <a:ext uri="{FF2B5EF4-FFF2-40B4-BE49-F238E27FC236}">
                <a16:creationId xmlns:a16="http://schemas.microsoft.com/office/drawing/2014/main" id="{9969AECA-E8AE-9F05-2631-BF8514982F53}"/>
              </a:ext>
            </a:extLst>
          </p:cNvPr>
          <p:cNvSpPr>
            <a:spLocks/>
          </p:cNvSpPr>
          <p:nvPr/>
        </p:nvSpPr>
        <p:spPr bwMode="auto">
          <a:xfrm>
            <a:off x="5742517" y="3234267"/>
            <a:ext cx="177800" cy="76200"/>
          </a:xfrm>
          <a:custGeom>
            <a:avLst/>
            <a:gdLst>
              <a:gd name="T0" fmla="*/ 2147483647 w 90"/>
              <a:gd name="T1" fmla="*/ 2147483647 h 38"/>
              <a:gd name="T2" fmla="*/ 2147483647 w 90"/>
              <a:gd name="T3" fmla="*/ 2147483647 h 38"/>
              <a:gd name="T4" fmla="*/ 2147483647 w 90"/>
              <a:gd name="T5" fmla="*/ 2147483647 h 38"/>
              <a:gd name="T6" fmla="*/ 2147483647 w 90"/>
              <a:gd name="T7" fmla="*/ 2147483647 h 38"/>
              <a:gd name="T8" fmla="*/ 2147483647 w 90"/>
              <a:gd name="T9" fmla="*/ 2147483647 h 38"/>
              <a:gd name="T10" fmla="*/ 2147483647 w 90"/>
              <a:gd name="T11" fmla="*/ 2147483647 h 38"/>
              <a:gd name="T12" fmla="*/ 2147483647 w 90"/>
              <a:gd name="T13" fmla="*/ 2147483647 h 38"/>
              <a:gd name="T14" fmla="*/ 2147483647 w 90"/>
              <a:gd name="T15" fmla="*/ 2147483647 h 38"/>
              <a:gd name="T16" fmla="*/ 2147483647 w 90"/>
              <a:gd name="T17" fmla="*/ 2147483647 h 38"/>
              <a:gd name="T18" fmla="*/ 2147483647 w 90"/>
              <a:gd name="T19" fmla="*/ 2147483647 h 38"/>
              <a:gd name="T20" fmla="*/ 2147483647 w 90"/>
              <a:gd name="T21" fmla="*/ 2147483647 h 38"/>
              <a:gd name="T22" fmla="*/ 2147483647 w 90"/>
              <a:gd name="T23" fmla="*/ 2147483647 h 38"/>
              <a:gd name="T24" fmla="*/ 2147483647 w 90"/>
              <a:gd name="T25" fmla="*/ 2147483647 h 38"/>
              <a:gd name="T26" fmla="*/ 2147483647 w 90"/>
              <a:gd name="T27" fmla="*/ 2147483647 h 38"/>
              <a:gd name="T28" fmla="*/ 2147483647 w 90"/>
              <a:gd name="T29" fmla="*/ 2147483647 h 38"/>
              <a:gd name="T30" fmla="*/ 2147483647 w 90"/>
              <a:gd name="T31" fmla="*/ 2147483647 h 38"/>
              <a:gd name="T32" fmla="*/ 2147483647 w 90"/>
              <a:gd name="T33" fmla="*/ 2147483647 h 38"/>
              <a:gd name="T34" fmla="*/ 2147483647 w 90"/>
              <a:gd name="T35" fmla="*/ 2147483647 h 38"/>
              <a:gd name="T36" fmla="*/ 2147483647 w 90"/>
              <a:gd name="T37" fmla="*/ 2147483647 h 38"/>
              <a:gd name="T38" fmla="*/ 2147483647 w 90"/>
              <a:gd name="T39" fmla="*/ 2147483647 h 38"/>
              <a:gd name="T40" fmla="*/ 2147483647 w 90"/>
              <a:gd name="T41" fmla="*/ 2147483647 h 38"/>
              <a:gd name="T42" fmla="*/ 0 w 90"/>
              <a:gd name="T43" fmla="*/ 2147483647 h 38"/>
              <a:gd name="T44" fmla="*/ 2147483647 w 90"/>
              <a:gd name="T45" fmla="*/ 2147483647 h 38"/>
              <a:gd name="T46" fmla="*/ 2147483647 w 90"/>
              <a:gd name="T47" fmla="*/ 2147483647 h 38"/>
              <a:gd name="T48" fmla="*/ 2147483647 w 90"/>
              <a:gd name="T49" fmla="*/ 2147483647 h 38"/>
              <a:gd name="T50" fmla="*/ 2147483647 w 90"/>
              <a:gd name="T51" fmla="*/ 0 h 38"/>
              <a:gd name="T52" fmla="*/ 2147483647 w 90"/>
              <a:gd name="T53" fmla="*/ 2147483647 h 38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90"/>
              <a:gd name="T82" fmla="*/ 0 h 38"/>
              <a:gd name="T83" fmla="*/ 90 w 90"/>
              <a:gd name="T84" fmla="*/ 38 h 38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90" h="38">
                <a:moveTo>
                  <a:pt x="44" y="2"/>
                </a:moveTo>
                <a:lnTo>
                  <a:pt x="48" y="10"/>
                </a:lnTo>
                <a:lnTo>
                  <a:pt x="58" y="8"/>
                </a:lnTo>
                <a:lnTo>
                  <a:pt x="68" y="4"/>
                </a:lnTo>
                <a:lnTo>
                  <a:pt x="76" y="4"/>
                </a:lnTo>
                <a:lnTo>
                  <a:pt x="86" y="8"/>
                </a:lnTo>
                <a:lnTo>
                  <a:pt x="90" y="12"/>
                </a:lnTo>
                <a:lnTo>
                  <a:pt x="86" y="20"/>
                </a:lnTo>
                <a:lnTo>
                  <a:pt x="82" y="26"/>
                </a:lnTo>
                <a:lnTo>
                  <a:pt x="72" y="24"/>
                </a:lnTo>
                <a:lnTo>
                  <a:pt x="62" y="22"/>
                </a:lnTo>
                <a:lnTo>
                  <a:pt x="56" y="26"/>
                </a:lnTo>
                <a:lnTo>
                  <a:pt x="54" y="28"/>
                </a:lnTo>
                <a:lnTo>
                  <a:pt x="44" y="28"/>
                </a:lnTo>
                <a:lnTo>
                  <a:pt x="38" y="32"/>
                </a:lnTo>
                <a:lnTo>
                  <a:pt x="30" y="32"/>
                </a:lnTo>
                <a:lnTo>
                  <a:pt x="26" y="38"/>
                </a:lnTo>
                <a:lnTo>
                  <a:pt x="18" y="38"/>
                </a:lnTo>
                <a:lnTo>
                  <a:pt x="10" y="36"/>
                </a:lnTo>
                <a:lnTo>
                  <a:pt x="4" y="32"/>
                </a:lnTo>
                <a:lnTo>
                  <a:pt x="2" y="24"/>
                </a:lnTo>
                <a:lnTo>
                  <a:pt x="0" y="20"/>
                </a:lnTo>
                <a:lnTo>
                  <a:pt x="6" y="16"/>
                </a:lnTo>
                <a:lnTo>
                  <a:pt x="16" y="14"/>
                </a:lnTo>
                <a:lnTo>
                  <a:pt x="24" y="6"/>
                </a:lnTo>
                <a:lnTo>
                  <a:pt x="34" y="0"/>
                </a:lnTo>
                <a:lnTo>
                  <a:pt x="44" y="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78" name="Freeform 158">
            <a:extLst>
              <a:ext uri="{FF2B5EF4-FFF2-40B4-BE49-F238E27FC236}">
                <a16:creationId xmlns:a16="http://schemas.microsoft.com/office/drawing/2014/main" id="{FAD1B506-E61D-D068-AD83-465388FFC470}"/>
              </a:ext>
            </a:extLst>
          </p:cNvPr>
          <p:cNvSpPr>
            <a:spLocks/>
          </p:cNvSpPr>
          <p:nvPr/>
        </p:nvSpPr>
        <p:spPr bwMode="auto">
          <a:xfrm>
            <a:off x="5511801" y="3253318"/>
            <a:ext cx="249767" cy="105833"/>
          </a:xfrm>
          <a:custGeom>
            <a:avLst/>
            <a:gdLst>
              <a:gd name="T0" fmla="*/ 2147483647 w 127"/>
              <a:gd name="T1" fmla="*/ 2147483647 h 52"/>
              <a:gd name="T2" fmla="*/ 2147483647 w 127"/>
              <a:gd name="T3" fmla="*/ 2147483647 h 52"/>
              <a:gd name="T4" fmla="*/ 2147483647 w 127"/>
              <a:gd name="T5" fmla="*/ 2147483647 h 52"/>
              <a:gd name="T6" fmla="*/ 0 w 127"/>
              <a:gd name="T7" fmla="*/ 2147483647 h 52"/>
              <a:gd name="T8" fmla="*/ 2147483647 w 127"/>
              <a:gd name="T9" fmla="*/ 2147483647 h 52"/>
              <a:gd name="T10" fmla="*/ 2147483647 w 127"/>
              <a:gd name="T11" fmla="*/ 2147483647 h 52"/>
              <a:gd name="T12" fmla="*/ 2147483647 w 127"/>
              <a:gd name="T13" fmla="*/ 2147483647 h 52"/>
              <a:gd name="T14" fmla="*/ 2147483647 w 127"/>
              <a:gd name="T15" fmla="*/ 2147483647 h 52"/>
              <a:gd name="T16" fmla="*/ 2147483647 w 127"/>
              <a:gd name="T17" fmla="*/ 2147483647 h 52"/>
              <a:gd name="T18" fmla="*/ 2147483647 w 127"/>
              <a:gd name="T19" fmla="*/ 2147483647 h 52"/>
              <a:gd name="T20" fmla="*/ 2147483647 w 127"/>
              <a:gd name="T21" fmla="*/ 2147483647 h 52"/>
              <a:gd name="T22" fmla="*/ 2147483647 w 127"/>
              <a:gd name="T23" fmla="*/ 2147483647 h 52"/>
              <a:gd name="T24" fmla="*/ 2147483647 w 127"/>
              <a:gd name="T25" fmla="*/ 2147483647 h 52"/>
              <a:gd name="T26" fmla="*/ 2147483647 w 127"/>
              <a:gd name="T27" fmla="*/ 0 h 52"/>
              <a:gd name="T28" fmla="*/ 2147483647 w 127"/>
              <a:gd name="T29" fmla="*/ 2147483647 h 52"/>
              <a:gd name="T30" fmla="*/ 2147483647 w 127"/>
              <a:gd name="T31" fmla="*/ 2147483647 h 52"/>
              <a:gd name="T32" fmla="*/ 2147483647 w 127"/>
              <a:gd name="T33" fmla="*/ 2147483647 h 52"/>
              <a:gd name="T34" fmla="*/ 2147483647 w 127"/>
              <a:gd name="T35" fmla="*/ 2147483647 h 52"/>
              <a:gd name="T36" fmla="*/ 2147483647 w 127"/>
              <a:gd name="T37" fmla="*/ 2147483647 h 52"/>
              <a:gd name="T38" fmla="*/ 2147483647 w 127"/>
              <a:gd name="T39" fmla="*/ 2147483647 h 52"/>
              <a:gd name="T40" fmla="*/ 2147483647 w 127"/>
              <a:gd name="T41" fmla="*/ 2147483647 h 52"/>
              <a:gd name="T42" fmla="*/ 2147483647 w 127"/>
              <a:gd name="T43" fmla="*/ 2147483647 h 52"/>
              <a:gd name="T44" fmla="*/ 2147483647 w 127"/>
              <a:gd name="T45" fmla="*/ 2147483647 h 52"/>
              <a:gd name="T46" fmla="*/ 2147483647 w 127"/>
              <a:gd name="T47" fmla="*/ 2147483647 h 52"/>
              <a:gd name="T48" fmla="*/ 2147483647 w 127"/>
              <a:gd name="T49" fmla="*/ 2147483647 h 52"/>
              <a:gd name="T50" fmla="*/ 2147483647 w 127"/>
              <a:gd name="T51" fmla="*/ 2147483647 h 52"/>
              <a:gd name="T52" fmla="*/ 2147483647 w 127"/>
              <a:gd name="T53" fmla="*/ 2147483647 h 52"/>
              <a:gd name="T54" fmla="*/ 2147483647 w 127"/>
              <a:gd name="T55" fmla="*/ 2147483647 h 52"/>
              <a:gd name="T56" fmla="*/ 2147483647 w 127"/>
              <a:gd name="T57" fmla="*/ 2147483647 h 52"/>
              <a:gd name="T58" fmla="*/ 2147483647 w 127"/>
              <a:gd name="T59" fmla="*/ 2147483647 h 52"/>
              <a:gd name="T60" fmla="*/ 2147483647 w 127"/>
              <a:gd name="T61" fmla="*/ 2147483647 h 52"/>
              <a:gd name="T62" fmla="*/ 2147483647 w 127"/>
              <a:gd name="T63" fmla="*/ 2147483647 h 5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7"/>
              <a:gd name="T97" fmla="*/ 0 h 52"/>
              <a:gd name="T98" fmla="*/ 127 w 127"/>
              <a:gd name="T99" fmla="*/ 52 h 52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7" h="52">
                <a:moveTo>
                  <a:pt x="14" y="46"/>
                </a:moveTo>
                <a:lnTo>
                  <a:pt x="12" y="42"/>
                </a:lnTo>
                <a:lnTo>
                  <a:pt x="8" y="42"/>
                </a:lnTo>
                <a:lnTo>
                  <a:pt x="0" y="40"/>
                </a:lnTo>
                <a:lnTo>
                  <a:pt x="2" y="34"/>
                </a:lnTo>
                <a:lnTo>
                  <a:pt x="18" y="34"/>
                </a:lnTo>
                <a:lnTo>
                  <a:pt x="31" y="32"/>
                </a:lnTo>
                <a:lnTo>
                  <a:pt x="41" y="26"/>
                </a:lnTo>
                <a:lnTo>
                  <a:pt x="53" y="26"/>
                </a:lnTo>
                <a:lnTo>
                  <a:pt x="53" y="18"/>
                </a:lnTo>
                <a:lnTo>
                  <a:pt x="69" y="10"/>
                </a:lnTo>
                <a:lnTo>
                  <a:pt x="69" y="4"/>
                </a:lnTo>
                <a:lnTo>
                  <a:pt x="85" y="6"/>
                </a:lnTo>
                <a:lnTo>
                  <a:pt x="87" y="0"/>
                </a:lnTo>
                <a:lnTo>
                  <a:pt x="107" y="8"/>
                </a:lnTo>
                <a:lnTo>
                  <a:pt x="117" y="8"/>
                </a:lnTo>
                <a:lnTo>
                  <a:pt x="119" y="12"/>
                </a:lnTo>
                <a:lnTo>
                  <a:pt x="121" y="20"/>
                </a:lnTo>
                <a:lnTo>
                  <a:pt x="127" y="24"/>
                </a:lnTo>
                <a:lnTo>
                  <a:pt x="117" y="28"/>
                </a:lnTo>
                <a:lnTo>
                  <a:pt x="111" y="34"/>
                </a:lnTo>
                <a:lnTo>
                  <a:pt x="109" y="40"/>
                </a:lnTo>
                <a:lnTo>
                  <a:pt x="103" y="44"/>
                </a:lnTo>
                <a:lnTo>
                  <a:pt x="89" y="50"/>
                </a:lnTo>
                <a:lnTo>
                  <a:pt x="77" y="52"/>
                </a:lnTo>
                <a:lnTo>
                  <a:pt x="67" y="48"/>
                </a:lnTo>
                <a:lnTo>
                  <a:pt x="51" y="50"/>
                </a:lnTo>
                <a:lnTo>
                  <a:pt x="41" y="46"/>
                </a:lnTo>
                <a:lnTo>
                  <a:pt x="41" y="40"/>
                </a:lnTo>
                <a:lnTo>
                  <a:pt x="26" y="40"/>
                </a:lnTo>
                <a:lnTo>
                  <a:pt x="24" y="46"/>
                </a:lnTo>
                <a:lnTo>
                  <a:pt x="14" y="4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79" name="Freeform 159">
            <a:extLst>
              <a:ext uri="{FF2B5EF4-FFF2-40B4-BE49-F238E27FC236}">
                <a16:creationId xmlns:a16="http://schemas.microsoft.com/office/drawing/2014/main" id="{58C80220-92A5-1EDD-FE0E-D91266498CEC}"/>
              </a:ext>
            </a:extLst>
          </p:cNvPr>
          <p:cNvSpPr>
            <a:spLocks/>
          </p:cNvSpPr>
          <p:nvPr/>
        </p:nvSpPr>
        <p:spPr bwMode="auto">
          <a:xfrm>
            <a:off x="5666318" y="3020485"/>
            <a:ext cx="300567" cy="232833"/>
          </a:xfrm>
          <a:custGeom>
            <a:avLst/>
            <a:gdLst>
              <a:gd name="T0" fmla="*/ 0 w 154"/>
              <a:gd name="T1" fmla="*/ 2147483647 h 120"/>
              <a:gd name="T2" fmla="*/ 2147483647 w 154"/>
              <a:gd name="T3" fmla="*/ 2147483647 h 120"/>
              <a:gd name="T4" fmla="*/ 2147483647 w 154"/>
              <a:gd name="T5" fmla="*/ 2147483647 h 120"/>
              <a:gd name="T6" fmla="*/ 2147483647 w 154"/>
              <a:gd name="T7" fmla="*/ 0 h 120"/>
              <a:gd name="T8" fmla="*/ 2147483647 w 154"/>
              <a:gd name="T9" fmla="*/ 0 h 120"/>
              <a:gd name="T10" fmla="*/ 2147483647 w 154"/>
              <a:gd name="T11" fmla="*/ 2147483647 h 120"/>
              <a:gd name="T12" fmla="*/ 2147483647 w 154"/>
              <a:gd name="T13" fmla="*/ 2147483647 h 120"/>
              <a:gd name="T14" fmla="*/ 2147483647 w 154"/>
              <a:gd name="T15" fmla="*/ 2147483647 h 120"/>
              <a:gd name="T16" fmla="*/ 2147483647 w 154"/>
              <a:gd name="T17" fmla="*/ 2147483647 h 120"/>
              <a:gd name="T18" fmla="*/ 2147483647 w 154"/>
              <a:gd name="T19" fmla="*/ 2147483647 h 120"/>
              <a:gd name="T20" fmla="*/ 2147483647 w 154"/>
              <a:gd name="T21" fmla="*/ 2147483647 h 120"/>
              <a:gd name="T22" fmla="*/ 2147483647 w 154"/>
              <a:gd name="T23" fmla="*/ 2147483647 h 120"/>
              <a:gd name="T24" fmla="*/ 2147483647 w 154"/>
              <a:gd name="T25" fmla="*/ 2147483647 h 120"/>
              <a:gd name="T26" fmla="*/ 2147483647 w 154"/>
              <a:gd name="T27" fmla="*/ 2147483647 h 120"/>
              <a:gd name="T28" fmla="*/ 2147483647 w 154"/>
              <a:gd name="T29" fmla="*/ 2147483647 h 120"/>
              <a:gd name="T30" fmla="*/ 2147483647 w 154"/>
              <a:gd name="T31" fmla="*/ 2147483647 h 120"/>
              <a:gd name="T32" fmla="*/ 2147483647 w 154"/>
              <a:gd name="T33" fmla="*/ 2147483647 h 120"/>
              <a:gd name="T34" fmla="*/ 2147483647 w 154"/>
              <a:gd name="T35" fmla="*/ 2147483647 h 120"/>
              <a:gd name="T36" fmla="*/ 2147483647 w 154"/>
              <a:gd name="T37" fmla="*/ 2147483647 h 120"/>
              <a:gd name="T38" fmla="*/ 2147483647 w 154"/>
              <a:gd name="T39" fmla="*/ 2147483647 h 120"/>
              <a:gd name="T40" fmla="*/ 2147483647 w 154"/>
              <a:gd name="T41" fmla="*/ 2147483647 h 120"/>
              <a:gd name="T42" fmla="*/ 2147483647 w 154"/>
              <a:gd name="T43" fmla="*/ 2147483647 h 120"/>
              <a:gd name="T44" fmla="*/ 2147483647 w 154"/>
              <a:gd name="T45" fmla="*/ 2147483647 h 120"/>
              <a:gd name="T46" fmla="*/ 2147483647 w 154"/>
              <a:gd name="T47" fmla="*/ 2147483647 h 120"/>
              <a:gd name="T48" fmla="*/ 2147483647 w 154"/>
              <a:gd name="T49" fmla="*/ 2147483647 h 120"/>
              <a:gd name="T50" fmla="*/ 2147483647 w 154"/>
              <a:gd name="T51" fmla="*/ 2147483647 h 120"/>
              <a:gd name="T52" fmla="*/ 2147483647 w 154"/>
              <a:gd name="T53" fmla="*/ 2147483647 h 120"/>
              <a:gd name="T54" fmla="*/ 2147483647 w 154"/>
              <a:gd name="T55" fmla="*/ 2147483647 h 120"/>
              <a:gd name="T56" fmla="*/ 2147483647 w 154"/>
              <a:gd name="T57" fmla="*/ 2147483647 h 120"/>
              <a:gd name="T58" fmla="*/ 2147483647 w 154"/>
              <a:gd name="T59" fmla="*/ 2147483647 h 120"/>
              <a:gd name="T60" fmla="*/ 2147483647 w 154"/>
              <a:gd name="T61" fmla="*/ 2147483647 h 120"/>
              <a:gd name="T62" fmla="*/ 2147483647 w 154"/>
              <a:gd name="T63" fmla="*/ 2147483647 h 120"/>
              <a:gd name="T64" fmla="*/ 2147483647 w 154"/>
              <a:gd name="T65" fmla="*/ 2147483647 h 120"/>
              <a:gd name="T66" fmla="*/ 2147483647 w 154"/>
              <a:gd name="T67" fmla="*/ 2147483647 h 120"/>
              <a:gd name="T68" fmla="*/ 2147483647 w 154"/>
              <a:gd name="T69" fmla="*/ 2147483647 h 120"/>
              <a:gd name="T70" fmla="*/ 2147483647 w 154"/>
              <a:gd name="T71" fmla="*/ 2147483647 h 120"/>
              <a:gd name="T72" fmla="*/ 2147483647 w 154"/>
              <a:gd name="T73" fmla="*/ 2147483647 h 120"/>
              <a:gd name="T74" fmla="*/ 2147483647 w 154"/>
              <a:gd name="T75" fmla="*/ 2147483647 h 120"/>
              <a:gd name="T76" fmla="*/ 2147483647 w 154"/>
              <a:gd name="T77" fmla="*/ 2147483647 h 120"/>
              <a:gd name="T78" fmla="*/ 2147483647 w 154"/>
              <a:gd name="T79" fmla="*/ 2147483647 h 120"/>
              <a:gd name="T80" fmla="*/ 2147483647 w 154"/>
              <a:gd name="T81" fmla="*/ 2147483647 h 120"/>
              <a:gd name="T82" fmla="*/ 2147483647 w 154"/>
              <a:gd name="T83" fmla="*/ 2147483647 h 120"/>
              <a:gd name="T84" fmla="*/ 2147483647 w 154"/>
              <a:gd name="T85" fmla="*/ 2147483647 h 120"/>
              <a:gd name="T86" fmla="*/ 0 w 154"/>
              <a:gd name="T87" fmla="*/ 2147483647 h 120"/>
              <a:gd name="T88" fmla="*/ 2147483647 w 154"/>
              <a:gd name="T89" fmla="*/ 2147483647 h 120"/>
              <a:gd name="T90" fmla="*/ 0 w 154"/>
              <a:gd name="T91" fmla="*/ 2147483647 h 120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54"/>
              <a:gd name="T139" fmla="*/ 0 h 120"/>
              <a:gd name="T140" fmla="*/ 154 w 154"/>
              <a:gd name="T141" fmla="*/ 120 h 120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54" h="120">
                <a:moveTo>
                  <a:pt x="0" y="20"/>
                </a:moveTo>
                <a:lnTo>
                  <a:pt x="16" y="16"/>
                </a:lnTo>
                <a:lnTo>
                  <a:pt x="32" y="10"/>
                </a:lnTo>
                <a:lnTo>
                  <a:pt x="48" y="0"/>
                </a:lnTo>
                <a:lnTo>
                  <a:pt x="66" y="0"/>
                </a:lnTo>
                <a:lnTo>
                  <a:pt x="70" y="8"/>
                </a:lnTo>
                <a:lnTo>
                  <a:pt x="88" y="8"/>
                </a:lnTo>
                <a:lnTo>
                  <a:pt x="108" y="8"/>
                </a:lnTo>
                <a:lnTo>
                  <a:pt x="134" y="6"/>
                </a:lnTo>
                <a:lnTo>
                  <a:pt x="140" y="12"/>
                </a:lnTo>
                <a:lnTo>
                  <a:pt x="144" y="16"/>
                </a:lnTo>
                <a:lnTo>
                  <a:pt x="148" y="28"/>
                </a:lnTo>
                <a:lnTo>
                  <a:pt x="152" y="32"/>
                </a:lnTo>
                <a:lnTo>
                  <a:pt x="152" y="46"/>
                </a:lnTo>
                <a:lnTo>
                  <a:pt x="144" y="46"/>
                </a:lnTo>
                <a:lnTo>
                  <a:pt x="142" y="52"/>
                </a:lnTo>
                <a:lnTo>
                  <a:pt x="148" y="56"/>
                </a:lnTo>
                <a:lnTo>
                  <a:pt x="148" y="70"/>
                </a:lnTo>
                <a:lnTo>
                  <a:pt x="150" y="76"/>
                </a:lnTo>
                <a:lnTo>
                  <a:pt x="152" y="84"/>
                </a:lnTo>
                <a:lnTo>
                  <a:pt x="154" y="88"/>
                </a:lnTo>
                <a:lnTo>
                  <a:pt x="144" y="94"/>
                </a:lnTo>
                <a:lnTo>
                  <a:pt x="136" y="102"/>
                </a:lnTo>
                <a:lnTo>
                  <a:pt x="132" y="110"/>
                </a:lnTo>
                <a:lnTo>
                  <a:pt x="130" y="120"/>
                </a:lnTo>
                <a:lnTo>
                  <a:pt x="126" y="116"/>
                </a:lnTo>
                <a:lnTo>
                  <a:pt x="116" y="112"/>
                </a:lnTo>
                <a:lnTo>
                  <a:pt x="108" y="112"/>
                </a:lnTo>
                <a:lnTo>
                  <a:pt x="98" y="116"/>
                </a:lnTo>
                <a:lnTo>
                  <a:pt x="88" y="118"/>
                </a:lnTo>
                <a:lnTo>
                  <a:pt x="84" y="110"/>
                </a:lnTo>
                <a:lnTo>
                  <a:pt x="74" y="108"/>
                </a:lnTo>
                <a:lnTo>
                  <a:pt x="66" y="102"/>
                </a:lnTo>
                <a:lnTo>
                  <a:pt x="58" y="98"/>
                </a:lnTo>
                <a:lnTo>
                  <a:pt x="52" y="94"/>
                </a:lnTo>
                <a:lnTo>
                  <a:pt x="44" y="92"/>
                </a:lnTo>
                <a:lnTo>
                  <a:pt x="42" y="96"/>
                </a:lnTo>
                <a:lnTo>
                  <a:pt x="34" y="94"/>
                </a:lnTo>
                <a:lnTo>
                  <a:pt x="32" y="86"/>
                </a:lnTo>
                <a:lnTo>
                  <a:pt x="24" y="84"/>
                </a:lnTo>
                <a:lnTo>
                  <a:pt x="12" y="78"/>
                </a:lnTo>
                <a:lnTo>
                  <a:pt x="8" y="70"/>
                </a:lnTo>
                <a:lnTo>
                  <a:pt x="8" y="46"/>
                </a:lnTo>
                <a:lnTo>
                  <a:pt x="0" y="42"/>
                </a:lnTo>
                <a:lnTo>
                  <a:pt x="4" y="30"/>
                </a:lnTo>
                <a:lnTo>
                  <a:pt x="0" y="2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80" name="Freeform 160">
            <a:extLst>
              <a:ext uri="{FF2B5EF4-FFF2-40B4-BE49-F238E27FC236}">
                <a16:creationId xmlns:a16="http://schemas.microsoft.com/office/drawing/2014/main" id="{4F2839F8-D6E9-2212-5414-C906F98CFE7F}"/>
              </a:ext>
            </a:extLst>
          </p:cNvPr>
          <p:cNvSpPr>
            <a:spLocks/>
          </p:cNvSpPr>
          <p:nvPr/>
        </p:nvSpPr>
        <p:spPr bwMode="auto">
          <a:xfrm>
            <a:off x="5734052" y="3272368"/>
            <a:ext cx="192617" cy="116417"/>
          </a:xfrm>
          <a:custGeom>
            <a:avLst/>
            <a:gdLst>
              <a:gd name="T0" fmla="*/ 0 w 100"/>
              <a:gd name="T1" fmla="*/ 2147483647 h 56"/>
              <a:gd name="T2" fmla="*/ 2147483647 w 100"/>
              <a:gd name="T3" fmla="*/ 2147483647 h 56"/>
              <a:gd name="T4" fmla="*/ 2147483647 w 100"/>
              <a:gd name="T5" fmla="*/ 2147483647 h 56"/>
              <a:gd name="T6" fmla="*/ 2147483647 w 100"/>
              <a:gd name="T7" fmla="*/ 2147483647 h 56"/>
              <a:gd name="T8" fmla="*/ 2147483647 w 100"/>
              <a:gd name="T9" fmla="*/ 2147483647 h 56"/>
              <a:gd name="T10" fmla="*/ 2147483647 w 100"/>
              <a:gd name="T11" fmla="*/ 2147483647 h 56"/>
              <a:gd name="T12" fmla="*/ 2147483647 w 100"/>
              <a:gd name="T13" fmla="*/ 2147483647 h 56"/>
              <a:gd name="T14" fmla="*/ 2147483647 w 100"/>
              <a:gd name="T15" fmla="*/ 2147483647 h 56"/>
              <a:gd name="T16" fmla="*/ 2147483647 w 100"/>
              <a:gd name="T17" fmla="*/ 2147483647 h 56"/>
              <a:gd name="T18" fmla="*/ 2147483647 w 100"/>
              <a:gd name="T19" fmla="*/ 2147483647 h 56"/>
              <a:gd name="T20" fmla="*/ 2147483647 w 100"/>
              <a:gd name="T21" fmla="*/ 0 h 56"/>
              <a:gd name="T22" fmla="*/ 2147483647 w 100"/>
              <a:gd name="T23" fmla="*/ 2147483647 h 56"/>
              <a:gd name="T24" fmla="*/ 2147483647 w 100"/>
              <a:gd name="T25" fmla="*/ 2147483647 h 56"/>
              <a:gd name="T26" fmla="*/ 2147483647 w 100"/>
              <a:gd name="T27" fmla="*/ 2147483647 h 56"/>
              <a:gd name="T28" fmla="*/ 2147483647 w 100"/>
              <a:gd name="T29" fmla="*/ 2147483647 h 56"/>
              <a:gd name="T30" fmla="*/ 2147483647 w 100"/>
              <a:gd name="T31" fmla="*/ 2147483647 h 56"/>
              <a:gd name="T32" fmla="*/ 2147483647 w 100"/>
              <a:gd name="T33" fmla="*/ 2147483647 h 56"/>
              <a:gd name="T34" fmla="*/ 2147483647 w 100"/>
              <a:gd name="T35" fmla="*/ 2147483647 h 56"/>
              <a:gd name="T36" fmla="*/ 2147483647 w 100"/>
              <a:gd name="T37" fmla="*/ 2147483647 h 56"/>
              <a:gd name="T38" fmla="*/ 2147483647 w 100"/>
              <a:gd name="T39" fmla="*/ 2147483647 h 56"/>
              <a:gd name="T40" fmla="*/ 2147483647 w 100"/>
              <a:gd name="T41" fmla="*/ 2147483647 h 56"/>
              <a:gd name="T42" fmla="*/ 2147483647 w 100"/>
              <a:gd name="T43" fmla="*/ 2147483647 h 56"/>
              <a:gd name="T44" fmla="*/ 0 w 100"/>
              <a:gd name="T45" fmla="*/ 2147483647 h 5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00"/>
              <a:gd name="T70" fmla="*/ 0 h 56"/>
              <a:gd name="T71" fmla="*/ 100 w 100"/>
              <a:gd name="T72" fmla="*/ 56 h 5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00" h="56">
                <a:moveTo>
                  <a:pt x="0" y="30"/>
                </a:moveTo>
                <a:lnTo>
                  <a:pt x="2" y="24"/>
                </a:lnTo>
                <a:lnTo>
                  <a:pt x="8" y="18"/>
                </a:lnTo>
                <a:lnTo>
                  <a:pt x="18" y="14"/>
                </a:lnTo>
                <a:lnTo>
                  <a:pt x="34" y="16"/>
                </a:lnTo>
                <a:lnTo>
                  <a:pt x="38" y="10"/>
                </a:lnTo>
                <a:lnTo>
                  <a:pt x="46" y="10"/>
                </a:lnTo>
                <a:lnTo>
                  <a:pt x="52" y="6"/>
                </a:lnTo>
                <a:lnTo>
                  <a:pt x="62" y="6"/>
                </a:lnTo>
                <a:lnTo>
                  <a:pt x="64" y="4"/>
                </a:lnTo>
                <a:lnTo>
                  <a:pt x="70" y="0"/>
                </a:lnTo>
                <a:lnTo>
                  <a:pt x="90" y="4"/>
                </a:lnTo>
                <a:lnTo>
                  <a:pt x="96" y="8"/>
                </a:lnTo>
                <a:lnTo>
                  <a:pt x="100" y="14"/>
                </a:lnTo>
                <a:lnTo>
                  <a:pt x="92" y="22"/>
                </a:lnTo>
                <a:lnTo>
                  <a:pt x="82" y="36"/>
                </a:lnTo>
                <a:lnTo>
                  <a:pt x="68" y="50"/>
                </a:lnTo>
                <a:lnTo>
                  <a:pt x="48" y="50"/>
                </a:lnTo>
                <a:lnTo>
                  <a:pt x="40" y="54"/>
                </a:lnTo>
                <a:lnTo>
                  <a:pt x="22" y="56"/>
                </a:lnTo>
                <a:lnTo>
                  <a:pt x="10" y="46"/>
                </a:lnTo>
                <a:lnTo>
                  <a:pt x="2" y="38"/>
                </a:lnTo>
                <a:lnTo>
                  <a:pt x="0" y="3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81" name="Freeform 161">
            <a:extLst>
              <a:ext uri="{FF2B5EF4-FFF2-40B4-BE49-F238E27FC236}">
                <a16:creationId xmlns:a16="http://schemas.microsoft.com/office/drawing/2014/main" id="{5D44A4DD-7522-6439-1983-154690946077}"/>
              </a:ext>
            </a:extLst>
          </p:cNvPr>
          <p:cNvSpPr>
            <a:spLocks/>
          </p:cNvSpPr>
          <p:nvPr/>
        </p:nvSpPr>
        <p:spPr bwMode="auto">
          <a:xfrm>
            <a:off x="5626101" y="3340101"/>
            <a:ext cx="107951" cy="48684"/>
          </a:xfrm>
          <a:custGeom>
            <a:avLst/>
            <a:gdLst>
              <a:gd name="T0" fmla="*/ 2147483647 w 52"/>
              <a:gd name="T1" fmla="*/ 2147483647 h 30"/>
              <a:gd name="T2" fmla="*/ 2147483647 w 52"/>
              <a:gd name="T3" fmla="*/ 2147483647 h 30"/>
              <a:gd name="T4" fmla="*/ 2147483647 w 52"/>
              <a:gd name="T5" fmla="*/ 2147483647 h 30"/>
              <a:gd name="T6" fmla="*/ 2147483647 w 52"/>
              <a:gd name="T7" fmla="*/ 2147483647 h 30"/>
              <a:gd name="T8" fmla="*/ 2147483647 w 52"/>
              <a:gd name="T9" fmla="*/ 2147483647 h 30"/>
              <a:gd name="T10" fmla="*/ 2147483647 w 52"/>
              <a:gd name="T11" fmla="*/ 2147483647 h 30"/>
              <a:gd name="T12" fmla="*/ 2147483647 w 52"/>
              <a:gd name="T13" fmla="*/ 0 h 30"/>
              <a:gd name="T14" fmla="*/ 2147483647 w 52"/>
              <a:gd name="T15" fmla="*/ 2147483647 h 30"/>
              <a:gd name="T16" fmla="*/ 2147483647 w 52"/>
              <a:gd name="T17" fmla="*/ 2147483647 h 30"/>
              <a:gd name="T18" fmla="*/ 2147483647 w 52"/>
              <a:gd name="T19" fmla="*/ 2147483647 h 30"/>
              <a:gd name="T20" fmla="*/ 2147483647 w 52"/>
              <a:gd name="T21" fmla="*/ 2147483647 h 30"/>
              <a:gd name="T22" fmla="*/ 2147483647 w 52"/>
              <a:gd name="T23" fmla="*/ 2147483647 h 30"/>
              <a:gd name="T24" fmla="*/ 0 w 52"/>
              <a:gd name="T25" fmla="*/ 2147483647 h 30"/>
              <a:gd name="T26" fmla="*/ 2147483647 w 52"/>
              <a:gd name="T27" fmla="*/ 2147483647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52"/>
              <a:gd name="T43" fmla="*/ 0 h 30"/>
              <a:gd name="T44" fmla="*/ 52 w 52"/>
              <a:gd name="T45" fmla="*/ 30 h 30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52" h="30">
                <a:moveTo>
                  <a:pt x="10" y="28"/>
                </a:moveTo>
                <a:lnTo>
                  <a:pt x="20" y="30"/>
                </a:lnTo>
                <a:lnTo>
                  <a:pt x="32" y="28"/>
                </a:lnTo>
                <a:lnTo>
                  <a:pt x="38" y="22"/>
                </a:lnTo>
                <a:lnTo>
                  <a:pt x="44" y="16"/>
                </a:lnTo>
                <a:lnTo>
                  <a:pt x="52" y="8"/>
                </a:lnTo>
                <a:lnTo>
                  <a:pt x="50" y="0"/>
                </a:lnTo>
                <a:lnTo>
                  <a:pt x="44" y="4"/>
                </a:lnTo>
                <a:lnTo>
                  <a:pt x="30" y="10"/>
                </a:lnTo>
                <a:lnTo>
                  <a:pt x="18" y="12"/>
                </a:lnTo>
                <a:lnTo>
                  <a:pt x="8" y="8"/>
                </a:lnTo>
                <a:lnTo>
                  <a:pt x="2" y="16"/>
                </a:lnTo>
                <a:lnTo>
                  <a:pt x="0" y="24"/>
                </a:lnTo>
                <a:lnTo>
                  <a:pt x="10" y="2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82" name="Freeform 162">
            <a:extLst>
              <a:ext uri="{FF2B5EF4-FFF2-40B4-BE49-F238E27FC236}">
                <a16:creationId xmlns:a16="http://schemas.microsoft.com/office/drawing/2014/main" id="{2F2564D4-D905-9D29-3A54-BE8006505832}"/>
              </a:ext>
            </a:extLst>
          </p:cNvPr>
          <p:cNvSpPr>
            <a:spLocks/>
          </p:cNvSpPr>
          <p:nvPr/>
        </p:nvSpPr>
        <p:spPr bwMode="auto">
          <a:xfrm>
            <a:off x="5636685" y="3350684"/>
            <a:ext cx="184151" cy="143933"/>
          </a:xfrm>
          <a:custGeom>
            <a:avLst/>
            <a:gdLst>
              <a:gd name="T0" fmla="*/ 2147483647 w 90"/>
              <a:gd name="T1" fmla="*/ 2147483647 h 74"/>
              <a:gd name="T2" fmla="*/ 2147483647 w 90"/>
              <a:gd name="T3" fmla="*/ 2147483647 h 74"/>
              <a:gd name="T4" fmla="*/ 2147483647 w 90"/>
              <a:gd name="T5" fmla="*/ 2147483647 h 74"/>
              <a:gd name="T6" fmla="*/ 2147483647 w 90"/>
              <a:gd name="T7" fmla="*/ 2147483647 h 74"/>
              <a:gd name="T8" fmla="*/ 2147483647 w 90"/>
              <a:gd name="T9" fmla="*/ 2147483647 h 74"/>
              <a:gd name="T10" fmla="*/ 2147483647 w 90"/>
              <a:gd name="T11" fmla="*/ 2147483647 h 74"/>
              <a:gd name="T12" fmla="*/ 2147483647 w 90"/>
              <a:gd name="T13" fmla="*/ 2147483647 h 74"/>
              <a:gd name="T14" fmla="*/ 2147483647 w 90"/>
              <a:gd name="T15" fmla="*/ 2147483647 h 74"/>
              <a:gd name="T16" fmla="*/ 2147483647 w 90"/>
              <a:gd name="T17" fmla="*/ 2147483647 h 74"/>
              <a:gd name="T18" fmla="*/ 2147483647 w 90"/>
              <a:gd name="T19" fmla="*/ 2147483647 h 74"/>
              <a:gd name="T20" fmla="*/ 2147483647 w 90"/>
              <a:gd name="T21" fmla="*/ 2147483647 h 74"/>
              <a:gd name="T22" fmla="*/ 2147483647 w 90"/>
              <a:gd name="T23" fmla="*/ 2147483647 h 74"/>
              <a:gd name="T24" fmla="*/ 2147483647 w 90"/>
              <a:gd name="T25" fmla="*/ 2147483647 h 74"/>
              <a:gd name="T26" fmla="*/ 2147483647 w 90"/>
              <a:gd name="T27" fmla="*/ 2147483647 h 74"/>
              <a:gd name="T28" fmla="*/ 2147483647 w 90"/>
              <a:gd name="T29" fmla="*/ 2147483647 h 74"/>
              <a:gd name="T30" fmla="*/ 2147483647 w 90"/>
              <a:gd name="T31" fmla="*/ 2147483647 h 74"/>
              <a:gd name="T32" fmla="*/ 2147483647 w 90"/>
              <a:gd name="T33" fmla="*/ 2147483647 h 74"/>
              <a:gd name="T34" fmla="*/ 2147483647 w 90"/>
              <a:gd name="T35" fmla="*/ 2147483647 h 74"/>
              <a:gd name="T36" fmla="*/ 2147483647 w 90"/>
              <a:gd name="T37" fmla="*/ 2147483647 h 74"/>
              <a:gd name="T38" fmla="*/ 2147483647 w 90"/>
              <a:gd name="T39" fmla="*/ 2147483647 h 74"/>
              <a:gd name="T40" fmla="*/ 2147483647 w 90"/>
              <a:gd name="T41" fmla="*/ 2147483647 h 74"/>
              <a:gd name="T42" fmla="*/ 0 w 90"/>
              <a:gd name="T43" fmla="*/ 2147483647 h 74"/>
              <a:gd name="T44" fmla="*/ 0 w 90"/>
              <a:gd name="T45" fmla="*/ 2147483647 h 74"/>
              <a:gd name="T46" fmla="*/ 2147483647 w 90"/>
              <a:gd name="T47" fmla="*/ 2147483647 h 74"/>
              <a:gd name="T48" fmla="*/ 2147483647 w 90"/>
              <a:gd name="T49" fmla="*/ 2147483647 h 74"/>
              <a:gd name="T50" fmla="*/ 2147483647 w 90"/>
              <a:gd name="T51" fmla="*/ 2147483647 h 74"/>
              <a:gd name="T52" fmla="*/ 2147483647 w 90"/>
              <a:gd name="T53" fmla="*/ 2147483647 h 74"/>
              <a:gd name="T54" fmla="*/ 2147483647 w 90"/>
              <a:gd name="T55" fmla="*/ 2147483647 h 74"/>
              <a:gd name="T56" fmla="*/ 2147483647 w 90"/>
              <a:gd name="T57" fmla="*/ 2147483647 h 74"/>
              <a:gd name="T58" fmla="*/ 2147483647 w 90"/>
              <a:gd name="T59" fmla="*/ 0 h 74"/>
              <a:gd name="T60" fmla="*/ 2147483647 w 90"/>
              <a:gd name="T61" fmla="*/ 2147483647 h 74"/>
              <a:gd name="T62" fmla="*/ 2147483647 w 90"/>
              <a:gd name="T63" fmla="*/ 2147483647 h 74"/>
              <a:gd name="T64" fmla="*/ 2147483647 w 90"/>
              <a:gd name="T65" fmla="*/ 2147483647 h 74"/>
              <a:gd name="T66" fmla="*/ 2147483647 w 90"/>
              <a:gd name="T67" fmla="*/ 2147483647 h 74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90"/>
              <a:gd name="T103" fmla="*/ 0 h 74"/>
              <a:gd name="T104" fmla="*/ 90 w 90"/>
              <a:gd name="T105" fmla="*/ 74 h 74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90" h="74">
                <a:moveTo>
                  <a:pt x="84" y="16"/>
                </a:moveTo>
                <a:lnTo>
                  <a:pt x="86" y="24"/>
                </a:lnTo>
                <a:lnTo>
                  <a:pt x="90" y="30"/>
                </a:lnTo>
                <a:lnTo>
                  <a:pt x="86" y="34"/>
                </a:lnTo>
                <a:lnTo>
                  <a:pt x="70" y="32"/>
                </a:lnTo>
                <a:lnTo>
                  <a:pt x="54" y="30"/>
                </a:lnTo>
                <a:lnTo>
                  <a:pt x="48" y="28"/>
                </a:lnTo>
                <a:lnTo>
                  <a:pt x="36" y="30"/>
                </a:lnTo>
                <a:lnTo>
                  <a:pt x="38" y="38"/>
                </a:lnTo>
                <a:lnTo>
                  <a:pt x="42" y="50"/>
                </a:lnTo>
                <a:lnTo>
                  <a:pt x="46" y="56"/>
                </a:lnTo>
                <a:lnTo>
                  <a:pt x="56" y="64"/>
                </a:lnTo>
                <a:lnTo>
                  <a:pt x="62" y="68"/>
                </a:lnTo>
                <a:lnTo>
                  <a:pt x="60" y="74"/>
                </a:lnTo>
                <a:lnTo>
                  <a:pt x="48" y="64"/>
                </a:lnTo>
                <a:lnTo>
                  <a:pt x="36" y="56"/>
                </a:lnTo>
                <a:lnTo>
                  <a:pt x="28" y="48"/>
                </a:lnTo>
                <a:lnTo>
                  <a:pt x="24" y="40"/>
                </a:lnTo>
                <a:lnTo>
                  <a:pt x="22" y="32"/>
                </a:lnTo>
                <a:lnTo>
                  <a:pt x="16" y="32"/>
                </a:lnTo>
                <a:lnTo>
                  <a:pt x="8" y="36"/>
                </a:lnTo>
                <a:lnTo>
                  <a:pt x="0" y="32"/>
                </a:lnTo>
                <a:lnTo>
                  <a:pt x="0" y="24"/>
                </a:lnTo>
                <a:lnTo>
                  <a:pt x="4" y="20"/>
                </a:lnTo>
                <a:lnTo>
                  <a:pt x="8" y="22"/>
                </a:lnTo>
                <a:lnTo>
                  <a:pt x="14" y="22"/>
                </a:lnTo>
                <a:lnTo>
                  <a:pt x="26" y="20"/>
                </a:lnTo>
                <a:lnTo>
                  <a:pt x="32" y="14"/>
                </a:lnTo>
                <a:lnTo>
                  <a:pt x="38" y="8"/>
                </a:lnTo>
                <a:lnTo>
                  <a:pt x="46" y="0"/>
                </a:lnTo>
                <a:lnTo>
                  <a:pt x="54" y="8"/>
                </a:lnTo>
                <a:lnTo>
                  <a:pt x="66" y="18"/>
                </a:lnTo>
                <a:lnTo>
                  <a:pt x="74" y="18"/>
                </a:lnTo>
                <a:lnTo>
                  <a:pt x="84" y="1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83" name="Freeform 163">
            <a:extLst>
              <a:ext uri="{FF2B5EF4-FFF2-40B4-BE49-F238E27FC236}">
                <a16:creationId xmlns:a16="http://schemas.microsoft.com/office/drawing/2014/main" id="{943E77AF-5B58-B941-A992-539D195FF2F0}"/>
              </a:ext>
            </a:extLst>
          </p:cNvPr>
          <p:cNvSpPr>
            <a:spLocks/>
          </p:cNvSpPr>
          <p:nvPr/>
        </p:nvSpPr>
        <p:spPr bwMode="auto">
          <a:xfrm>
            <a:off x="5712885" y="3399368"/>
            <a:ext cx="116417" cy="105833"/>
          </a:xfrm>
          <a:custGeom>
            <a:avLst/>
            <a:gdLst>
              <a:gd name="T0" fmla="*/ 0 w 60"/>
              <a:gd name="T1" fmla="*/ 2147483647 h 52"/>
              <a:gd name="T2" fmla="*/ 2147483647 w 60"/>
              <a:gd name="T3" fmla="*/ 0 h 52"/>
              <a:gd name="T4" fmla="*/ 2147483647 w 60"/>
              <a:gd name="T5" fmla="*/ 2147483647 h 52"/>
              <a:gd name="T6" fmla="*/ 2147483647 w 60"/>
              <a:gd name="T7" fmla="*/ 2147483647 h 52"/>
              <a:gd name="T8" fmla="*/ 2147483647 w 60"/>
              <a:gd name="T9" fmla="*/ 2147483647 h 52"/>
              <a:gd name="T10" fmla="*/ 2147483647 w 60"/>
              <a:gd name="T11" fmla="*/ 2147483647 h 52"/>
              <a:gd name="T12" fmla="*/ 2147483647 w 60"/>
              <a:gd name="T13" fmla="*/ 2147483647 h 52"/>
              <a:gd name="T14" fmla="*/ 2147483647 w 60"/>
              <a:gd name="T15" fmla="*/ 2147483647 h 52"/>
              <a:gd name="T16" fmla="*/ 2147483647 w 60"/>
              <a:gd name="T17" fmla="*/ 2147483647 h 52"/>
              <a:gd name="T18" fmla="*/ 2147483647 w 60"/>
              <a:gd name="T19" fmla="*/ 2147483647 h 52"/>
              <a:gd name="T20" fmla="*/ 2147483647 w 60"/>
              <a:gd name="T21" fmla="*/ 2147483647 h 52"/>
              <a:gd name="T22" fmla="*/ 2147483647 w 60"/>
              <a:gd name="T23" fmla="*/ 2147483647 h 52"/>
              <a:gd name="T24" fmla="*/ 2147483647 w 60"/>
              <a:gd name="T25" fmla="*/ 2147483647 h 52"/>
              <a:gd name="T26" fmla="*/ 2147483647 w 60"/>
              <a:gd name="T27" fmla="*/ 2147483647 h 52"/>
              <a:gd name="T28" fmla="*/ 2147483647 w 60"/>
              <a:gd name="T29" fmla="*/ 2147483647 h 52"/>
              <a:gd name="T30" fmla="*/ 2147483647 w 60"/>
              <a:gd name="T31" fmla="*/ 2147483647 h 52"/>
              <a:gd name="T32" fmla="*/ 2147483647 w 60"/>
              <a:gd name="T33" fmla="*/ 2147483647 h 52"/>
              <a:gd name="T34" fmla="*/ 2147483647 w 60"/>
              <a:gd name="T35" fmla="*/ 2147483647 h 52"/>
              <a:gd name="T36" fmla="*/ 0 w 60"/>
              <a:gd name="T37" fmla="*/ 2147483647 h 5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60"/>
              <a:gd name="T58" fmla="*/ 0 h 52"/>
              <a:gd name="T59" fmla="*/ 60 w 60"/>
              <a:gd name="T60" fmla="*/ 52 h 52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60" h="52">
                <a:moveTo>
                  <a:pt x="0" y="2"/>
                </a:moveTo>
                <a:lnTo>
                  <a:pt x="12" y="0"/>
                </a:lnTo>
                <a:lnTo>
                  <a:pt x="26" y="2"/>
                </a:lnTo>
                <a:lnTo>
                  <a:pt x="50" y="6"/>
                </a:lnTo>
                <a:lnTo>
                  <a:pt x="56" y="6"/>
                </a:lnTo>
                <a:lnTo>
                  <a:pt x="58" y="14"/>
                </a:lnTo>
                <a:lnTo>
                  <a:pt x="54" y="18"/>
                </a:lnTo>
                <a:lnTo>
                  <a:pt x="60" y="26"/>
                </a:lnTo>
                <a:lnTo>
                  <a:pt x="52" y="32"/>
                </a:lnTo>
                <a:lnTo>
                  <a:pt x="50" y="40"/>
                </a:lnTo>
                <a:lnTo>
                  <a:pt x="44" y="40"/>
                </a:lnTo>
                <a:lnTo>
                  <a:pt x="42" y="52"/>
                </a:lnTo>
                <a:lnTo>
                  <a:pt x="34" y="46"/>
                </a:lnTo>
                <a:lnTo>
                  <a:pt x="26" y="40"/>
                </a:lnTo>
                <a:lnTo>
                  <a:pt x="16" y="32"/>
                </a:lnTo>
                <a:lnTo>
                  <a:pt x="10" y="28"/>
                </a:lnTo>
                <a:lnTo>
                  <a:pt x="6" y="22"/>
                </a:lnTo>
                <a:lnTo>
                  <a:pt x="2" y="10"/>
                </a:lnTo>
                <a:lnTo>
                  <a:pt x="0" y="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84" name="Freeform 164">
            <a:extLst>
              <a:ext uri="{FF2B5EF4-FFF2-40B4-BE49-F238E27FC236}">
                <a16:creationId xmlns:a16="http://schemas.microsoft.com/office/drawing/2014/main" id="{35656F8B-4D28-A7F8-F270-7C25CD962E91}"/>
              </a:ext>
            </a:extLst>
          </p:cNvPr>
          <p:cNvSpPr>
            <a:spLocks/>
          </p:cNvSpPr>
          <p:nvPr/>
        </p:nvSpPr>
        <p:spPr bwMode="auto">
          <a:xfrm>
            <a:off x="5793318" y="3378200"/>
            <a:ext cx="143933" cy="146051"/>
          </a:xfrm>
          <a:custGeom>
            <a:avLst/>
            <a:gdLst>
              <a:gd name="T0" fmla="*/ 2147483647 w 70"/>
              <a:gd name="T1" fmla="*/ 2147483647 h 78"/>
              <a:gd name="T2" fmla="*/ 2147483647 w 70"/>
              <a:gd name="T3" fmla="*/ 2147483647 h 78"/>
              <a:gd name="T4" fmla="*/ 0 w 70"/>
              <a:gd name="T5" fmla="*/ 2147483647 h 78"/>
              <a:gd name="T6" fmla="*/ 2147483647 w 70"/>
              <a:gd name="T7" fmla="*/ 2147483647 h 78"/>
              <a:gd name="T8" fmla="*/ 2147483647 w 70"/>
              <a:gd name="T9" fmla="*/ 2147483647 h 78"/>
              <a:gd name="T10" fmla="*/ 2147483647 w 70"/>
              <a:gd name="T11" fmla="*/ 2147483647 h 78"/>
              <a:gd name="T12" fmla="*/ 2147483647 w 70"/>
              <a:gd name="T13" fmla="*/ 2147483647 h 78"/>
              <a:gd name="T14" fmla="*/ 2147483647 w 70"/>
              <a:gd name="T15" fmla="*/ 2147483647 h 78"/>
              <a:gd name="T16" fmla="*/ 2147483647 w 70"/>
              <a:gd name="T17" fmla="*/ 2147483647 h 78"/>
              <a:gd name="T18" fmla="*/ 2147483647 w 70"/>
              <a:gd name="T19" fmla="*/ 2147483647 h 78"/>
              <a:gd name="T20" fmla="*/ 2147483647 w 70"/>
              <a:gd name="T21" fmla="*/ 2147483647 h 78"/>
              <a:gd name="T22" fmla="*/ 2147483647 w 70"/>
              <a:gd name="T23" fmla="*/ 2147483647 h 78"/>
              <a:gd name="T24" fmla="*/ 2147483647 w 70"/>
              <a:gd name="T25" fmla="*/ 2147483647 h 78"/>
              <a:gd name="T26" fmla="*/ 2147483647 w 70"/>
              <a:gd name="T27" fmla="*/ 0 h 78"/>
              <a:gd name="T28" fmla="*/ 2147483647 w 70"/>
              <a:gd name="T29" fmla="*/ 0 h 78"/>
              <a:gd name="T30" fmla="*/ 2147483647 w 70"/>
              <a:gd name="T31" fmla="*/ 2147483647 h 78"/>
              <a:gd name="T32" fmla="*/ 2147483647 w 70"/>
              <a:gd name="T33" fmla="*/ 2147483647 h 78"/>
              <a:gd name="T34" fmla="*/ 2147483647 w 70"/>
              <a:gd name="T35" fmla="*/ 2147483647 h 78"/>
              <a:gd name="T36" fmla="*/ 2147483647 w 70"/>
              <a:gd name="T37" fmla="*/ 2147483647 h 78"/>
              <a:gd name="T38" fmla="*/ 2147483647 w 70"/>
              <a:gd name="T39" fmla="*/ 2147483647 h 78"/>
              <a:gd name="T40" fmla="*/ 2147483647 w 70"/>
              <a:gd name="T41" fmla="*/ 2147483647 h 78"/>
              <a:gd name="T42" fmla="*/ 2147483647 w 70"/>
              <a:gd name="T43" fmla="*/ 2147483647 h 78"/>
              <a:gd name="T44" fmla="*/ 2147483647 w 70"/>
              <a:gd name="T45" fmla="*/ 2147483647 h 78"/>
              <a:gd name="T46" fmla="*/ 2147483647 w 70"/>
              <a:gd name="T47" fmla="*/ 2147483647 h 78"/>
              <a:gd name="T48" fmla="*/ 2147483647 w 70"/>
              <a:gd name="T49" fmla="*/ 2147483647 h 78"/>
              <a:gd name="T50" fmla="*/ 2147483647 w 70"/>
              <a:gd name="T51" fmla="*/ 2147483647 h 78"/>
              <a:gd name="T52" fmla="*/ 2147483647 w 70"/>
              <a:gd name="T53" fmla="*/ 2147483647 h 78"/>
              <a:gd name="T54" fmla="*/ 2147483647 w 70"/>
              <a:gd name="T55" fmla="*/ 2147483647 h 78"/>
              <a:gd name="T56" fmla="*/ 2147483647 w 70"/>
              <a:gd name="T57" fmla="*/ 2147483647 h 78"/>
              <a:gd name="T58" fmla="*/ 2147483647 w 70"/>
              <a:gd name="T59" fmla="*/ 2147483647 h 78"/>
              <a:gd name="T60" fmla="*/ 2147483647 w 70"/>
              <a:gd name="T61" fmla="*/ 2147483647 h 7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70"/>
              <a:gd name="T94" fmla="*/ 0 h 78"/>
              <a:gd name="T95" fmla="*/ 70 w 70"/>
              <a:gd name="T96" fmla="*/ 78 h 78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70" h="78">
                <a:moveTo>
                  <a:pt x="14" y="78"/>
                </a:moveTo>
                <a:lnTo>
                  <a:pt x="6" y="72"/>
                </a:lnTo>
                <a:lnTo>
                  <a:pt x="0" y="68"/>
                </a:lnTo>
                <a:lnTo>
                  <a:pt x="2" y="56"/>
                </a:lnTo>
                <a:lnTo>
                  <a:pt x="8" y="56"/>
                </a:lnTo>
                <a:lnTo>
                  <a:pt x="10" y="48"/>
                </a:lnTo>
                <a:lnTo>
                  <a:pt x="18" y="42"/>
                </a:lnTo>
                <a:lnTo>
                  <a:pt x="12" y="34"/>
                </a:lnTo>
                <a:lnTo>
                  <a:pt x="16" y="30"/>
                </a:lnTo>
                <a:lnTo>
                  <a:pt x="14" y="22"/>
                </a:lnTo>
                <a:lnTo>
                  <a:pt x="8" y="22"/>
                </a:lnTo>
                <a:lnTo>
                  <a:pt x="12" y="18"/>
                </a:lnTo>
                <a:lnTo>
                  <a:pt x="6" y="4"/>
                </a:lnTo>
                <a:lnTo>
                  <a:pt x="14" y="0"/>
                </a:lnTo>
                <a:lnTo>
                  <a:pt x="34" y="0"/>
                </a:lnTo>
                <a:lnTo>
                  <a:pt x="36" y="8"/>
                </a:lnTo>
                <a:lnTo>
                  <a:pt x="42" y="16"/>
                </a:lnTo>
                <a:lnTo>
                  <a:pt x="50" y="28"/>
                </a:lnTo>
                <a:lnTo>
                  <a:pt x="66" y="30"/>
                </a:lnTo>
                <a:lnTo>
                  <a:pt x="66" y="40"/>
                </a:lnTo>
                <a:lnTo>
                  <a:pt x="60" y="44"/>
                </a:lnTo>
                <a:lnTo>
                  <a:pt x="66" y="52"/>
                </a:lnTo>
                <a:lnTo>
                  <a:pt x="70" y="58"/>
                </a:lnTo>
                <a:lnTo>
                  <a:pt x="64" y="70"/>
                </a:lnTo>
                <a:lnTo>
                  <a:pt x="54" y="72"/>
                </a:lnTo>
                <a:lnTo>
                  <a:pt x="44" y="76"/>
                </a:lnTo>
                <a:lnTo>
                  <a:pt x="36" y="76"/>
                </a:lnTo>
                <a:lnTo>
                  <a:pt x="28" y="70"/>
                </a:lnTo>
                <a:lnTo>
                  <a:pt x="20" y="68"/>
                </a:lnTo>
                <a:lnTo>
                  <a:pt x="16" y="72"/>
                </a:lnTo>
                <a:lnTo>
                  <a:pt x="14" y="7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85" name="Freeform 165">
            <a:extLst>
              <a:ext uri="{FF2B5EF4-FFF2-40B4-BE49-F238E27FC236}">
                <a16:creationId xmlns:a16="http://schemas.microsoft.com/office/drawing/2014/main" id="{2CBEB503-2877-F1CA-FB10-6DC5CC028CE1}"/>
              </a:ext>
            </a:extLst>
          </p:cNvPr>
          <p:cNvSpPr>
            <a:spLocks/>
          </p:cNvSpPr>
          <p:nvPr/>
        </p:nvSpPr>
        <p:spPr bwMode="auto">
          <a:xfrm>
            <a:off x="5858934" y="3515785"/>
            <a:ext cx="88900" cy="55033"/>
          </a:xfrm>
          <a:custGeom>
            <a:avLst/>
            <a:gdLst>
              <a:gd name="T0" fmla="*/ 2147483647 w 40"/>
              <a:gd name="T1" fmla="*/ 0 h 32"/>
              <a:gd name="T2" fmla="*/ 2147483647 w 40"/>
              <a:gd name="T3" fmla="*/ 2147483647 h 32"/>
              <a:gd name="T4" fmla="*/ 2147483647 w 40"/>
              <a:gd name="T5" fmla="*/ 2147483647 h 32"/>
              <a:gd name="T6" fmla="*/ 2147483647 w 40"/>
              <a:gd name="T7" fmla="*/ 2147483647 h 32"/>
              <a:gd name="T8" fmla="*/ 2147483647 w 40"/>
              <a:gd name="T9" fmla="*/ 2147483647 h 32"/>
              <a:gd name="T10" fmla="*/ 2147483647 w 40"/>
              <a:gd name="T11" fmla="*/ 2147483647 h 32"/>
              <a:gd name="T12" fmla="*/ 2147483647 w 40"/>
              <a:gd name="T13" fmla="*/ 2147483647 h 32"/>
              <a:gd name="T14" fmla="*/ 0 w 40"/>
              <a:gd name="T15" fmla="*/ 2147483647 h 32"/>
              <a:gd name="T16" fmla="*/ 2147483647 w 40"/>
              <a:gd name="T17" fmla="*/ 2147483647 h 32"/>
              <a:gd name="T18" fmla="*/ 2147483647 w 40"/>
              <a:gd name="T19" fmla="*/ 2147483647 h 32"/>
              <a:gd name="T20" fmla="*/ 2147483647 w 40"/>
              <a:gd name="T21" fmla="*/ 2147483647 h 32"/>
              <a:gd name="T22" fmla="*/ 2147483647 w 40"/>
              <a:gd name="T23" fmla="*/ 0 h 3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0"/>
              <a:gd name="T37" fmla="*/ 0 h 32"/>
              <a:gd name="T38" fmla="*/ 40 w 40"/>
              <a:gd name="T39" fmla="*/ 32 h 3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0" h="32">
                <a:moveTo>
                  <a:pt x="30" y="0"/>
                </a:moveTo>
                <a:lnTo>
                  <a:pt x="32" y="8"/>
                </a:lnTo>
                <a:lnTo>
                  <a:pt x="38" y="14"/>
                </a:lnTo>
                <a:lnTo>
                  <a:pt x="40" y="20"/>
                </a:lnTo>
                <a:lnTo>
                  <a:pt x="32" y="26"/>
                </a:lnTo>
                <a:lnTo>
                  <a:pt x="20" y="28"/>
                </a:lnTo>
                <a:lnTo>
                  <a:pt x="6" y="32"/>
                </a:lnTo>
                <a:lnTo>
                  <a:pt x="0" y="20"/>
                </a:lnTo>
                <a:lnTo>
                  <a:pt x="2" y="6"/>
                </a:lnTo>
                <a:lnTo>
                  <a:pt x="10" y="6"/>
                </a:lnTo>
                <a:lnTo>
                  <a:pt x="20" y="2"/>
                </a:lnTo>
                <a:lnTo>
                  <a:pt x="3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86" name="Freeform 166">
            <a:extLst>
              <a:ext uri="{FF2B5EF4-FFF2-40B4-BE49-F238E27FC236}">
                <a16:creationId xmlns:a16="http://schemas.microsoft.com/office/drawing/2014/main" id="{D58AB8D5-A160-924F-8BDE-0E10DCFD2CCE}"/>
              </a:ext>
            </a:extLst>
          </p:cNvPr>
          <p:cNvSpPr>
            <a:spLocks/>
          </p:cNvSpPr>
          <p:nvPr/>
        </p:nvSpPr>
        <p:spPr bwMode="auto">
          <a:xfrm>
            <a:off x="5615518" y="3678767"/>
            <a:ext cx="78317" cy="48684"/>
          </a:xfrm>
          <a:custGeom>
            <a:avLst/>
            <a:gdLst>
              <a:gd name="T0" fmla="*/ 2147483647 w 42"/>
              <a:gd name="T1" fmla="*/ 0 h 24"/>
              <a:gd name="T2" fmla="*/ 2147483647 w 42"/>
              <a:gd name="T3" fmla="*/ 0 h 24"/>
              <a:gd name="T4" fmla="*/ 2147483647 w 42"/>
              <a:gd name="T5" fmla="*/ 0 h 24"/>
              <a:gd name="T6" fmla="*/ 2147483647 w 42"/>
              <a:gd name="T7" fmla="*/ 0 h 24"/>
              <a:gd name="T8" fmla="*/ 2147483647 w 42"/>
              <a:gd name="T9" fmla="*/ 2147483647 h 24"/>
              <a:gd name="T10" fmla="*/ 2147483647 w 42"/>
              <a:gd name="T11" fmla="*/ 2147483647 h 24"/>
              <a:gd name="T12" fmla="*/ 2147483647 w 42"/>
              <a:gd name="T13" fmla="*/ 2147483647 h 24"/>
              <a:gd name="T14" fmla="*/ 2147483647 w 42"/>
              <a:gd name="T15" fmla="*/ 2147483647 h 24"/>
              <a:gd name="T16" fmla="*/ 2147483647 w 42"/>
              <a:gd name="T17" fmla="*/ 2147483647 h 24"/>
              <a:gd name="T18" fmla="*/ 2147483647 w 42"/>
              <a:gd name="T19" fmla="*/ 2147483647 h 24"/>
              <a:gd name="T20" fmla="*/ 2147483647 w 42"/>
              <a:gd name="T21" fmla="*/ 2147483647 h 24"/>
              <a:gd name="T22" fmla="*/ 0 w 42"/>
              <a:gd name="T23" fmla="*/ 2147483647 h 24"/>
              <a:gd name="T24" fmla="*/ 2147483647 w 42"/>
              <a:gd name="T25" fmla="*/ 0 h 2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2"/>
              <a:gd name="T40" fmla="*/ 0 h 24"/>
              <a:gd name="T41" fmla="*/ 42 w 42"/>
              <a:gd name="T42" fmla="*/ 24 h 2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2" h="24">
                <a:moveTo>
                  <a:pt x="2" y="0"/>
                </a:moveTo>
                <a:lnTo>
                  <a:pt x="16" y="0"/>
                </a:lnTo>
                <a:lnTo>
                  <a:pt x="26" y="0"/>
                </a:lnTo>
                <a:lnTo>
                  <a:pt x="42" y="0"/>
                </a:lnTo>
                <a:lnTo>
                  <a:pt x="42" y="4"/>
                </a:lnTo>
                <a:lnTo>
                  <a:pt x="36" y="10"/>
                </a:lnTo>
                <a:lnTo>
                  <a:pt x="38" y="18"/>
                </a:lnTo>
                <a:lnTo>
                  <a:pt x="34" y="24"/>
                </a:lnTo>
                <a:lnTo>
                  <a:pt x="26" y="16"/>
                </a:lnTo>
                <a:lnTo>
                  <a:pt x="16" y="16"/>
                </a:lnTo>
                <a:lnTo>
                  <a:pt x="10" y="10"/>
                </a:lnTo>
                <a:lnTo>
                  <a:pt x="0" y="8"/>
                </a:lnTo>
                <a:lnTo>
                  <a:pt x="2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87" name="Freeform 167">
            <a:extLst>
              <a:ext uri="{FF2B5EF4-FFF2-40B4-BE49-F238E27FC236}">
                <a16:creationId xmlns:a16="http://schemas.microsoft.com/office/drawing/2014/main" id="{721FB0FE-F8E5-07F9-E8A5-42D32D67270D}"/>
              </a:ext>
            </a:extLst>
          </p:cNvPr>
          <p:cNvSpPr>
            <a:spLocks/>
          </p:cNvSpPr>
          <p:nvPr/>
        </p:nvSpPr>
        <p:spPr bwMode="auto">
          <a:xfrm>
            <a:off x="5425018" y="3340100"/>
            <a:ext cx="376767" cy="338667"/>
          </a:xfrm>
          <a:custGeom>
            <a:avLst/>
            <a:gdLst>
              <a:gd name="T0" fmla="*/ 2147483647 w 187"/>
              <a:gd name="T1" fmla="*/ 2147483647 h 176"/>
              <a:gd name="T2" fmla="*/ 0 w 187"/>
              <a:gd name="T3" fmla="*/ 2147483647 h 176"/>
              <a:gd name="T4" fmla="*/ 2147483647 w 187"/>
              <a:gd name="T5" fmla="*/ 2147483647 h 176"/>
              <a:gd name="T6" fmla="*/ 2147483647 w 187"/>
              <a:gd name="T7" fmla="*/ 2147483647 h 176"/>
              <a:gd name="T8" fmla="*/ 2147483647 w 187"/>
              <a:gd name="T9" fmla="*/ 2147483647 h 176"/>
              <a:gd name="T10" fmla="*/ 2147483647 w 187"/>
              <a:gd name="T11" fmla="*/ 2147483647 h 176"/>
              <a:gd name="T12" fmla="*/ 2147483647 w 187"/>
              <a:gd name="T13" fmla="*/ 2147483647 h 176"/>
              <a:gd name="T14" fmla="*/ 2147483647 w 187"/>
              <a:gd name="T15" fmla="*/ 2147483647 h 176"/>
              <a:gd name="T16" fmla="*/ 2147483647 w 187"/>
              <a:gd name="T17" fmla="*/ 2147483647 h 176"/>
              <a:gd name="T18" fmla="*/ 2147483647 w 187"/>
              <a:gd name="T19" fmla="*/ 0 h 176"/>
              <a:gd name="T20" fmla="*/ 2147483647 w 187"/>
              <a:gd name="T21" fmla="*/ 2147483647 h 176"/>
              <a:gd name="T22" fmla="*/ 2147483647 w 187"/>
              <a:gd name="T23" fmla="*/ 2147483647 h 176"/>
              <a:gd name="T24" fmla="*/ 2147483647 w 187"/>
              <a:gd name="T25" fmla="*/ 2147483647 h 176"/>
              <a:gd name="T26" fmla="*/ 2147483647 w 187"/>
              <a:gd name="T27" fmla="*/ 2147483647 h 176"/>
              <a:gd name="T28" fmla="*/ 2147483647 w 187"/>
              <a:gd name="T29" fmla="*/ 2147483647 h 176"/>
              <a:gd name="T30" fmla="*/ 2147483647 w 187"/>
              <a:gd name="T31" fmla="*/ 2147483647 h 176"/>
              <a:gd name="T32" fmla="*/ 2147483647 w 187"/>
              <a:gd name="T33" fmla="*/ 2147483647 h 176"/>
              <a:gd name="T34" fmla="*/ 2147483647 w 187"/>
              <a:gd name="T35" fmla="*/ 2147483647 h 176"/>
              <a:gd name="T36" fmla="*/ 2147483647 w 187"/>
              <a:gd name="T37" fmla="*/ 2147483647 h 176"/>
              <a:gd name="T38" fmla="*/ 2147483647 w 187"/>
              <a:gd name="T39" fmla="*/ 2147483647 h 176"/>
              <a:gd name="T40" fmla="*/ 2147483647 w 187"/>
              <a:gd name="T41" fmla="*/ 2147483647 h 176"/>
              <a:gd name="T42" fmla="*/ 2147483647 w 187"/>
              <a:gd name="T43" fmla="*/ 2147483647 h 176"/>
              <a:gd name="T44" fmla="*/ 2147483647 w 187"/>
              <a:gd name="T45" fmla="*/ 2147483647 h 176"/>
              <a:gd name="T46" fmla="*/ 2147483647 w 187"/>
              <a:gd name="T47" fmla="*/ 2147483647 h 176"/>
              <a:gd name="T48" fmla="*/ 2147483647 w 187"/>
              <a:gd name="T49" fmla="*/ 2147483647 h 176"/>
              <a:gd name="T50" fmla="*/ 2147483647 w 187"/>
              <a:gd name="T51" fmla="*/ 2147483647 h 176"/>
              <a:gd name="T52" fmla="*/ 2147483647 w 187"/>
              <a:gd name="T53" fmla="*/ 2147483647 h 176"/>
              <a:gd name="T54" fmla="*/ 2147483647 w 187"/>
              <a:gd name="T55" fmla="*/ 2147483647 h 176"/>
              <a:gd name="T56" fmla="*/ 2147483647 w 187"/>
              <a:gd name="T57" fmla="*/ 2147483647 h 176"/>
              <a:gd name="T58" fmla="*/ 2147483647 w 187"/>
              <a:gd name="T59" fmla="*/ 2147483647 h 176"/>
              <a:gd name="T60" fmla="*/ 2147483647 w 187"/>
              <a:gd name="T61" fmla="*/ 2147483647 h 176"/>
              <a:gd name="T62" fmla="*/ 2147483647 w 187"/>
              <a:gd name="T63" fmla="*/ 2147483647 h 176"/>
              <a:gd name="T64" fmla="*/ 2147483647 w 187"/>
              <a:gd name="T65" fmla="*/ 2147483647 h 176"/>
              <a:gd name="T66" fmla="*/ 2147483647 w 187"/>
              <a:gd name="T67" fmla="*/ 2147483647 h 176"/>
              <a:gd name="T68" fmla="*/ 2147483647 w 187"/>
              <a:gd name="T69" fmla="*/ 2147483647 h 176"/>
              <a:gd name="T70" fmla="*/ 2147483647 w 187"/>
              <a:gd name="T71" fmla="*/ 2147483647 h 176"/>
              <a:gd name="T72" fmla="*/ 2147483647 w 187"/>
              <a:gd name="T73" fmla="*/ 2147483647 h 17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87"/>
              <a:gd name="T112" fmla="*/ 0 h 176"/>
              <a:gd name="T113" fmla="*/ 187 w 187"/>
              <a:gd name="T114" fmla="*/ 176 h 17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87" h="176">
                <a:moveTo>
                  <a:pt x="10" y="66"/>
                </a:moveTo>
                <a:lnTo>
                  <a:pt x="10" y="58"/>
                </a:lnTo>
                <a:lnTo>
                  <a:pt x="2" y="58"/>
                </a:lnTo>
                <a:lnTo>
                  <a:pt x="0" y="42"/>
                </a:lnTo>
                <a:lnTo>
                  <a:pt x="4" y="34"/>
                </a:lnTo>
                <a:lnTo>
                  <a:pt x="2" y="30"/>
                </a:lnTo>
                <a:lnTo>
                  <a:pt x="2" y="24"/>
                </a:lnTo>
                <a:lnTo>
                  <a:pt x="16" y="22"/>
                </a:lnTo>
                <a:lnTo>
                  <a:pt x="16" y="18"/>
                </a:lnTo>
                <a:lnTo>
                  <a:pt x="20" y="16"/>
                </a:lnTo>
                <a:lnTo>
                  <a:pt x="26" y="20"/>
                </a:lnTo>
                <a:lnTo>
                  <a:pt x="32" y="22"/>
                </a:lnTo>
                <a:lnTo>
                  <a:pt x="36" y="20"/>
                </a:lnTo>
                <a:lnTo>
                  <a:pt x="36" y="10"/>
                </a:lnTo>
                <a:lnTo>
                  <a:pt x="42" y="16"/>
                </a:lnTo>
                <a:lnTo>
                  <a:pt x="52" y="14"/>
                </a:lnTo>
                <a:lnTo>
                  <a:pt x="56" y="6"/>
                </a:lnTo>
                <a:lnTo>
                  <a:pt x="66" y="6"/>
                </a:lnTo>
                <a:lnTo>
                  <a:pt x="68" y="0"/>
                </a:lnTo>
                <a:lnTo>
                  <a:pt x="83" y="0"/>
                </a:lnTo>
                <a:lnTo>
                  <a:pt x="83" y="6"/>
                </a:lnTo>
                <a:lnTo>
                  <a:pt x="93" y="10"/>
                </a:lnTo>
                <a:lnTo>
                  <a:pt x="109" y="8"/>
                </a:lnTo>
                <a:lnTo>
                  <a:pt x="103" y="16"/>
                </a:lnTo>
                <a:lnTo>
                  <a:pt x="101" y="24"/>
                </a:lnTo>
                <a:lnTo>
                  <a:pt x="95" y="26"/>
                </a:lnTo>
                <a:lnTo>
                  <a:pt x="83" y="32"/>
                </a:lnTo>
                <a:lnTo>
                  <a:pt x="83" y="42"/>
                </a:lnTo>
                <a:lnTo>
                  <a:pt x="83" y="52"/>
                </a:lnTo>
                <a:lnTo>
                  <a:pt x="91" y="60"/>
                </a:lnTo>
                <a:lnTo>
                  <a:pt x="101" y="66"/>
                </a:lnTo>
                <a:lnTo>
                  <a:pt x="111" y="72"/>
                </a:lnTo>
                <a:lnTo>
                  <a:pt x="113" y="84"/>
                </a:lnTo>
                <a:lnTo>
                  <a:pt x="119" y="94"/>
                </a:lnTo>
                <a:lnTo>
                  <a:pt x="129" y="102"/>
                </a:lnTo>
                <a:lnTo>
                  <a:pt x="145" y="102"/>
                </a:lnTo>
                <a:lnTo>
                  <a:pt x="149" y="106"/>
                </a:lnTo>
                <a:lnTo>
                  <a:pt x="145" y="108"/>
                </a:lnTo>
                <a:lnTo>
                  <a:pt x="151" y="114"/>
                </a:lnTo>
                <a:lnTo>
                  <a:pt x="161" y="118"/>
                </a:lnTo>
                <a:lnTo>
                  <a:pt x="175" y="124"/>
                </a:lnTo>
                <a:lnTo>
                  <a:pt x="183" y="132"/>
                </a:lnTo>
                <a:lnTo>
                  <a:pt x="187" y="138"/>
                </a:lnTo>
                <a:lnTo>
                  <a:pt x="181" y="142"/>
                </a:lnTo>
                <a:lnTo>
                  <a:pt x="175" y="136"/>
                </a:lnTo>
                <a:lnTo>
                  <a:pt x="167" y="130"/>
                </a:lnTo>
                <a:lnTo>
                  <a:pt x="159" y="132"/>
                </a:lnTo>
                <a:lnTo>
                  <a:pt x="155" y="140"/>
                </a:lnTo>
                <a:lnTo>
                  <a:pt x="161" y="148"/>
                </a:lnTo>
                <a:lnTo>
                  <a:pt x="165" y="152"/>
                </a:lnTo>
                <a:lnTo>
                  <a:pt x="167" y="156"/>
                </a:lnTo>
                <a:lnTo>
                  <a:pt x="159" y="158"/>
                </a:lnTo>
                <a:lnTo>
                  <a:pt x="157" y="164"/>
                </a:lnTo>
                <a:lnTo>
                  <a:pt x="151" y="172"/>
                </a:lnTo>
                <a:lnTo>
                  <a:pt x="145" y="176"/>
                </a:lnTo>
                <a:lnTo>
                  <a:pt x="141" y="170"/>
                </a:lnTo>
                <a:lnTo>
                  <a:pt x="143" y="162"/>
                </a:lnTo>
                <a:lnTo>
                  <a:pt x="147" y="148"/>
                </a:lnTo>
                <a:lnTo>
                  <a:pt x="143" y="136"/>
                </a:lnTo>
                <a:lnTo>
                  <a:pt x="131" y="132"/>
                </a:lnTo>
                <a:lnTo>
                  <a:pt x="129" y="126"/>
                </a:lnTo>
                <a:lnTo>
                  <a:pt x="119" y="126"/>
                </a:lnTo>
                <a:lnTo>
                  <a:pt x="109" y="112"/>
                </a:lnTo>
                <a:lnTo>
                  <a:pt x="95" y="112"/>
                </a:lnTo>
                <a:lnTo>
                  <a:pt x="83" y="96"/>
                </a:lnTo>
                <a:lnTo>
                  <a:pt x="75" y="92"/>
                </a:lnTo>
                <a:lnTo>
                  <a:pt x="56" y="84"/>
                </a:lnTo>
                <a:lnTo>
                  <a:pt x="54" y="68"/>
                </a:lnTo>
                <a:lnTo>
                  <a:pt x="52" y="60"/>
                </a:lnTo>
                <a:lnTo>
                  <a:pt x="40" y="56"/>
                </a:lnTo>
                <a:lnTo>
                  <a:pt x="26" y="52"/>
                </a:lnTo>
                <a:lnTo>
                  <a:pt x="20" y="58"/>
                </a:lnTo>
                <a:lnTo>
                  <a:pt x="18" y="64"/>
                </a:lnTo>
                <a:lnTo>
                  <a:pt x="10" y="6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88" name="Freeform 168">
            <a:extLst>
              <a:ext uri="{FF2B5EF4-FFF2-40B4-BE49-F238E27FC236}">
                <a16:creationId xmlns:a16="http://schemas.microsoft.com/office/drawing/2014/main" id="{7FDC65E0-598B-B172-8B2C-49ED55E82785}"/>
              </a:ext>
            </a:extLst>
          </p:cNvPr>
          <p:cNvSpPr>
            <a:spLocks/>
          </p:cNvSpPr>
          <p:nvPr/>
        </p:nvSpPr>
        <p:spPr bwMode="auto">
          <a:xfrm>
            <a:off x="6062134" y="3280834"/>
            <a:ext cx="105833" cy="118533"/>
          </a:xfrm>
          <a:custGeom>
            <a:avLst/>
            <a:gdLst>
              <a:gd name="T0" fmla="*/ 2147483647 w 52"/>
              <a:gd name="T1" fmla="*/ 2147483647 h 60"/>
              <a:gd name="T2" fmla="*/ 2147483647 w 52"/>
              <a:gd name="T3" fmla="*/ 2147483647 h 60"/>
              <a:gd name="T4" fmla="*/ 2147483647 w 52"/>
              <a:gd name="T5" fmla="*/ 2147483647 h 60"/>
              <a:gd name="T6" fmla="*/ 2147483647 w 52"/>
              <a:gd name="T7" fmla="*/ 2147483647 h 60"/>
              <a:gd name="T8" fmla="*/ 2147483647 w 52"/>
              <a:gd name="T9" fmla="*/ 2147483647 h 60"/>
              <a:gd name="T10" fmla="*/ 2147483647 w 52"/>
              <a:gd name="T11" fmla="*/ 2147483647 h 60"/>
              <a:gd name="T12" fmla="*/ 2147483647 w 52"/>
              <a:gd name="T13" fmla="*/ 2147483647 h 60"/>
              <a:gd name="T14" fmla="*/ 0 w 52"/>
              <a:gd name="T15" fmla="*/ 2147483647 h 60"/>
              <a:gd name="T16" fmla="*/ 2147483647 w 52"/>
              <a:gd name="T17" fmla="*/ 0 h 60"/>
              <a:gd name="T18" fmla="*/ 2147483647 w 52"/>
              <a:gd name="T19" fmla="*/ 2147483647 h 60"/>
              <a:gd name="T20" fmla="*/ 2147483647 w 52"/>
              <a:gd name="T21" fmla="*/ 2147483647 h 60"/>
              <a:gd name="T22" fmla="*/ 2147483647 w 52"/>
              <a:gd name="T23" fmla="*/ 2147483647 h 60"/>
              <a:gd name="T24" fmla="*/ 2147483647 w 52"/>
              <a:gd name="T25" fmla="*/ 2147483647 h 60"/>
              <a:gd name="T26" fmla="*/ 2147483647 w 52"/>
              <a:gd name="T27" fmla="*/ 2147483647 h 60"/>
              <a:gd name="T28" fmla="*/ 2147483647 w 52"/>
              <a:gd name="T29" fmla="*/ 2147483647 h 60"/>
              <a:gd name="T30" fmla="*/ 2147483647 w 52"/>
              <a:gd name="T31" fmla="*/ 2147483647 h 60"/>
              <a:gd name="T32" fmla="*/ 2147483647 w 52"/>
              <a:gd name="T33" fmla="*/ 2147483647 h 60"/>
              <a:gd name="T34" fmla="*/ 2147483647 w 52"/>
              <a:gd name="T35" fmla="*/ 2147483647 h 60"/>
              <a:gd name="T36" fmla="*/ 2147483647 w 52"/>
              <a:gd name="T37" fmla="*/ 2147483647 h 60"/>
              <a:gd name="T38" fmla="*/ 2147483647 w 52"/>
              <a:gd name="T39" fmla="*/ 2147483647 h 60"/>
              <a:gd name="T40" fmla="*/ 2147483647 w 52"/>
              <a:gd name="T41" fmla="*/ 2147483647 h 60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52"/>
              <a:gd name="T64" fmla="*/ 0 h 60"/>
              <a:gd name="T65" fmla="*/ 52 w 52"/>
              <a:gd name="T66" fmla="*/ 60 h 60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52" h="60">
                <a:moveTo>
                  <a:pt x="20" y="60"/>
                </a:moveTo>
                <a:lnTo>
                  <a:pt x="16" y="48"/>
                </a:lnTo>
                <a:lnTo>
                  <a:pt x="20" y="36"/>
                </a:lnTo>
                <a:lnTo>
                  <a:pt x="18" y="32"/>
                </a:lnTo>
                <a:lnTo>
                  <a:pt x="14" y="26"/>
                </a:lnTo>
                <a:lnTo>
                  <a:pt x="4" y="18"/>
                </a:lnTo>
                <a:lnTo>
                  <a:pt x="2" y="10"/>
                </a:lnTo>
                <a:lnTo>
                  <a:pt x="0" y="4"/>
                </a:lnTo>
                <a:lnTo>
                  <a:pt x="4" y="0"/>
                </a:lnTo>
                <a:lnTo>
                  <a:pt x="18" y="2"/>
                </a:lnTo>
                <a:lnTo>
                  <a:pt x="30" y="6"/>
                </a:lnTo>
                <a:lnTo>
                  <a:pt x="34" y="14"/>
                </a:lnTo>
                <a:lnTo>
                  <a:pt x="38" y="22"/>
                </a:lnTo>
                <a:lnTo>
                  <a:pt x="48" y="28"/>
                </a:lnTo>
                <a:lnTo>
                  <a:pt x="52" y="36"/>
                </a:lnTo>
                <a:lnTo>
                  <a:pt x="48" y="42"/>
                </a:lnTo>
                <a:lnTo>
                  <a:pt x="40" y="42"/>
                </a:lnTo>
                <a:lnTo>
                  <a:pt x="30" y="40"/>
                </a:lnTo>
                <a:lnTo>
                  <a:pt x="30" y="48"/>
                </a:lnTo>
                <a:lnTo>
                  <a:pt x="24" y="56"/>
                </a:lnTo>
                <a:lnTo>
                  <a:pt x="20" y="6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89" name="Freeform 169">
            <a:extLst>
              <a:ext uri="{FF2B5EF4-FFF2-40B4-BE49-F238E27FC236}">
                <a16:creationId xmlns:a16="http://schemas.microsoft.com/office/drawing/2014/main" id="{E495D840-212D-A068-C407-C40BDD2E6BA7}"/>
              </a:ext>
            </a:extLst>
          </p:cNvPr>
          <p:cNvSpPr>
            <a:spLocks/>
          </p:cNvSpPr>
          <p:nvPr/>
        </p:nvSpPr>
        <p:spPr bwMode="auto">
          <a:xfrm>
            <a:off x="5907618" y="3128434"/>
            <a:ext cx="560917" cy="309033"/>
          </a:xfrm>
          <a:custGeom>
            <a:avLst/>
            <a:gdLst>
              <a:gd name="T0" fmla="*/ 2147483647 w 286"/>
              <a:gd name="T1" fmla="*/ 2147483647 h 160"/>
              <a:gd name="T2" fmla="*/ 2147483647 w 286"/>
              <a:gd name="T3" fmla="*/ 0 h 160"/>
              <a:gd name="T4" fmla="*/ 2147483647 w 286"/>
              <a:gd name="T5" fmla="*/ 0 h 160"/>
              <a:gd name="T6" fmla="*/ 2147483647 w 286"/>
              <a:gd name="T7" fmla="*/ 2147483647 h 160"/>
              <a:gd name="T8" fmla="*/ 2147483647 w 286"/>
              <a:gd name="T9" fmla="*/ 2147483647 h 160"/>
              <a:gd name="T10" fmla="*/ 2147483647 w 286"/>
              <a:gd name="T11" fmla="*/ 2147483647 h 160"/>
              <a:gd name="T12" fmla="*/ 2147483647 w 286"/>
              <a:gd name="T13" fmla="*/ 2147483647 h 160"/>
              <a:gd name="T14" fmla="*/ 2147483647 w 286"/>
              <a:gd name="T15" fmla="*/ 2147483647 h 160"/>
              <a:gd name="T16" fmla="*/ 2147483647 w 286"/>
              <a:gd name="T17" fmla="*/ 2147483647 h 160"/>
              <a:gd name="T18" fmla="*/ 2147483647 w 286"/>
              <a:gd name="T19" fmla="*/ 2147483647 h 160"/>
              <a:gd name="T20" fmla="*/ 2147483647 w 286"/>
              <a:gd name="T21" fmla="*/ 2147483647 h 160"/>
              <a:gd name="T22" fmla="*/ 2147483647 w 286"/>
              <a:gd name="T23" fmla="*/ 2147483647 h 160"/>
              <a:gd name="T24" fmla="*/ 2147483647 w 286"/>
              <a:gd name="T25" fmla="*/ 2147483647 h 160"/>
              <a:gd name="T26" fmla="*/ 2147483647 w 286"/>
              <a:gd name="T27" fmla="*/ 2147483647 h 160"/>
              <a:gd name="T28" fmla="*/ 2147483647 w 286"/>
              <a:gd name="T29" fmla="*/ 2147483647 h 160"/>
              <a:gd name="T30" fmla="*/ 2147483647 w 286"/>
              <a:gd name="T31" fmla="*/ 2147483647 h 160"/>
              <a:gd name="T32" fmla="*/ 2147483647 w 286"/>
              <a:gd name="T33" fmla="*/ 2147483647 h 160"/>
              <a:gd name="T34" fmla="*/ 2147483647 w 286"/>
              <a:gd name="T35" fmla="*/ 2147483647 h 160"/>
              <a:gd name="T36" fmla="*/ 2147483647 w 286"/>
              <a:gd name="T37" fmla="*/ 2147483647 h 160"/>
              <a:gd name="T38" fmla="*/ 2147483647 w 286"/>
              <a:gd name="T39" fmla="*/ 2147483647 h 160"/>
              <a:gd name="T40" fmla="*/ 2147483647 w 286"/>
              <a:gd name="T41" fmla="*/ 2147483647 h 160"/>
              <a:gd name="T42" fmla="*/ 2147483647 w 286"/>
              <a:gd name="T43" fmla="*/ 2147483647 h 160"/>
              <a:gd name="T44" fmla="*/ 2147483647 w 286"/>
              <a:gd name="T45" fmla="*/ 2147483647 h 160"/>
              <a:gd name="T46" fmla="*/ 2147483647 w 286"/>
              <a:gd name="T47" fmla="*/ 2147483647 h 160"/>
              <a:gd name="T48" fmla="*/ 2147483647 w 286"/>
              <a:gd name="T49" fmla="*/ 2147483647 h 160"/>
              <a:gd name="T50" fmla="*/ 2147483647 w 286"/>
              <a:gd name="T51" fmla="*/ 2147483647 h 160"/>
              <a:gd name="T52" fmla="*/ 2147483647 w 286"/>
              <a:gd name="T53" fmla="*/ 2147483647 h 160"/>
              <a:gd name="T54" fmla="*/ 2147483647 w 286"/>
              <a:gd name="T55" fmla="*/ 2147483647 h 160"/>
              <a:gd name="T56" fmla="*/ 2147483647 w 286"/>
              <a:gd name="T57" fmla="*/ 2147483647 h 160"/>
              <a:gd name="T58" fmla="*/ 2147483647 w 286"/>
              <a:gd name="T59" fmla="*/ 2147483647 h 160"/>
              <a:gd name="T60" fmla="*/ 2147483647 w 286"/>
              <a:gd name="T61" fmla="*/ 2147483647 h 160"/>
              <a:gd name="T62" fmla="*/ 2147483647 w 286"/>
              <a:gd name="T63" fmla="*/ 2147483647 h 160"/>
              <a:gd name="T64" fmla="*/ 2147483647 w 286"/>
              <a:gd name="T65" fmla="*/ 2147483647 h 160"/>
              <a:gd name="T66" fmla="*/ 2147483647 w 286"/>
              <a:gd name="T67" fmla="*/ 2147483647 h 160"/>
              <a:gd name="T68" fmla="*/ 2147483647 w 286"/>
              <a:gd name="T69" fmla="*/ 2147483647 h 160"/>
              <a:gd name="T70" fmla="*/ 0 w 286"/>
              <a:gd name="T71" fmla="*/ 2147483647 h 160"/>
              <a:gd name="T72" fmla="*/ 2147483647 w 286"/>
              <a:gd name="T73" fmla="*/ 2147483647 h 160"/>
              <a:gd name="T74" fmla="*/ 2147483647 w 286"/>
              <a:gd name="T75" fmla="*/ 2147483647 h 160"/>
              <a:gd name="T76" fmla="*/ 2147483647 w 286"/>
              <a:gd name="T77" fmla="*/ 2147483647 h 160"/>
              <a:gd name="T78" fmla="*/ 2147483647 w 286"/>
              <a:gd name="T79" fmla="*/ 2147483647 h 160"/>
              <a:gd name="T80" fmla="*/ 2147483647 w 286"/>
              <a:gd name="T81" fmla="*/ 2147483647 h 160"/>
              <a:gd name="T82" fmla="*/ 2147483647 w 286"/>
              <a:gd name="T83" fmla="*/ 2147483647 h 160"/>
              <a:gd name="T84" fmla="*/ 2147483647 w 286"/>
              <a:gd name="T85" fmla="*/ 2147483647 h 16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86"/>
              <a:gd name="T130" fmla="*/ 0 h 160"/>
              <a:gd name="T131" fmla="*/ 286 w 286"/>
              <a:gd name="T132" fmla="*/ 160 h 16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86" h="160">
                <a:moveTo>
                  <a:pt x="150" y="2"/>
                </a:moveTo>
                <a:lnTo>
                  <a:pt x="158" y="6"/>
                </a:lnTo>
                <a:lnTo>
                  <a:pt x="164" y="4"/>
                </a:lnTo>
                <a:lnTo>
                  <a:pt x="168" y="0"/>
                </a:lnTo>
                <a:lnTo>
                  <a:pt x="176" y="0"/>
                </a:lnTo>
                <a:lnTo>
                  <a:pt x="192" y="0"/>
                </a:lnTo>
                <a:lnTo>
                  <a:pt x="196" y="10"/>
                </a:lnTo>
                <a:lnTo>
                  <a:pt x="194" y="22"/>
                </a:lnTo>
                <a:lnTo>
                  <a:pt x="212" y="26"/>
                </a:lnTo>
                <a:lnTo>
                  <a:pt x="216" y="40"/>
                </a:lnTo>
                <a:lnTo>
                  <a:pt x="248" y="42"/>
                </a:lnTo>
                <a:lnTo>
                  <a:pt x="250" y="48"/>
                </a:lnTo>
                <a:lnTo>
                  <a:pt x="270" y="48"/>
                </a:lnTo>
                <a:lnTo>
                  <a:pt x="286" y="58"/>
                </a:lnTo>
                <a:lnTo>
                  <a:pt x="286" y="78"/>
                </a:lnTo>
                <a:lnTo>
                  <a:pt x="284" y="90"/>
                </a:lnTo>
                <a:lnTo>
                  <a:pt x="268" y="94"/>
                </a:lnTo>
                <a:lnTo>
                  <a:pt x="258" y="98"/>
                </a:lnTo>
                <a:lnTo>
                  <a:pt x="256" y="106"/>
                </a:lnTo>
                <a:lnTo>
                  <a:pt x="242" y="112"/>
                </a:lnTo>
                <a:lnTo>
                  <a:pt x="224" y="116"/>
                </a:lnTo>
                <a:lnTo>
                  <a:pt x="208" y="124"/>
                </a:lnTo>
                <a:lnTo>
                  <a:pt x="192" y="128"/>
                </a:lnTo>
                <a:lnTo>
                  <a:pt x="190" y="132"/>
                </a:lnTo>
                <a:lnTo>
                  <a:pt x="200" y="134"/>
                </a:lnTo>
                <a:lnTo>
                  <a:pt x="206" y="140"/>
                </a:lnTo>
                <a:lnTo>
                  <a:pt x="210" y="142"/>
                </a:lnTo>
                <a:lnTo>
                  <a:pt x="216" y="144"/>
                </a:lnTo>
                <a:lnTo>
                  <a:pt x="232" y="142"/>
                </a:lnTo>
                <a:lnTo>
                  <a:pt x="238" y="144"/>
                </a:lnTo>
                <a:lnTo>
                  <a:pt x="240" y="150"/>
                </a:lnTo>
                <a:lnTo>
                  <a:pt x="234" y="150"/>
                </a:lnTo>
                <a:lnTo>
                  <a:pt x="220" y="150"/>
                </a:lnTo>
                <a:lnTo>
                  <a:pt x="210" y="150"/>
                </a:lnTo>
                <a:lnTo>
                  <a:pt x="202" y="154"/>
                </a:lnTo>
                <a:lnTo>
                  <a:pt x="194" y="160"/>
                </a:lnTo>
                <a:lnTo>
                  <a:pt x="184" y="160"/>
                </a:lnTo>
                <a:lnTo>
                  <a:pt x="184" y="152"/>
                </a:lnTo>
                <a:lnTo>
                  <a:pt x="180" y="146"/>
                </a:lnTo>
                <a:lnTo>
                  <a:pt x="170" y="140"/>
                </a:lnTo>
                <a:lnTo>
                  <a:pt x="176" y="136"/>
                </a:lnTo>
                <a:lnTo>
                  <a:pt x="184" y="132"/>
                </a:lnTo>
                <a:lnTo>
                  <a:pt x="184" y="128"/>
                </a:lnTo>
                <a:lnTo>
                  <a:pt x="162" y="128"/>
                </a:lnTo>
                <a:lnTo>
                  <a:pt x="158" y="116"/>
                </a:lnTo>
                <a:lnTo>
                  <a:pt x="146" y="116"/>
                </a:lnTo>
                <a:lnTo>
                  <a:pt x="138" y="118"/>
                </a:lnTo>
                <a:lnTo>
                  <a:pt x="138" y="126"/>
                </a:lnTo>
                <a:lnTo>
                  <a:pt x="126" y="134"/>
                </a:lnTo>
                <a:lnTo>
                  <a:pt x="120" y="146"/>
                </a:lnTo>
                <a:lnTo>
                  <a:pt x="114" y="140"/>
                </a:lnTo>
                <a:lnTo>
                  <a:pt x="110" y="144"/>
                </a:lnTo>
                <a:lnTo>
                  <a:pt x="100" y="142"/>
                </a:lnTo>
                <a:lnTo>
                  <a:pt x="100" y="140"/>
                </a:lnTo>
                <a:lnTo>
                  <a:pt x="110" y="128"/>
                </a:lnTo>
                <a:lnTo>
                  <a:pt x="110" y="120"/>
                </a:lnTo>
                <a:lnTo>
                  <a:pt x="128" y="122"/>
                </a:lnTo>
                <a:lnTo>
                  <a:pt x="132" y="116"/>
                </a:lnTo>
                <a:lnTo>
                  <a:pt x="128" y="108"/>
                </a:lnTo>
                <a:lnTo>
                  <a:pt x="118" y="102"/>
                </a:lnTo>
                <a:lnTo>
                  <a:pt x="110" y="86"/>
                </a:lnTo>
                <a:lnTo>
                  <a:pt x="98" y="82"/>
                </a:lnTo>
                <a:lnTo>
                  <a:pt x="88" y="80"/>
                </a:lnTo>
                <a:lnTo>
                  <a:pt x="84" y="80"/>
                </a:lnTo>
                <a:lnTo>
                  <a:pt x="80" y="84"/>
                </a:lnTo>
                <a:lnTo>
                  <a:pt x="68" y="84"/>
                </a:lnTo>
                <a:lnTo>
                  <a:pt x="64" y="92"/>
                </a:lnTo>
                <a:lnTo>
                  <a:pt x="44" y="92"/>
                </a:lnTo>
                <a:lnTo>
                  <a:pt x="32" y="86"/>
                </a:lnTo>
                <a:lnTo>
                  <a:pt x="10" y="94"/>
                </a:lnTo>
                <a:lnTo>
                  <a:pt x="6" y="86"/>
                </a:lnTo>
                <a:lnTo>
                  <a:pt x="0" y="82"/>
                </a:lnTo>
                <a:lnTo>
                  <a:pt x="4" y="76"/>
                </a:lnTo>
                <a:lnTo>
                  <a:pt x="8" y="66"/>
                </a:lnTo>
                <a:lnTo>
                  <a:pt x="10" y="58"/>
                </a:lnTo>
                <a:lnTo>
                  <a:pt x="18" y="46"/>
                </a:lnTo>
                <a:lnTo>
                  <a:pt x="22" y="42"/>
                </a:lnTo>
                <a:lnTo>
                  <a:pt x="32" y="36"/>
                </a:lnTo>
                <a:lnTo>
                  <a:pt x="28" y="24"/>
                </a:lnTo>
                <a:lnTo>
                  <a:pt x="28" y="16"/>
                </a:lnTo>
                <a:lnTo>
                  <a:pt x="36" y="4"/>
                </a:lnTo>
                <a:lnTo>
                  <a:pt x="84" y="14"/>
                </a:lnTo>
                <a:lnTo>
                  <a:pt x="112" y="14"/>
                </a:lnTo>
                <a:lnTo>
                  <a:pt x="114" y="20"/>
                </a:lnTo>
                <a:lnTo>
                  <a:pt x="134" y="22"/>
                </a:lnTo>
                <a:lnTo>
                  <a:pt x="138" y="4"/>
                </a:lnTo>
                <a:lnTo>
                  <a:pt x="150" y="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90" name="Freeform 170">
            <a:extLst>
              <a:ext uri="{FF2B5EF4-FFF2-40B4-BE49-F238E27FC236}">
                <a16:creationId xmlns:a16="http://schemas.microsoft.com/office/drawing/2014/main" id="{FEE674BD-892A-C45D-108D-E4FE7646BFBA}"/>
              </a:ext>
            </a:extLst>
          </p:cNvPr>
          <p:cNvSpPr>
            <a:spLocks/>
          </p:cNvSpPr>
          <p:nvPr/>
        </p:nvSpPr>
        <p:spPr bwMode="auto">
          <a:xfrm>
            <a:off x="5858933" y="3280833"/>
            <a:ext cx="279400" cy="186267"/>
          </a:xfrm>
          <a:custGeom>
            <a:avLst/>
            <a:gdLst>
              <a:gd name="T0" fmla="*/ 2147483647 w 142"/>
              <a:gd name="T1" fmla="*/ 2147483647 h 90"/>
              <a:gd name="T2" fmla="*/ 2147483647 w 142"/>
              <a:gd name="T3" fmla="*/ 2147483647 h 90"/>
              <a:gd name="T4" fmla="*/ 2147483647 w 142"/>
              <a:gd name="T5" fmla="*/ 2147483647 h 90"/>
              <a:gd name="T6" fmla="*/ 2147483647 w 142"/>
              <a:gd name="T7" fmla="*/ 2147483647 h 90"/>
              <a:gd name="T8" fmla="*/ 2147483647 w 142"/>
              <a:gd name="T9" fmla="*/ 2147483647 h 90"/>
              <a:gd name="T10" fmla="*/ 2147483647 w 142"/>
              <a:gd name="T11" fmla="*/ 0 h 90"/>
              <a:gd name="T12" fmla="*/ 2147483647 w 142"/>
              <a:gd name="T13" fmla="*/ 0 h 90"/>
              <a:gd name="T14" fmla="*/ 2147483647 w 142"/>
              <a:gd name="T15" fmla="*/ 2147483647 h 90"/>
              <a:gd name="T16" fmla="*/ 2147483647 w 142"/>
              <a:gd name="T17" fmla="*/ 2147483647 h 90"/>
              <a:gd name="T18" fmla="*/ 2147483647 w 142"/>
              <a:gd name="T19" fmla="*/ 2147483647 h 90"/>
              <a:gd name="T20" fmla="*/ 2147483647 w 142"/>
              <a:gd name="T21" fmla="*/ 2147483647 h 90"/>
              <a:gd name="T22" fmla="*/ 2147483647 w 142"/>
              <a:gd name="T23" fmla="*/ 2147483647 h 90"/>
              <a:gd name="T24" fmla="*/ 2147483647 w 142"/>
              <a:gd name="T25" fmla="*/ 2147483647 h 90"/>
              <a:gd name="T26" fmla="*/ 2147483647 w 142"/>
              <a:gd name="T27" fmla="*/ 2147483647 h 90"/>
              <a:gd name="T28" fmla="*/ 2147483647 w 142"/>
              <a:gd name="T29" fmla="*/ 2147483647 h 90"/>
              <a:gd name="T30" fmla="*/ 2147483647 w 142"/>
              <a:gd name="T31" fmla="*/ 2147483647 h 90"/>
              <a:gd name="T32" fmla="*/ 2147483647 w 142"/>
              <a:gd name="T33" fmla="*/ 2147483647 h 90"/>
              <a:gd name="T34" fmla="*/ 2147483647 w 142"/>
              <a:gd name="T35" fmla="*/ 2147483647 h 90"/>
              <a:gd name="T36" fmla="*/ 2147483647 w 142"/>
              <a:gd name="T37" fmla="*/ 2147483647 h 90"/>
              <a:gd name="T38" fmla="*/ 2147483647 w 142"/>
              <a:gd name="T39" fmla="*/ 2147483647 h 90"/>
              <a:gd name="T40" fmla="*/ 2147483647 w 142"/>
              <a:gd name="T41" fmla="*/ 2147483647 h 90"/>
              <a:gd name="T42" fmla="*/ 2147483647 w 142"/>
              <a:gd name="T43" fmla="*/ 2147483647 h 90"/>
              <a:gd name="T44" fmla="*/ 2147483647 w 142"/>
              <a:gd name="T45" fmla="*/ 2147483647 h 90"/>
              <a:gd name="T46" fmla="*/ 2147483647 w 142"/>
              <a:gd name="T47" fmla="*/ 2147483647 h 90"/>
              <a:gd name="T48" fmla="*/ 2147483647 w 142"/>
              <a:gd name="T49" fmla="*/ 2147483647 h 90"/>
              <a:gd name="T50" fmla="*/ 2147483647 w 142"/>
              <a:gd name="T51" fmla="*/ 2147483647 h 90"/>
              <a:gd name="T52" fmla="*/ 2147483647 w 142"/>
              <a:gd name="T53" fmla="*/ 2147483647 h 90"/>
              <a:gd name="T54" fmla="*/ 2147483647 w 142"/>
              <a:gd name="T55" fmla="*/ 2147483647 h 90"/>
              <a:gd name="T56" fmla="*/ 2147483647 w 142"/>
              <a:gd name="T57" fmla="*/ 2147483647 h 90"/>
              <a:gd name="T58" fmla="*/ 2147483647 w 142"/>
              <a:gd name="T59" fmla="*/ 2147483647 h 90"/>
              <a:gd name="T60" fmla="*/ 2147483647 w 142"/>
              <a:gd name="T61" fmla="*/ 2147483647 h 90"/>
              <a:gd name="T62" fmla="*/ 2147483647 w 142"/>
              <a:gd name="T63" fmla="*/ 2147483647 h 90"/>
              <a:gd name="T64" fmla="*/ 0 w 142"/>
              <a:gd name="T65" fmla="*/ 2147483647 h 90"/>
              <a:gd name="T66" fmla="*/ 2147483647 w 142"/>
              <a:gd name="T67" fmla="*/ 2147483647 h 90"/>
              <a:gd name="T68" fmla="*/ 2147483647 w 142"/>
              <a:gd name="T69" fmla="*/ 2147483647 h 90"/>
              <a:gd name="T70" fmla="*/ 2147483647 w 142"/>
              <a:gd name="T71" fmla="*/ 2147483647 h 90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42"/>
              <a:gd name="T109" fmla="*/ 0 h 90"/>
              <a:gd name="T110" fmla="*/ 142 w 142"/>
              <a:gd name="T111" fmla="*/ 90 h 90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42" h="90">
                <a:moveTo>
                  <a:pt x="32" y="10"/>
                </a:moveTo>
                <a:lnTo>
                  <a:pt x="46" y="4"/>
                </a:lnTo>
                <a:lnTo>
                  <a:pt x="54" y="2"/>
                </a:lnTo>
                <a:lnTo>
                  <a:pt x="66" y="8"/>
                </a:lnTo>
                <a:lnTo>
                  <a:pt x="86" y="8"/>
                </a:lnTo>
                <a:lnTo>
                  <a:pt x="90" y="0"/>
                </a:lnTo>
                <a:lnTo>
                  <a:pt x="102" y="0"/>
                </a:lnTo>
                <a:lnTo>
                  <a:pt x="106" y="10"/>
                </a:lnTo>
                <a:lnTo>
                  <a:pt x="108" y="16"/>
                </a:lnTo>
                <a:lnTo>
                  <a:pt x="120" y="28"/>
                </a:lnTo>
                <a:lnTo>
                  <a:pt x="122" y="32"/>
                </a:lnTo>
                <a:lnTo>
                  <a:pt x="118" y="42"/>
                </a:lnTo>
                <a:lnTo>
                  <a:pt x="120" y="52"/>
                </a:lnTo>
                <a:lnTo>
                  <a:pt x="122" y="58"/>
                </a:lnTo>
                <a:lnTo>
                  <a:pt x="132" y="60"/>
                </a:lnTo>
                <a:lnTo>
                  <a:pt x="136" y="56"/>
                </a:lnTo>
                <a:lnTo>
                  <a:pt x="142" y="62"/>
                </a:lnTo>
                <a:lnTo>
                  <a:pt x="138" y="68"/>
                </a:lnTo>
                <a:lnTo>
                  <a:pt x="130" y="72"/>
                </a:lnTo>
                <a:lnTo>
                  <a:pt x="126" y="78"/>
                </a:lnTo>
                <a:lnTo>
                  <a:pt x="124" y="90"/>
                </a:lnTo>
                <a:lnTo>
                  <a:pt x="118" y="90"/>
                </a:lnTo>
                <a:lnTo>
                  <a:pt x="106" y="84"/>
                </a:lnTo>
                <a:lnTo>
                  <a:pt x="92" y="80"/>
                </a:lnTo>
                <a:lnTo>
                  <a:pt x="84" y="88"/>
                </a:lnTo>
                <a:lnTo>
                  <a:pt x="72" y="88"/>
                </a:lnTo>
                <a:lnTo>
                  <a:pt x="44" y="88"/>
                </a:lnTo>
                <a:lnTo>
                  <a:pt x="32" y="84"/>
                </a:lnTo>
                <a:lnTo>
                  <a:pt x="32" y="74"/>
                </a:lnTo>
                <a:lnTo>
                  <a:pt x="16" y="72"/>
                </a:lnTo>
                <a:lnTo>
                  <a:pt x="8" y="60"/>
                </a:lnTo>
                <a:lnTo>
                  <a:pt x="2" y="52"/>
                </a:lnTo>
                <a:lnTo>
                  <a:pt x="0" y="44"/>
                </a:lnTo>
                <a:lnTo>
                  <a:pt x="14" y="30"/>
                </a:lnTo>
                <a:lnTo>
                  <a:pt x="24" y="16"/>
                </a:lnTo>
                <a:lnTo>
                  <a:pt x="32" y="1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91" name="Freeform 171">
            <a:extLst>
              <a:ext uri="{FF2B5EF4-FFF2-40B4-BE49-F238E27FC236}">
                <a16:creationId xmlns:a16="http://schemas.microsoft.com/office/drawing/2014/main" id="{B7D2EFA2-5580-1763-9046-EC39C766DEEA}"/>
              </a:ext>
            </a:extLst>
          </p:cNvPr>
          <p:cNvSpPr>
            <a:spLocks/>
          </p:cNvSpPr>
          <p:nvPr/>
        </p:nvSpPr>
        <p:spPr bwMode="auto">
          <a:xfrm>
            <a:off x="5920318" y="3445934"/>
            <a:ext cx="179917" cy="105833"/>
          </a:xfrm>
          <a:custGeom>
            <a:avLst/>
            <a:gdLst>
              <a:gd name="T0" fmla="*/ 2147483647 w 98"/>
              <a:gd name="T1" fmla="*/ 2147483647 h 56"/>
              <a:gd name="T2" fmla="*/ 2147483647 w 98"/>
              <a:gd name="T3" fmla="*/ 2147483647 h 56"/>
              <a:gd name="T4" fmla="*/ 2147483647 w 98"/>
              <a:gd name="T5" fmla="*/ 2147483647 h 56"/>
              <a:gd name="T6" fmla="*/ 2147483647 w 98"/>
              <a:gd name="T7" fmla="*/ 0 h 56"/>
              <a:gd name="T8" fmla="*/ 2147483647 w 98"/>
              <a:gd name="T9" fmla="*/ 2147483647 h 56"/>
              <a:gd name="T10" fmla="*/ 2147483647 w 98"/>
              <a:gd name="T11" fmla="*/ 2147483647 h 56"/>
              <a:gd name="T12" fmla="*/ 2147483647 w 98"/>
              <a:gd name="T13" fmla="*/ 2147483647 h 56"/>
              <a:gd name="T14" fmla="*/ 2147483647 w 98"/>
              <a:gd name="T15" fmla="*/ 2147483647 h 56"/>
              <a:gd name="T16" fmla="*/ 2147483647 w 98"/>
              <a:gd name="T17" fmla="*/ 2147483647 h 56"/>
              <a:gd name="T18" fmla="*/ 2147483647 w 98"/>
              <a:gd name="T19" fmla="*/ 2147483647 h 56"/>
              <a:gd name="T20" fmla="*/ 2147483647 w 98"/>
              <a:gd name="T21" fmla="*/ 2147483647 h 56"/>
              <a:gd name="T22" fmla="*/ 2147483647 w 98"/>
              <a:gd name="T23" fmla="*/ 2147483647 h 56"/>
              <a:gd name="T24" fmla="*/ 2147483647 w 98"/>
              <a:gd name="T25" fmla="*/ 2147483647 h 56"/>
              <a:gd name="T26" fmla="*/ 2147483647 w 98"/>
              <a:gd name="T27" fmla="*/ 2147483647 h 56"/>
              <a:gd name="T28" fmla="*/ 2147483647 w 98"/>
              <a:gd name="T29" fmla="*/ 2147483647 h 56"/>
              <a:gd name="T30" fmla="*/ 2147483647 w 98"/>
              <a:gd name="T31" fmla="*/ 2147483647 h 56"/>
              <a:gd name="T32" fmla="*/ 2147483647 w 98"/>
              <a:gd name="T33" fmla="*/ 2147483647 h 56"/>
              <a:gd name="T34" fmla="*/ 2147483647 w 98"/>
              <a:gd name="T35" fmla="*/ 2147483647 h 56"/>
              <a:gd name="T36" fmla="*/ 2147483647 w 98"/>
              <a:gd name="T37" fmla="*/ 2147483647 h 56"/>
              <a:gd name="T38" fmla="*/ 2147483647 w 98"/>
              <a:gd name="T39" fmla="*/ 2147483647 h 56"/>
              <a:gd name="T40" fmla="*/ 2147483647 w 98"/>
              <a:gd name="T41" fmla="*/ 2147483647 h 56"/>
              <a:gd name="T42" fmla="*/ 2147483647 w 98"/>
              <a:gd name="T43" fmla="*/ 2147483647 h 56"/>
              <a:gd name="T44" fmla="*/ 2147483647 w 98"/>
              <a:gd name="T45" fmla="*/ 2147483647 h 56"/>
              <a:gd name="T46" fmla="*/ 2147483647 w 98"/>
              <a:gd name="T47" fmla="*/ 2147483647 h 56"/>
              <a:gd name="T48" fmla="*/ 2147483647 w 98"/>
              <a:gd name="T49" fmla="*/ 2147483647 h 56"/>
              <a:gd name="T50" fmla="*/ 2147483647 w 98"/>
              <a:gd name="T51" fmla="*/ 2147483647 h 56"/>
              <a:gd name="T52" fmla="*/ 2147483647 w 98"/>
              <a:gd name="T53" fmla="*/ 2147483647 h 56"/>
              <a:gd name="T54" fmla="*/ 2147483647 w 98"/>
              <a:gd name="T55" fmla="*/ 2147483647 h 56"/>
              <a:gd name="T56" fmla="*/ 2147483647 w 98"/>
              <a:gd name="T57" fmla="*/ 2147483647 h 56"/>
              <a:gd name="T58" fmla="*/ 0 w 98"/>
              <a:gd name="T59" fmla="*/ 2147483647 h 56"/>
              <a:gd name="T60" fmla="*/ 2147483647 w 98"/>
              <a:gd name="T61" fmla="*/ 2147483647 h 56"/>
              <a:gd name="T62" fmla="*/ 2147483647 w 98"/>
              <a:gd name="T63" fmla="*/ 2147483647 h 5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98"/>
              <a:gd name="T97" fmla="*/ 0 h 56"/>
              <a:gd name="T98" fmla="*/ 98 w 98"/>
              <a:gd name="T99" fmla="*/ 56 h 5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98" h="56">
                <a:moveTo>
                  <a:pt x="18" y="8"/>
                </a:moveTo>
                <a:lnTo>
                  <a:pt x="46" y="8"/>
                </a:lnTo>
                <a:lnTo>
                  <a:pt x="58" y="8"/>
                </a:lnTo>
                <a:lnTo>
                  <a:pt x="66" y="0"/>
                </a:lnTo>
                <a:lnTo>
                  <a:pt x="80" y="4"/>
                </a:lnTo>
                <a:lnTo>
                  <a:pt x="92" y="10"/>
                </a:lnTo>
                <a:lnTo>
                  <a:pt x="98" y="10"/>
                </a:lnTo>
                <a:lnTo>
                  <a:pt x="98" y="14"/>
                </a:lnTo>
                <a:lnTo>
                  <a:pt x="90" y="16"/>
                </a:lnTo>
                <a:lnTo>
                  <a:pt x="90" y="28"/>
                </a:lnTo>
                <a:lnTo>
                  <a:pt x="82" y="36"/>
                </a:lnTo>
                <a:lnTo>
                  <a:pt x="84" y="38"/>
                </a:lnTo>
                <a:lnTo>
                  <a:pt x="92" y="42"/>
                </a:lnTo>
                <a:lnTo>
                  <a:pt x="90" y="46"/>
                </a:lnTo>
                <a:lnTo>
                  <a:pt x="80" y="44"/>
                </a:lnTo>
                <a:lnTo>
                  <a:pt x="72" y="42"/>
                </a:lnTo>
                <a:lnTo>
                  <a:pt x="64" y="46"/>
                </a:lnTo>
                <a:lnTo>
                  <a:pt x="60" y="52"/>
                </a:lnTo>
                <a:lnTo>
                  <a:pt x="60" y="56"/>
                </a:lnTo>
                <a:lnTo>
                  <a:pt x="52" y="56"/>
                </a:lnTo>
                <a:lnTo>
                  <a:pt x="40" y="56"/>
                </a:lnTo>
                <a:lnTo>
                  <a:pt x="30" y="52"/>
                </a:lnTo>
                <a:lnTo>
                  <a:pt x="24" y="52"/>
                </a:lnTo>
                <a:lnTo>
                  <a:pt x="14" y="54"/>
                </a:lnTo>
                <a:lnTo>
                  <a:pt x="12" y="48"/>
                </a:lnTo>
                <a:lnTo>
                  <a:pt x="6" y="42"/>
                </a:lnTo>
                <a:lnTo>
                  <a:pt x="4" y="34"/>
                </a:lnTo>
                <a:lnTo>
                  <a:pt x="10" y="22"/>
                </a:lnTo>
                <a:lnTo>
                  <a:pt x="4" y="14"/>
                </a:lnTo>
                <a:lnTo>
                  <a:pt x="0" y="8"/>
                </a:lnTo>
                <a:lnTo>
                  <a:pt x="6" y="4"/>
                </a:lnTo>
                <a:lnTo>
                  <a:pt x="18" y="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92" name="Freeform 172">
            <a:extLst>
              <a:ext uri="{FF2B5EF4-FFF2-40B4-BE49-F238E27FC236}">
                <a16:creationId xmlns:a16="http://schemas.microsoft.com/office/drawing/2014/main" id="{73BA9990-8E85-B11E-4624-B2C124783C6F}"/>
              </a:ext>
            </a:extLst>
          </p:cNvPr>
          <p:cNvSpPr>
            <a:spLocks/>
          </p:cNvSpPr>
          <p:nvPr/>
        </p:nvSpPr>
        <p:spPr bwMode="auto">
          <a:xfrm>
            <a:off x="6032499" y="3524252"/>
            <a:ext cx="78317" cy="65617"/>
          </a:xfrm>
          <a:custGeom>
            <a:avLst/>
            <a:gdLst>
              <a:gd name="T0" fmla="*/ 0 w 42"/>
              <a:gd name="T1" fmla="*/ 2147483647 h 30"/>
              <a:gd name="T2" fmla="*/ 0 w 42"/>
              <a:gd name="T3" fmla="*/ 2147483647 h 30"/>
              <a:gd name="T4" fmla="*/ 2147483647 w 42"/>
              <a:gd name="T5" fmla="*/ 2147483647 h 30"/>
              <a:gd name="T6" fmla="*/ 2147483647 w 42"/>
              <a:gd name="T7" fmla="*/ 2147483647 h 30"/>
              <a:gd name="T8" fmla="*/ 2147483647 w 42"/>
              <a:gd name="T9" fmla="*/ 2147483647 h 30"/>
              <a:gd name="T10" fmla="*/ 2147483647 w 42"/>
              <a:gd name="T11" fmla="*/ 2147483647 h 30"/>
              <a:gd name="T12" fmla="*/ 2147483647 w 42"/>
              <a:gd name="T13" fmla="*/ 2147483647 h 30"/>
              <a:gd name="T14" fmla="*/ 2147483647 w 42"/>
              <a:gd name="T15" fmla="*/ 2147483647 h 30"/>
              <a:gd name="T16" fmla="*/ 2147483647 w 42"/>
              <a:gd name="T17" fmla="*/ 2147483647 h 30"/>
              <a:gd name="T18" fmla="*/ 2147483647 w 42"/>
              <a:gd name="T19" fmla="*/ 2147483647 h 30"/>
              <a:gd name="T20" fmla="*/ 2147483647 w 42"/>
              <a:gd name="T21" fmla="*/ 2147483647 h 30"/>
              <a:gd name="T22" fmla="*/ 2147483647 w 42"/>
              <a:gd name="T23" fmla="*/ 2147483647 h 30"/>
              <a:gd name="T24" fmla="*/ 2147483647 w 42"/>
              <a:gd name="T25" fmla="*/ 2147483647 h 30"/>
              <a:gd name="T26" fmla="*/ 2147483647 w 42"/>
              <a:gd name="T27" fmla="*/ 0 h 30"/>
              <a:gd name="T28" fmla="*/ 2147483647 w 42"/>
              <a:gd name="T29" fmla="*/ 2147483647 h 30"/>
              <a:gd name="T30" fmla="*/ 0 w 42"/>
              <a:gd name="T31" fmla="*/ 2147483647 h 30"/>
              <a:gd name="T32" fmla="*/ 0 w 42"/>
              <a:gd name="T33" fmla="*/ 2147483647 h 3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42"/>
              <a:gd name="T52" fmla="*/ 0 h 30"/>
              <a:gd name="T53" fmla="*/ 42 w 42"/>
              <a:gd name="T54" fmla="*/ 30 h 30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42" h="30">
                <a:moveTo>
                  <a:pt x="0" y="14"/>
                </a:moveTo>
                <a:lnTo>
                  <a:pt x="0" y="20"/>
                </a:lnTo>
                <a:lnTo>
                  <a:pt x="2" y="26"/>
                </a:lnTo>
                <a:lnTo>
                  <a:pt x="10" y="26"/>
                </a:lnTo>
                <a:lnTo>
                  <a:pt x="4" y="30"/>
                </a:lnTo>
                <a:lnTo>
                  <a:pt x="14" y="28"/>
                </a:lnTo>
                <a:lnTo>
                  <a:pt x="26" y="20"/>
                </a:lnTo>
                <a:lnTo>
                  <a:pt x="34" y="16"/>
                </a:lnTo>
                <a:lnTo>
                  <a:pt x="42" y="18"/>
                </a:lnTo>
                <a:lnTo>
                  <a:pt x="38" y="14"/>
                </a:lnTo>
                <a:lnTo>
                  <a:pt x="32" y="10"/>
                </a:lnTo>
                <a:lnTo>
                  <a:pt x="30" y="4"/>
                </a:lnTo>
                <a:lnTo>
                  <a:pt x="22" y="4"/>
                </a:lnTo>
                <a:lnTo>
                  <a:pt x="12" y="0"/>
                </a:lnTo>
                <a:lnTo>
                  <a:pt x="4" y="4"/>
                </a:lnTo>
                <a:lnTo>
                  <a:pt x="0" y="10"/>
                </a:lnTo>
                <a:lnTo>
                  <a:pt x="0" y="1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93" name="Freeform 173">
            <a:extLst>
              <a:ext uri="{FF2B5EF4-FFF2-40B4-BE49-F238E27FC236}">
                <a16:creationId xmlns:a16="http://schemas.microsoft.com/office/drawing/2014/main" id="{460397B7-20EA-F2D9-3D09-1B235B316205}"/>
              </a:ext>
            </a:extLst>
          </p:cNvPr>
          <p:cNvSpPr>
            <a:spLocks/>
          </p:cNvSpPr>
          <p:nvPr/>
        </p:nvSpPr>
        <p:spPr bwMode="auto">
          <a:xfrm>
            <a:off x="5956300" y="3765551"/>
            <a:ext cx="76200" cy="19051"/>
          </a:xfrm>
          <a:custGeom>
            <a:avLst/>
            <a:gdLst>
              <a:gd name="T0" fmla="*/ 2147483647 w 44"/>
              <a:gd name="T1" fmla="*/ 0 h 10"/>
              <a:gd name="T2" fmla="*/ 2147483647 w 44"/>
              <a:gd name="T3" fmla="*/ 0 h 10"/>
              <a:gd name="T4" fmla="*/ 2147483647 w 44"/>
              <a:gd name="T5" fmla="*/ 2147483647 h 10"/>
              <a:gd name="T6" fmla="*/ 2147483647 w 44"/>
              <a:gd name="T7" fmla="*/ 2147483647 h 10"/>
              <a:gd name="T8" fmla="*/ 2147483647 w 44"/>
              <a:gd name="T9" fmla="*/ 2147483647 h 10"/>
              <a:gd name="T10" fmla="*/ 2147483647 w 44"/>
              <a:gd name="T11" fmla="*/ 2147483647 h 10"/>
              <a:gd name="T12" fmla="*/ 2147483647 w 44"/>
              <a:gd name="T13" fmla="*/ 2147483647 h 10"/>
              <a:gd name="T14" fmla="*/ 2147483647 w 44"/>
              <a:gd name="T15" fmla="*/ 2147483647 h 10"/>
              <a:gd name="T16" fmla="*/ 2147483647 w 44"/>
              <a:gd name="T17" fmla="*/ 2147483647 h 10"/>
              <a:gd name="T18" fmla="*/ 2147483647 w 44"/>
              <a:gd name="T19" fmla="*/ 2147483647 h 10"/>
              <a:gd name="T20" fmla="*/ 2147483647 w 44"/>
              <a:gd name="T21" fmla="*/ 2147483647 h 10"/>
              <a:gd name="T22" fmla="*/ 2147483647 w 44"/>
              <a:gd name="T23" fmla="*/ 2147483647 h 10"/>
              <a:gd name="T24" fmla="*/ 2147483647 w 44"/>
              <a:gd name="T25" fmla="*/ 2147483647 h 10"/>
              <a:gd name="T26" fmla="*/ 2147483647 w 44"/>
              <a:gd name="T27" fmla="*/ 2147483647 h 10"/>
              <a:gd name="T28" fmla="*/ 0 w 44"/>
              <a:gd name="T29" fmla="*/ 2147483647 h 10"/>
              <a:gd name="T30" fmla="*/ 2147483647 w 44"/>
              <a:gd name="T31" fmla="*/ 0 h 1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44"/>
              <a:gd name="T49" fmla="*/ 0 h 10"/>
              <a:gd name="T50" fmla="*/ 44 w 44"/>
              <a:gd name="T51" fmla="*/ 10 h 1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44" h="10">
                <a:moveTo>
                  <a:pt x="4" y="0"/>
                </a:moveTo>
                <a:lnTo>
                  <a:pt x="10" y="0"/>
                </a:lnTo>
                <a:lnTo>
                  <a:pt x="16" y="2"/>
                </a:lnTo>
                <a:lnTo>
                  <a:pt x="22" y="2"/>
                </a:lnTo>
                <a:lnTo>
                  <a:pt x="30" y="2"/>
                </a:lnTo>
                <a:lnTo>
                  <a:pt x="34" y="2"/>
                </a:lnTo>
                <a:lnTo>
                  <a:pt x="42" y="4"/>
                </a:lnTo>
                <a:lnTo>
                  <a:pt x="44" y="8"/>
                </a:lnTo>
                <a:lnTo>
                  <a:pt x="40" y="10"/>
                </a:lnTo>
                <a:lnTo>
                  <a:pt x="32" y="8"/>
                </a:lnTo>
                <a:lnTo>
                  <a:pt x="24" y="8"/>
                </a:lnTo>
                <a:lnTo>
                  <a:pt x="18" y="10"/>
                </a:lnTo>
                <a:lnTo>
                  <a:pt x="16" y="6"/>
                </a:lnTo>
                <a:lnTo>
                  <a:pt x="8" y="6"/>
                </a:lnTo>
                <a:lnTo>
                  <a:pt x="0" y="4"/>
                </a:lnTo>
                <a:lnTo>
                  <a:pt x="4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94" name="Freeform 174">
            <a:extLst>
              <a:ext uri="{FF2B5EF4-FFF2-40B4-BE49-F238E27FC236}">
                <a16:creationId xmlns:a16="http://schemas.microsoft.com/office/drawing/2014/main" id="{F5DCD0E2-2360-69A1-CE38-4C7768040479}"/>
              </a:ext>
            </a:extLst>
          </p:cNvPr>
          <p:cNvSpPr>
            <a:spLocks/>
          </p:cNvSpPr>
          <p:nvPr/>
        </p:nvSpPr>
        <p:spPr bwMode="auto">
          <a:xfrm>
            <a:off x="5850468" y="3541184"/>
            <a:ext cx="182033" cy="194733"/>
          </a:xfrm>
          <a:custGeom>
            <a:avLst/>
            <a:gdLst>
              <a:gd name="T0" fmla="*/ 2147483647 w 94"/>
              <a:gd name="T1" fmla="*/ 2147483647 h 98"/>
              <a:gd name="T2" fmla="*/ 2147483647 w 94"/>
              <a:gd name="T3" fmla="*/ 2147483647 h 98"/>
              <a:gd name="T4" fmla="*/ 2147483647 w 94"/>
              <a:gd name="T5" fmla="*/ 2147483647 h 98"/>
              <a:gd name="T6" fmla="*/ 2147483647 w 94"/>
              <a:gd name="T7" fmla="*/ 2147483647 h 98"/>
              <a:gd name="T8" fmla="*/ 2147483647 w 94"/>
              <a:gd name="T9" fmla="*/ 2147483647 h 98"/>
              <a:gd name="T10" fmla="*/ 2147483647 w 94"/>
              <a:gd name="T11" fmla="*/ 2147483647 h 98"/>
              <a:gd name="T12" fmla="*/ 2147483647 w 94"/>
              <a:gd name="T13" fmla="*/ 2147483647 h 98"/>
              <a:gd name="T14" fmla="*/ 2147483647 w 94"/>
              <a:gd name="T15" fmla="*/ 2147483647 h 98"/>
              <a:gd name="T16" fmla="*/ 2147483647 w 94"/>
              <a:gd name="T17" fmla="*/ 2147483647 h 98"/>
              <a:gd name="T18" fmla="*/ 2147483647 w 94"/>
              <a:gd name="T19" fmla="*/ 2147483647 h 98"/>
              <a:gd name="T20" fmla="*/ 2147483647 w 94"/>
              <a:gd name="T21" fmla="*/ 2147483647 h 98"/>
              <a:gd name="T22" fmla="*/ 2147483647 w 94"/>
              <a:gd name="T23" fmla="*/ 2147483647 h 98"/>
              <a:gd name="T24" fmla="*/ 2147483647 w 94"/>
              <a:gd name="T25" fmla="*/ 2147483647 h 98"/>
              <a:gd name="T26" fmla="*/ 2147483647 w 94"/>
              <a:gd name="T27" fmla="*/ 2147483647 h 98"/>
              <a:gd name="T28" fmla="*/ 2147483647 w 94"/>
              <a:gd name="T29" fmla="*/ 2147483647 h 98"/>
              <a:gd name="T30" fmla="*/ 2147483647 w 94"/>
              <a:gd name="T31" fmla="*/ 2147483647 h 98"/>
              <a:gd name="T32" fmla="*/ 2147483647 w 94"/>
              <a:gd name="T33" fmla="*/ 2147483647 h 98"/>
              <a:gd name="T34" fmla="*/ 2147483647 w 94"/>
              <a:gd name="T35" fmla="*/ 2147483647 h 98"/>
              <a:gd name="T36" fmla="*/ 2147483647 w 94"/>
              <a:gd name="T37" fmla="*/ 2147483647 h 98"/>
              <a:gd name="T38" fmla="*/ 2147483647 w 94"/>
              <a:gd name="T39" fmla="*/ 2147483647 h 98"/>
              <a:gd name="T40" fmla="*/ 2147483647 w 94"/>
              <a:gd name="T41" fmla="*/ 2147483647 h 98"/>
              <a:gd name="T42" fmla="*/ 2147483647 w 94"/>
              <a:gd name="T43" fmla="*/ 2147483647 h 98"/>
              <a:gd name="T44" fmla="*/ 2147483647 w 94"/>
              <a:gd name="T45" fmla="*/ 2147483647 h 98"/>
              <a:gd name="T46" fmla="*/ 2147483647 w 94"/>
              <a:gd name="T47" fmla="*/ 2147483647 h 98"/>
              <a:gd name="T48" fmla="*/ 2147483647 w 94"/>
              <a:gd name="T49" fmla="*/ 2147483647 h 98"/>
              <a:gd name="T50" fmla="*/ 2147483647 w 94"/>
              <a:gd name="T51" fmla="*/ 2147483647 h 98"/>
              <a:gd name="T52" fmla="*/ 2147483647 w 94"/>
              <a:gd name="T53" fmla="*/ 2147483647 h 98"/>
              <a:gd name="T54" fmla="*/ 2147483647 w 94"/>
              <a:gd name="T55" fmla="*/ 0 h 98"/>
              <a:gd name="T56" fmla="*/ 2147483647 w 94"/>
              <a:gd name="T57" fmla="*/ 2147483647 h 98"/>
              <a:gd name="T58" fmla="*/ 2147483647 w 94"/>
              <a:gd name="T59" fmla="*/ 2147483647 h 98"/>
              <a:gd name="T60" fmla="*/ 2147483647 w 94"/>
              <a:gd name="T61" fmla="*/ 2147483647 h 98"/>
              <a:gd name="T62" fmla="*/ 2147483647 w 94"/>
              <a:gd name="T63" fmla="*/ 2147483647 h 98"/>
              <a:gd name="T64" fmla="*/ 0 w 94"/>
              <a:gd name="T65" fmla="*/ 2147483647 h 98"/>
              <a:gd name="T66" fmla="*/ 2147483647 w 94"/>
              <a:gd name="T67" fmla="*/ 2147483647 h 98"/>
              <a:gd name="T68" fmla="*/ 2147483647 w 94"/>
              <a:gd name="T69" fmla="*/ 2147483647 h 98"/>
              <a:gd name="T70" fmla="*/ 2147483647 w 94"/>
              <a:gd name="T71" fmla="*/ 2147483647 h 98"/>
              <a:gd name="T72" fmla="*/ 2147483647 w 94"/>
              <a:gd name="T73" fmla="*/ 2147483647 h 98"/>
              <a:gd name="T74" fmla="*/ 2147483647 w 94"/>
              <a:gd name="T75" fmla="*/ 2147483647 h 9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94"/>
              <a:gd name="T115" fmla="*/ 0 h 98"/>
              <a:gd name="T116" fmla="*/ 94 w 94"/>
              <a:gd name="T117" fmla="*/ 98 h 98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94" h="98">
                <a:moveTo>
                  <a:pt x="42" y="62"/>
                </a:moveTo>
                <a:lnTo>
                  <a:pt x="46" y="64"/>
                </a:lnTo>
                <a:lnTo>
                  <a:pt x="44" y="68"/>
                </a:lnTo>
                <a:lnTo>
                  <a:pt x="38" y="68"/>
                </a:lnTo>
                <a:lnTo>
                  <a:pt x="30" y="66"/>
                </a:lnTo>
                <a:lnTo>
                  <a:pt x="24" y="66"/>
                </a:lnTo>
                <a:lnTo>
                  <a:pt x="20" y="70"/>
                </a:lnTo>
                <a:lnTo>
                  <a:pt x="20" y="78"/>
                </a:lnTo>
                <a:lnTo>
                  <a:pt x="26" y="82"/>
                </a:lnTo>
                <a:lnTo>
                  <a:pt x="26" y="88"/>
                </a:lnTo>
                <a:lnTo>
                  <a:pt x="28" y="92"/>
                </a:lnTo>
                <a:lnTo>
                  <a:pt x="32" y="86"/>
                </a:lnTo>
                <a:lnTo>
                  <a:pt x="34" y="90"/>
                </a:lnTo>
                <a:lnTo>
                  <a:pt x="36" y="98"/>
                </a:lnTo>
                <a:lnTo>
                  <a:pt x="42" y="96"/>
                </a:lnTo>
                <a:lnTo>
                  <a:pt x="42" y="92"/>
                </a:lnTo>
                <a:lnTo>
                  <a:pt x="46" y="98"/>
                </a:lnTo>
                <a:lnTo>
                  <a:pt x="48" y="94"/>
                </a:lnTo>
                <a:lnTo>
                  <a:pt x="48" y="90"/>
                </a:lnTo>
                <a:lnTo>
                  <a:pt x="44" y="86"/>
                </a:lnTo>
                <a:lnTo>
                  <a:pt x="40" y="80"/>
                </a:lnTo>
                <a:lnTo>
                  <a:pt x="42" y="76"/>
                </a:lnTo>
                <a:lnTo>
                  <a:pt x="46" y="76"/>
                </a:lnTo>
                <a:lnTo>
                  <a:pt x="52" y="74"/>
                </a:lnTo>
                <a:lnTo>
                  <a:pt x="48" y="70"/>
                </a:lnTo>
                <a:lnTo>
                  <a:pt x="48" y="64"/>
                </a:lnTo>
                <a:lnTo>
                  <a:pt x="52" y="68"/>
                </a:lnTo>
                <a:lnTo>
                  <a:pt x="58" y="70"/>
                </a:lnTo>
                <a:lnTo>
                  <a:pt x="64" y="66"/>
                </a:lnTo>
                <a:lnTo>
                  <a:pt x="62" y="60"/>
                </a:lnTo>
                <a:lnTo>
                  <a:pt x="58" y="56"/>
                </a:lnTo>
                <a:lnTo>
                  <a:pt x="50" y="54"/>
                </a:lnTo>
                <a:lnTo>
                  <a:pt x="46" y="50"/>
                </a:lnTo>
                <a:lnTo>
                  <a:pt x="44" y="44"/>
                </a:lnTo>
                <a:lnTo>
                  <a:pt x="44" y="40"/>
                </a:lnTo>
                <a:lnTo>
                  <a:pt x="38" y="32"/>
                </a:lnTo>
                <a:lnTo>
                  <a:pt x="36" y="28"/>
                </a:lnTo>
                <a:lnTo>
                  <a:pt x="38" y="22"/>
                </a:lnTo>
                <a:lnTo>
                  <a:pt x="44" y="20"/>
                </a:lnTo>
                <a:lnTo>
                  <a:pt x="48" y="26"/>
                </a:lnTo>
                <a:lnTo>
                  <a:pt x="56" y="28"/>
                </a:lnTo>
                <a:lnTo>
                  <a:pt x="58" y="26"/>
                </a:lnTo>
                <a:lnTo>
                  <a:pt x="60" y="22"/>
                </a:lnTo>
                <a:lnTo>
                  <a:pt x="58" y="16"/>
                </a:lnTo>
                <a:lnTo>
                  <a:pt x="64" y="16"/>
                </a:lnTo>
                <a:lnTo>
                  <a:pt x="70" y="14"/>
                </a:lnTo>
                <a:lnTo>
                  <a:pt x="78" y="14"/>
                </a:lnTo>
                <a:lnTo>
                  <a:pt x="84" y="14"/>
                </a:lnTo>
                <a:lnTo>
                  <a:pt x="90" y="14"/>
                </a:lnTo>
                <a:lnTo>
                  <a:pt x="94" y="12"/>
                </a:lnTo>
                <a:lnTo>
                  <a:pt x="94" y="6"/>
                </a:lnTo>
                <a:lnTo>
                  <a:pt x="86" y="6"/>
                </a:lnTo>
                <a:lnTo>
                  <a:pt x="74" y="6"/>
                </a:lnTo>
                <a:lnTo>
                  <a:pt x="70" y="4"/>
                </a:lnTo>
                <a:lnTo>
                  <a:pt x="64" y="2"/>
                </a:lnTo>
                <a:lnTo>
                  <a:pt x="58" y="0"/>
                </a:lnTo>
                <a:lnTo>
                  <a:pt x="48" y="4"/>
                </a:lnTo>
                <a:lnTo>
                  <a:pt x="40" y="10"/>
                </a:lnTo>
                <a:lnTo>
                  <a:pt x="34" y="10"/>
                </a:lnTo>
                <a:lnTo>
                  <a:pt x="26" y="12"/>
                </a:lnTo>
                <a:lnTo>
                  <a:pt x="18" y="14"/>
                </a:lnTo>
                <a:lnTo>
                  <a:pt x="14" y="16"/>
                </a:lnTo>
                <a:lnTo>
                  <a:pt x="14" y="20"/>
                </a:lnTo>
                <a:lnTo>
                  <a:pt x="10" y="26"/>
                </a:lnTo>
                <a:lnTo>
                  <a:pt x="2" y="34"/>
                </a:lnTo>
                <a:lnTo>
                  <a:pt x="0" y="38"/>
                </a:lnTo>
                <a:lnTo>
                  <a:pt x="4" y="42"/>
                </a:lnTo>
                <a:lnTo>
                  <a:pt x="10" y="46"/>
                </a:lnTo>
                <a:lnTo>
                  <a:pt x="16" y="46"/>
                </a:lnTo>
                <a:lnTo>
                  <a:pt x="20" y="48"/>
                </a:lnTo>
                <a:lnTo>
                  <a:pt x="14" y="52"/>
                </a:lnTo>
                <a:lnTo>
                  <a:pt x="14" y="58"/>
                </a:lnTo>
                <a:lnTo>
                  <a:pt x="18" y="60"/>
                </a:lnTo>
                <a:lnTo>
                  <a:pt x="26" y="58"/>
                </a:lnTo>
                <a:lnTo>
                  <a:pt x="32" y="60"/>
                </a:lnTo>
                <a:lnTo>
                  <a:pt x="42" y="6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95" name="Freeform 175">
            <a:extLst>
              <a:ext uri="{FF2B5EF4-FFF2-40B4-BE49-F238E27FC236}">
                <a16:creationId xmlns:a16="http://schemas.microsoft.com/office/drawing/2014/main" id="{EC46805F-A932-9319-683C-3619B89F1220}"/>
              </a:ext>
            </a:extLst>
          </p:cNvPr>
          <p:cNvSpPr>
            <a:spLocks/>
          </p:cNvSpPr>
          <p:nvPr/>
        </p:nvSpPr>
        <p:spPr bwMode="auto">
          <a:xfrm>
            <a:off x="5820834" y="3505201"/>
            <a:ext cx="48684" cy="105833"/>
          </a:xfrm>
          <a:custGeom>
            <a:avLst/>
            <a:gdLst>
              <a:gd name="T0" fmla="*/ 0 w 26"/>
              <a:gd name="T1" fmla="*/ 2147483647 h 56"/>
              <a:gd name="T2" fmla="*/ 2147483647 w 26"/>
              <a:gd name="T3" fmla="*/ 2147483647 h 56"/>
              <a:gd name="T4" fmla="*/ 2147483647 w 26"/>
              <a:gd name="T5" fmla="*/ 0 h 56"/>
              <a:gd name="T6" fmla="*/ 2147483647 w 26"/>
              <a:gd name="T7" fmla="*/ 2147483647 h 56"/>
              <a:gd name="T8" fmla="*/ 2147483647 w 26"/>
              <a:gd name="T9" fmla="*/ 2147483647 h 56"/>
              <a:gd name="T10" fmla="*/ 2147483647 w 26"/>
              <a:gd name="T11" fmla="*/ 2147483647 h 56"/>
              <a:gd name="T12" fmla="*/ 2147483647 w 26"/>
              <a:gd name="T13" fmla="*/ 2147483647 h 56"/>
              <a:gd name="T14" fmla="*/ 2147483647 w 26"/>
              <a:gd name="T15" fmla="*/ 2147483647 h 56"/>
              <a:gd name="T16" fmla="*/ 2147483647 w 26"/>
              <a:gd name="T17" fmla="*/ 2147483647 h 56"/>
              <a:gd name="T18" fmla="*/ 2147483647 w 26"/>
              <a:gd name="T19" fmla="*/ 2147483647 h 56"/>
              <a:gd name="T20" fmla="*/ 2147483647 w 26"/>
              <a:gd name="T21" fmla="*/ 2147483647 h 56"/>
              <a:gd name="T22" fmla="*/ 2147483647 w 26"/>
              <a:gd name="T23" fmla="*/ 2147483647 h 56"/>
              <a:gd name="T24" fmla="*/ 2147483647 w 26"/>
              <a:gd name="T25" fmla="*/ 2147483647 h 56"/>
              <a:gd name="T26" fmla="*/ 2147483647 w 26"/>
              <a:gd name="T27" fmla="*/ 2147483647 h 56"/>
              <a:gd name="T28" fmla="*/ 2147483647 w 26"/>
              <a:gd name="T29" fmla="*/ 2147483647 h 56"/>
              <a:gd name="T30" fmla="*/ 0 w 26"/>
              <a:gd name="T31" fmla="*/ 2147483647 h 5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26"/>
              <a:gd name="T49" fmla="*/ 0 h 56"/>
              <a:gd name="T50" fmla="*/ 26 w 26"/>
              <a:gd name="T51" fmla="*/ 56 h 5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26" h="56">
                <a:moveTo>
                  <a:pt x="0" y="12"/>
                </a:moveTo>
                <a:lnTo>
                  <a:pt x="2" y="4"/>
                </a:lnTo>
                <a:lnTo>
                  <a:pt x="6" y="0"/>
                </a:lnTo>
                <a:lnTo>
                  <a:pt x="14" y="2"/>
                </a:lnTo>
                <a:lnTo>
                  <a:pt x="22" y="8"/>
                </a:lnTo>
                <a:lnTo>
                  <a:pt x="20" y="16"/>
                </a:lnTo>
                <a:lnTo>
                  <a:pt x="20" y="22"/>
                </a:lnTo>
                <a:lnTo>
                  <a:pt x="24" y="30"/>
                </a:lnTo>
                <a:lnTo>
                  <a:pt x="26" y="34"/>
                </a:lnTo>
                <a:lnTo>
                  <a:pt x="26" y="38"/>
                </a:lnTo>
                <a:lnTo>
                  <a:pt x="22" y="44"/>
                </a:lnTo>
                <a:lnTo>
                  <a:pt x="12" y="56"/>
                </a:lnTo>
                <a:lnTo>
                  <a:pt x="2" y="40"/>
                </a:lnTo>
                <a:lnTo>
                  <a:pt x="4" y="28"/>
                </a:lnTo>
                <a:lnTo>
                  <a:pt x="2" y="18"/>
                </a:lnTo>
                <a:lnTo>
                  <a:pt x="0" y="1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96" name="Freeform 176">
            <a:extLst>
              <a:ext uri="{FF2B5EF4-FFF2-40B4-BE49-F238E27FC236}">
                <a16:creationId xmlns:a16="http://schemas.microsoft.com/office/drawing/2014/main" id="{DAC3942C-F9B5-155C-63B9-26E0000453B6}"/>
              </a:ext>
            </a:extLst>
          </p:cNvPr>
          <p:cNvSpPr>
            <a:spLocks/>
          </p:cNvSpPr>
          <p:nvPr/>
        </p:nvSpPr>
        <p:spPr bwMode="auto">
          <a:xfrm>
            <a:off x="5560485" y="1648885"/>
            <a:ext cx="328084" cy="241300"/>
          </a:xfrm>
          <a:custGeom>
            <a:avLst/>
            <a:gdLst>
              <a:gd name="T0" fmla="*/ 2147483647 w 167"/>
              <a:gd name="T1" fmla="*/ 2147483647 h 120"/>
              <a:gd name="T2" fmla="*/ 2147483647 w 167"/>
              <a:gd name="T3" fmla="*/ 2147483647 h 120"/>
              <a:gd name="T4" fmla="*/ 2147483647 w 167"/>
              <a:gd name="T5" fmla="*/ 2147483647 h 120"/>
              <a:gd name="T6" fmla="*/ 2147483647 w 167"/>
              <a:gd name="T7" fmla="*/ 2147483647 h 120"/>
              <a:gd name="T8" fmla="*/ 2147483647 w 167"/>
              <a:gd name="T9" fmla="*/ 2147483647 h 120"/>
              <a:gd name="T10" fmla="*/ 2147483647 w 167"/>
              <a:gd name="T11" fmla="*/ 2147483647 h 120"/>
              <a:gd name="T12" fmla="*/ 2147483647 w 167"/>
              <a:gd name="T13" fmla="*/ 2147483647 h 120"/>
              <a:gd name="T14" fmla="*/ 2147483647 w 167"/>
              <a:gd name="T15" fmla="*/ 2147483647 h 120"/>
              <a:gd name="T16" fmla="*/ 2147483647 w 167"/>
              <a:gd name="T17" fmla="*/ 2147483647 h 120"/>
              <a:gd name="T18" fmla="*/ 2147483647 w 167"/>
              <a:gd name="T19" fmla="*/ 2147483647 h 120"/>
              <a:gd name="T20" fmla="*/ 2147483647 w 167"/>
              <a:gd name="T21" fmla="*/ 2147483647 h 120"/>
              <a:gd name="T22" fmla="*/ 2147483647 w 167"/>
              <a:gd name="T23" fmla="*/ 2147483647 h 120"/>
              <a:gd name="T24" fmla="*/ 2147483647 w 167"/>
              <a:gd name="T25" fmla="*/ 2147483647 h 120"/>
              <a:gd name="T26" fmla="*/ 0 w 167"/>
              <a:gd name="T27" fmla="*/ 2147483647 h 120"/>
              <a:gd name="T28" fmla="*/ 2147483647 w 167"/>
              <a:gd name="T29" fmla="*/ 2147483647 h 120"/>
              <a:gd name="T30" fmla="*/ 2147483647 w 167"/>
              <a:gd name="T31" fmla="*/ 2147483647 h 120"/>
              <a:gd name="T32" fmla="*/ 2147483647 w 167"/>
              <a:gd name="T33" fmla="*/ 2147483647 h 120"/>
              <a:gd name="T34" fmla="*/ 2147483647 w 167"/>
              <a:gd name="T35" fmla="*/ 2147483647 h 120"/>
              <a:gd name="T36" fmla="*/ 2147483647 w 167"/>
              <a:gd name="T37" fmla="*/ 2147483647 h 120"/>
              <a:gd name="T38" fmla="*/ 2147483647 w 167"/>
              <a:gd name="T39" fmla="*/ 2147483647 h 120"/>
              <a:gd name="T40" fmla="*/ 2147483647 w 167"/>
              <a:gd name="T41" fmla="*/ 2147483647 h 120"/>
              <a:gd name="T42" fmla="*/ 2147483647 w 167"/>
              <a:gd name="T43" fmla="*/ 0 h 120"/>
              <a:gd name="T44" fmla="*/ 2147483647 w 167"/>
              <a:gd name="T45" fmla="*/ 2147483647 h 120"/>
              <a:gd name="T46" fmla="*/ 2147483647 w 167"/>
              <a:gd name="T47" fmla="*/ 2147483647 h 120"/>
              <a:gd name="T48" fmla="*/ 2147483647 w 167"/>
              <a:gd name="T49" fmla="*/ 2147483647 h 120"/>
              <a:gd name="T50" fmla="*/ 2147483647 w 167"/>
              <a:gd name="T51" fmla="*/ 2147483647 h 120"/>
              <a:gd name="T52" fmla="*/ 2147483647 w 167"/>
              <a:gd name="T53" fmla="*/ 2147483647 h 120"/>
              <a:gd name="T54" fmla="*/ 2147483647 w 167"/>
              <a:gd name="T55" fmla="*/ 2147483647 h 120"/>
              <a:gd name="T56" fmla="*/ 2147483647 w 167"/>
              <a:gd name="T57" fmla="*/ 2147483647 h 120"/>
              <a:gd name="T58" fmla="*/ 2147483647 w 167"/>
              <a:gd name="T59" fmla="*/ 2147483647 h 120"/>
              <a:gd name="T60" fmla="*/ 2147483647 w 167"/>
              <a:gd name="T61" fmla="*/ 2147483647 h 120"/>
              <a:gd name="T62" fmla="*/ 2147483647 w 167"/>
              <a:gd name="T63" fmla="*/ 2147483647 h 120"/>
              <a:gd name="T64" fmla="*/ 2147483647 w 167"/>
              <a:gd name="T65" fmla="*/ 2147483647 h 12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67"/>
              <a:gd name="T100" fmla="*/ 0 h 120"/>
              <a:gd name="T101" fmla="*/ 167 w 167"/>
              <a:gd name="T102" fmla="*/ 120 h 120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67" h="120">
                <a:moveTo>
                  <a:pt x="45" y="92"/>
                </a:moveTo>
                <a:lnTo>
                  <a:pt x="55" y="84"/>
                </a:lnTo>
                <a:lnTo>
                  <a:pt x="83" y="88"/>
                </a:lnTo>
                <a:lnTo>
                  <a:pt x="71" y="80"/>
                </a:lnTo>
                <a:lnTo>
                  <a:pt x="59" y="76"/>
                </a:lnTo>
                <a:lnTo>
                  <a:pt x="43" y="78"/>
                </a:lnTo>
                <a:lnTo>
                  <a:pt x="43" y="68"/>
                </a:lnTo>
                <a:lnTo>
                  <a:pt x="55" y="64"/>
                </a:lnTo>
                <a:lnTo>
                  <a:pt x="69" y="60"/>
                </a:lnTo>
                <a:lnTo>
                  <a:pt x="85" y="60"/>
                </a:lnTo>
                <a:lnTo>
                  <a:pt x="97" y="56"/>
                </a:lnTo>
                <a:lnTo>
                  <a:pt x="89" y="48"/>
                </a:lnTo>
                <a:lnTo>
                  <a:pt x="83" y="52"/>
                </a:lnTo>
                <a:lnTo>
                  <a:pt x="71" y="52"/>
                </a:lnTo>
                <a:lnTo>
                  <a:pt x="71" y="44"/>
                </a:lnTo>
                <a:lnTo>
                  <a:pt x="65" y="42"/>
                </a:lnTo>
                <a:lnTo>
                  <a:pt x="61" y="48"/>
                </a:lnTo>
                <a:lnTo>
                  <a:pt x="55" y="48"/>
                </a:lnTo>
                <a:lnTo>
                  <a:pt x="51" y="56"/>
                </a:lnTo>
                <a:lnTo>
                  <a:pt x="37" y="64"/>
                </a:lnTo>
                <a:lnTo>
                  <a:pt x="27" y="58"/>
                </a:lnTo>
                <a:lnTo>
                  <a:pt x="11" y="46"/>
                </a:lnTo>
                <a:lnTo>
                  <a:pt x="7" y="36"/>
                </a:lnTo>
                <a:lnTo>
                  <a:pt x="19" y="28"/>
                </a:lnTo>
                <a:lnTo>
                  <a:pt x="19" y="24"/>
                </a:lnTo>
                <a:lnTo>
                  <a:pt x="11" y="24"/>
                </a:lnTo>
                <a:lnTo>
                  <a:pt x="2" y="30"/>
                </a:lnTo>
                <a:lnTo>
                  <a:pt x="0" y="20"/>
                </a:lnTo>
                <a:lnTo>
                  <a:pt x="4" y="12"/>
                </a:lnTo>
                <a:lnTo>
                  <a:pt x="19" y="8"/>
                </a:lnTo>
                <a:lnTo>
                  <a:pt x="33" y="8"/>
                </a:lnTo>
                <a:lnTo>
                  <a:pt x="47" y="10"/>
                </a:lnTo>
                <a:lnTo>
                  <a:pt x="51" y="26"/>
                </a:lnTo>
                <a:lnTo>
                  <a:pt x="55" y="12"/>
                </a:lnTo>
                <a:lnTo>
                  <a:pt x="63" y="10"/>
                </a:lnTo>
                <a:lnTo>
                  <a:pt x="73" y="14"/>
                </a:lnTo>
                <a:lnTo>
                  <a:pt x="75" y="22"/>
                </a:lnTo>
                <a:lnTo>
                  <a:pt x="77" y="28"/>
                </a:lnTo>
                <a:lnTo>
                  <a:pt x="83" y="36"/>
                </a:lnTo>
                <a:lnTo>
                  <a:pt x="89" y="38"/>
                </a:lnTo>
                <a:lnTo>
                  <a:pt x="87" y="24"/>
                </a:lnTo>
                <a:lnTo>
                  <a:pt x="83" y="12"/>
                </a:lnTo>
                <a:lnTo>
                  <a:pt x="81" y="4"/>
                </a:lnTo>
                <a:lnTo>
                  <a:pt x="85" y="0"/>
                </a:lnTo>
                <a:lnTo>
                  <a:pt x="95" y="4"/>
                </a:lnTo>
                <a:lnTo>
                  <a:pt x="107" y="8"/>
                </a:lnTo>
                <a:lnTo>
                  <a:pt x="103" y="20"/>
                </a:lnTo>
                <a:lnTo>
                  <a:pt x="111" y="22"/>
                </a:lnTo>
                <a:lnTo>
                  <a:pt x="115" y="16"/>
                </a:lnTo>
                <a:lnTo>
                  <a:pt x="127" y="22"/>
                </a:lnTo>
                <a:lnTo>
                  <a:pt x="127" y="30"/>
                </a:lnTo>
                <a:lnTo>
                  <a:pt x="151" y="36"/>
                </a:lnTo>
                <a:lnTo>
                  <a:pt x="167" y="44"/>
                </a:lnTo>
                <a:lnTo>
                  <a:pt x="159" y="48"/>
                </a:lnTo>
                <a:lnTo>
                  <a:pt x="137" y="52"/>
                </a:lnTo>
                <a:lnTo>
                  <a:pt x="123" y="60"/>
                </a:lnTo>
                <a:lnTo>
                  <a:pt x="119" y="68"/>
                </a:lnTo>
                <a:lnTo>
                  <a:pt x="117" y="84"/>
                </a:lnTo>
                <a:lnTo>
                  <a:pt x="107" y="88"/>
                </a:lnTo>
                <a:lnTo>
                  <a:pt x="101" y="102"/>
                </a:lnTo>
                <a:lnTo>
                  <a:pt x="93" y="120"/>
                </a:lnTo>
                <a:lnTo>
                  <a:pt x="81" y="114"/>
                </a:lnTo>
                <a:lnTo>
                  <a:pt x="81" y="102"/>
                </a:lnTo>
                <a:lnTo>
                  <a:pt x="67" y="104"/>
                </a:lnTo>
                <a:lnTo>
                  <a:pt x="59" y="98"/>
                </a:lnTo>
                <a:lnTo>
                  <a:pt x="45" y="9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97" name="Freeform 177">
            <a:extLst>
              <a:ext uri="{FF2B5EF4-FFF2-40B4-BE49-F238E27FC236}">
                <a16:creationId xmlns:a16="http://schemas.microsoft.com/office/drawing/2014/main" id="{890D6157-202D-C2DE-D707-2A98DADC5340}"/>
              </a:ext>
            </a:extLst>
          </p:cNvPr>
          <p:cNvSpPr>
            <a:spLocks/>
          </p:cNvSpPr>
          <p:nvPr/>
        </p:nvSpPr>
        <p:spPr bwMode="auto">
          <a:xfrm>
            <a:off x="5782733" y="1608667"/>
            <a:ext cx="287867" cy="107951"/>
          </a:xfrm>
          <a:custGeom>
            <a:avLst/>
            <a:gdLst>
              <a:gd name="T0" fmla="*/ 2147483647 w 144"/>
              <a:gd name="T1" fmla="*/ 2147483647 h 50"/>
              <a:gd name="T2" fmla="*/ 2147483647 w 144"/>
              <a:gd name="T3" fmla="*/ 2147483647 h 50"/>
              <a:gd name="T4" fmla="*/ 2147483647 w 144"/>
              <a:gd name="T5" fmla="*/ 2147483647 h 50"/>
              <a:gd name="T6" fmla="*/ 2147483647 w 144"/>
              <a:gd name="T7" fmla="*/ 2147483647 h 50"/>
              <a:gd name="T8" fmla="*/ 2147483647 w 144"/>
              <a:gd name="T9" fmla="*/ 2147483647 h 50"/>
              <a:gd name="T10" fmla="*/ 2147483647 w 144"/>
              <a:gd name="T11" fmla="*/ 2147483647 h 50"/>
              <a:gd name="T12" fmla="*/ 2147483647 w 144"/>
              <a:gd name="T13" fmla="*/ 2147483647 h 50"/>
              <a:gd name="T14" fmla="*/ 2147483647 w 144"/>
              <a:gd name="T15" fmla="*/ 2147483647 h 50"/>
              <a:gd name="T16" fmla="*/ 2147483647 w 144"/>
              <a:gd name="T17" fmla="*/ 2147483647 h 50"/>
              <a:gd name="T18" fmla="*/ 2147483647 w 144"/>
              <a:gd name="T19" fmla="*/ 2147483647 h 50"/>
              <a:gd name="T20" fmla="*/ 0 w 144"/>
              <a:gd name="T21" fmla="*/ 2147483647 h 50"/>
              <a:gd name="T22" fmla="*/ 2147483647 w 144"/>
              <a:gd name="T23" fmla="*/ 2147483647 h 50"/>
              <a:gd name="T24" fmla="*/ 2147483647 w 144"/>
              <a:gd name="T25" fmla="*/ 2147483647 h 50"/>
              <a:gd name="T26" fmla="*/ 2147483647 w 144"/>
              <a:gd name="T27" fmla="*/ 2147483647 h 50"/>
              <a:gd name="T28" fmla="*/ 2147483647 w 144"/>
              <a:gd name="T29" fmla="*/ 2147483647 h 50"/>
              <a:gd name="T30" fmla="*/ 2147483647 w 144"/>
              <a:gd name="T31" fmla="*/ 2147483647 h 50"/>
              <a:gd name="T32" fmla="*/ 2147483647 w 144"/>
              <a:gd name="T33" fmla="*/ 2147483647 h 50"/>
              <a:gd name="T34" fmla="*/ 2147483647 w 144"/>
              <a:gd name="T35" fmla="*/ 0 h 50"/>
              <a:gd name="T36" fmla="*/ 2147483647 w 144"/>
              <a:gd name="T37" fmla="*/ 2147483647 h 50"/>
              <a:gd name="T38" fmla="*/ 2147483647 w 144"/>
              <a:gd name="T39" fmla="*/ 2147483647 h 50"/>
              <a:gd name="T40" fmla="*/ 2147483647 w 144"/>
              <a:gd name="T41" fmla="*/ 2147483647 h 50"/>
              <a:gd name="T42" fmla="*/ 2147483647 w 144"/>
              <a:gd name="T43" fmla="*/ 2147483647 h 50"/>
              <a:gd name="T44" fmla="*/ 2147483647 w 144"/>
              <a:gd name="T45" fmla="*/ 2147483647 h 50"/>
              <a:gd name="T46" fmla="*/ 2147483647 w 144"/>
              <a:gd name="T47" fmla="*/ 2147483647 h 50"/>
              <a:gd name="T48" fmla="*/ 2147483647 w 144"/>
              <a:gd name="T49" fmla="*/ 2147483647 h 50"/>
              <a:gd name="T50" fmla="*/ 2147483647 w 144"/>
              <a:gd name="T51" fmla="*/ 2147483647 h 50"/>
              <a:gd name="T52" fmla="*/ 2147483647 w 144"/>
              <a:gd name="T53" fmla="*/ 2147483647 h 50"/>
              <a:gd name="T54" fmla="*/ 2147483647 w 144"/>
              <a:gd name="T55" fmla="*/ 2147483647 h 50"/>
              <a:gd name="T56" fmla="*/ 2147483647 w 144"/>
              <a:gd name="T57" fmla="*/ 2147483647 h 50"/>
              <a:gd name="T58" fmla="*/ 2147483647 w 144"/>
              <a:gd name="T59" fmla="*/ 2147483647 h 50"/>
              <a:gd name="T60" fmla="*/ 2147483647 w 144"/>
              <a:gd name="T61" fmla="*/ 2147483647 h 5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44"/>
              <a:gd name="T94" fmla="*/ 0 h 50"/>
              <a:gd name="T95" fmla="*/ 144 w 144"/>
              <a:gd name="T96" fmla="*/ 50 h 50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44" h="50">
                <a:moveTo>
                  <a:pt x="62" y="38"/>
                </a:moveTo>
                <a:lnTo>
                  <a:pt x="52" y="38"/>
                </a:lnTo>
                <a:lnTo>
                  <a:pt x="34" y="38"/>
                </a:lnTo>
                <a:lnTo>
                  <a:pt x="36" y="30"/>
                </a:lnTo>
                <a:lnTo>
                  <a:pt x="54" y="28"/>
                </a:lnTo>
                <a:lnTo>
                  <a:pt x="60" y="24"/>
                </a:lnTo>
                <a:lnTo>
                  <a:pt x="50" y="22"/>
                </a:lnTo>
                <a:lnTo>
                  <a:pt x="34" y="22"/>
                </a:lnTo>
                <a:lnTo>
                  <a:pt x="18" y="26"/>
                </a:lnTo>
                <a:lnTo>
                  <a:pt x="2" y="24"/>
                </a:lnTo>
                <a:lnTo>
                  <a:pt x="0" y="18"/>
                </a:lnTo>
                <a:lnTo>
                  <a:pt x="10" y="14"/>
                </a:lnTo>
                <a:lnTo>
                  <a:pt x="22" y="6"/>
                </a:lnTo>
                <a:lnTo>
                  <a:pt x="30" y="6"/>
                </a:lnTo>
                <a:lnTo>
                  <a:pt x="46" y="10"/>
                </a:lnTo>
                <a:lnTo>
                  <a:pt x="56" y="10"/>
                </a:lnTo>
                <a:lnTo>
                  <a:pt x="66" y="12"/>
                </a:lnTo>
                <a:lnTo>
                  <a:pt x="74" y="0"/>
                </a:lnTo>
                <a:lnTo>
                  <a:pt x="82" y="14"/>
                </a:lnTo>
                <a:lnTo>
                  <a:pt x="96" y="8"/>
                </a:lnTo>
                <a:lnTo>
                  <a:pt x="114" y="10"/>
                </a:lnTo>
                <a:lnTo>
                  <a:pt x="132" y="14"/>
                </a:lnTo>
                <a:lnTo>
                  <a:pt x="144" y="16"/>
                </a:lnTo>
                <a:lnTo>
                  <a:pt x="138" y="22"/>
                </a:lnTo>
                <a:lnTo>
                  <a:pt x="122" y="30"/>
                </a:lnTo>
                <a:lnTo>
                  <a:pt x="114" y="38"/>
                </a:lnTo>
                <a:lnTo>
                  <a:pt x="100" y="38"/>
                </a:lnTo>
                <a:lnTo>
                  <a:pt x="92" y="50"/>
                </a:lnTo>
                <a:lnTo>
                  <a:pt x="74" y="46"/>
                </a:lnTo>
                <a:lnTo>
                  <a:pt x="68" y="38"/>
                </a:lnTo>
                <a:lnTo>
                  <a:pt x="62" y="3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98" name="Freeform 178">
            <a:extLst>
              <a:ext uri="{FF2B5EF4-FFF2-40B4-BE49-F238E27FC236}">
                <a16:creationId xmlns:a16="http://schemas.microsoft.com/office/drawing/2014/main" id="{E973495A-4E4B-A068-DB2D-F2E4C497667D}"/>
              </a:ext>
            </a:extLst>
          </p:cNvPr>
          <p:cNvSpPr>
            <a:spLocks/>
          </p:cNvSpPr>
          <p:nvPr/>
        </p:nvSpPr>
        <p:spPr bwMode="auto">
          <a:xfrm>
            <a:off x="5869518" y="1773767"/>
            <a:ext cx="105833" cy="59267"/>
          </a:xfrm>
          <a:custGeom>
            <a:avLst/>
            <a:gdLst>
              <a:gd name="T0" fmla="*/ 2147483647 w 58"/>
              <a:gd name="T1" fmla="*/ 2147483647 h 32"/>
              <a:gd name="T2" fmla="*/ 2147483647 w 58"/>
              <a:gd name="T3" fmla="*/ 2147483647 h 32"/>
              <a:gd name="T4" fmla="*/ 2147483647 w 58"/>
              <a:gd name="T5" fmla="*/ 0 h 32"/>
              <a:gd name="T6" fmla="*/ 2147483647 w 58"/>
              <a:gd name="T7" fmla="*/ 0 h 32"/>
              <a:gd name="T8" fmla="*/ 2147483647 w 58"/>
              <a:gd name="T9" fmla="*/ 2147483647 h 32"/>
              <a:gd name="T10" fmla="*/ 2147483647 w 58"/>
              <a:gd name="T11" fmla="*/ 2147483647 h 32"/>
              <a:gd name="T12" fmla="*/ 2147483647 w 58"/>
              <a:gd name="T13" fmla="*/ 2147483647 h 32"/>
              <a:gd name="T14" fmla="*/ 2147483647 w 58"/>
              <a:gd name="T15" fmla="*/ 2147483647 h 32"/>
              <a:gd name="T16" fmla="*/ 2147483647 w 58"/>
              <a:gd name="T17" fmla="*/ 2147483647 h 32"/>
              <a:gd name="T18" fmla="*/ 2147483647 w 58"/>
              <a:gd name="T19" fmla="*/ 2147483647 h 32"/>
              <a:gd name="T20" fmla="*/ 2147483647 w 58"/>
              <a:gd name="T21" fmla="*/ 2147483647 h 32"/>
              <a:gd name="T22" fmla="*/ 2147483647 w 58"/>
              <a:gd name="T23" fmla="*/ 2147483647 h 32"/>
              <a:gd name="T24" fmla="*/ 2147483647 w 58"/>
              <a:gd name="T25" fmla="*/ 2147483647 h 32"/>
              <a:gd name="T26" fmla="*/ 2147483647 w 58"/>
              <a:gd name="T27" fmla="*/ 2147483647 h 32"/>
              <a:gd name="T28" fmla="*/ 0 w 58"/>
              <a:gd name="T29" fmla="*/ 2147483647 h 32"/>
              <a:gd name="T30" fmla="*/ 2147483647 w 58"/>
              <a:gd name="T31" fmla="*/ 2147483647 h 32"/>
              <a:gd name="T32" fmla="*/ 2147483647 w 58"/>
              <a:gd name="T33" fmla="*/ 2147483647 h 3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58"/>
              <a:gd name="T52" fmla="*/ 0 h 32"/>
              <a:gd name="T53" fmla="*/ 58 w 58"/>
              <a:gd name="T54" fmla="*/ 32 h 32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58" h="32">
                <a:moveTo>
                  <a:pt x="10" y="8"/>
                </a:moveTo>
                <a:lnTo>
                  <a:pt x="14" y="4"/>
                </a:lnTo>
                <a:lnTo>
                  <a:pt x="30" y="0"/>
                </a:lnTo>
                <a:lnTo>
                  <a:pt x="38" y="0"/>
                </a:lnTo>
                <a:lnTo>
                  <a:pt x="42" y="8"/>
                </a:lnTo>
                <a:lnTo>
                  <a:pt x="48" y="12"/>
                </a:lnTo>
                <a:lnTo>
                  <a:pt x="58" y="12"/>
                </a:lnTo>
                <a:lnTo>
                  <a:pt x="52" y="20"/>
                </a:lnTo>
                <a:lnTo>
                  <a:pt x="38" y="28"/>
                </a:lnTo>
                <a:lnTo>
                  <a:pt x="26" y="32"/>
                </a:lnTo>
                <a:lnTo>
                  <a:pt x="26" y="20"/>
                </a:lnTo>
                <a:lnTo>
                  <a:pt x="18" y="20"/>
                </a:lnTo>
                <a:lnTo>
                  <a:pt x="10" y="22"/>
                </a:lnTo>
                <a:lnTo>
                  <a:pt x="4" y="28"/>
                </a:lnTo>
                <a:lnTo>
                  <a:pt x="0" y="20"/>
                </a:lnTo>
                <a:lnTo>
                  <a:pt x="6" y="14"/>
                </a:lnTo>
                <a:lnTo>
                  <a:pt x="10" y="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99" name="Freeform 179">
            <a:extLst>
              <a:ext uri="{FF2B5EF4-FFF2-40B4-BE49-F238E27FC236}">
                <a16:creationId xmlns:a16="http://schemas.microsoft.com/office/drawing/2014/main" id="{FDF35110-45B5-057F-A69D-FEA9D6AFA5C1}"/>
              </a:ext>
            </a:extLst>
          </p:cNvPr>
          <p:cNvSpPr>
            <a:spLocks/>
          </p:cNvSpPr>
          <p:nvPr/>
        </p:nvSpPr>
        <p:spPr bwMode="auto">
          <a:xfrm>
            <a:off x="6576484" y="3551767"/>
            <a:ext cx="103717" cy="86784"/>
          </a:xfrm>
          <a:custGeom>
            <a:avLst/>
            <a:gdLst>
              <a:gd name="T0" fmla="*/ 0 w 52"/>
              <a:gd name="T1" fmla="*/ 2147483647 h 44"/>
              <a:gd name="T2" fmla="*/ 2147483647 w 52"/>
              <a:gd name="T3" fmla="*/ 2147483647 h 44"/>
              <a:gd name="T4" fmla="*/ 2147483647 w 52"/>
              <a:gd name="T5" fmla="*/ 0 h 44"/>
              <a:gd name="T6" fmla="*/ 2147483647 w 52"/>
              <a:gd name="T7" fmla="*/ 0 h 44"/>
              <a:gd name="T8" fmla="*/ 2147483647 w 52"/>
              <a:gd name="T9" fmla="*/ 2147483647 h 44"/>
              <a:gd name="T10" fmla="*/ 2147483647 w 52"/>
              <a:gd name="T11" fmla="*/ 2147483647 h 44"/>
              <a:gd name="T12" fmla="*/ 2147483647 w 52"/>
              <a:gd name="T13" fmla="*/ 2147483647 h 44"/>
              <a:gd name="T14" fmla="*/ 2147483647 w 52"/>
              <a:gd name="T15" fmla="*/ 2147483647 h 44"/>
              <a:gd name="T16" fmla="*/ 2147483647 w 52"/>
              <a:gd name="T17" fmla="*/ 2147483647 h 44"/>
              <a:gd name="T18" fmla="*/ 2147483647 w 52"/>
              <a:gd name="T19" fmla="*/ 2147483647 h 44"/>
              <a:gd name="T20" fmla="*/ 2147483647 w 52"/>
              <a:gd name="T21" fmla="*/ 2147483647 h 44"/>
              <a:gd name="T22" fmla="*/ 2147483647 w 52"/>
              <a:gd name="T23" fmla="*/ 2147483647 h 44"/>
              <a:gd name="T24" fmla="*/ 2147483647 w 52"/>
              <a:gd name="T25" fmla="*/ 2147483647 h 44"/>
              <a:gd name="T26" fmla="*/ 2147483647 w 52"/>
              <a:gd name="T27" fmla="*/ 2147483647 h 44"/>
              <a:gd name="T28" fmla="*/ 2147483647 w 52"/>
              <a:gd name="T29" fmla="*/ 2147483647 h 44"/>
              <a:gd name="T30" fmla="*/ 2147483647 w 52"/>
              <a:gd name="T31" fmla="*/ 2147483647 h 44"/>
              <a:gd name="T32" fmla="*/ 2147483647 w 52"/>
              <a:gd name="T33" fmla="*/ 2147483647 h 44"/>
              <a:gd name="T34" fmla="*/ 2147483647 w 52"/>
              <a:gd name="T35" fmla="*/ 2147483647 h 44"/>
              <a:gd name="T36" fmla="*/ 2147483647 w 52"/>
              <a:gd name="T37" fmla="*/ 2147483647 h 44"/>
              <a:gd name="T38" fmla="*/ 2147483647 w 52"/>
              <a:gd name="T39" fmla="*/ 2147483647 h 44"/>
              <a:gd name="T40" fmla="*/ 0 w 52"/>
              <a:gd name="T41" fmla="*/ 2147483647 h 44"/>
              <a:gd name="T42" fmla="*/ 0 w 52"/>
              <a:gd name="T43" fmla="*/ 2147483647 h 44"/>
              <a:gd name="T44" fmla="*/ 0 w 52"/>
              <a:gd name="T45" fmla="*/ 2147483647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52"/>
              <a:gd name="T70" fmla="*/ 0 h 44"/>
              <a:gd name="T71" fmla="*/ 52 w 52"/>
              <a:gd name="T72" fmla="*/ 44 h 4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52" h="44">
                <a:moveTo>
                  <a:pt x="0" y="6"/>
                </a:moveTo>
                <a:lnTo>
                  <a:pt x="6" y="4"/>
                </a:lnTo>
                <a:lnTo>
                  <a:pt x="16" y="0"/>
                </a:lnTo>
                <a:lnTo>
                  <a:pt x="24" y="0"/>
                </a:lnTo>
                <a:lnTo>
                  <a:pt x="28" y="4"/>
                </a:lnTo>
                <a:lnTo>
                  <a:pt x="30" y="10"/>
                </a:lnTo>
                <a:lnTo>
                  <a:pt x="32" y="18"/>
                </a:lnTo>
                <a:lnTo>
                  <a:pt x="36" y="24"/>
                </a:lnTo>
                <a:lnTo>
                  <a:pt x="40" y="28"/>
                </a:lnTo>
                <a:lnTo>
                  <a:pt x="46" y="30"/>
                </a:lnTo>
                <a:lnTo>
                  <a:pt x="50" y="34"/>
                </a:lnTo>
                <a:lnTo>
                  <a:pt x="52" y="38"/>
                </a:lnTo>
                <a:lnTo>
                  <a:pt x="50" y="44"/>
                </a:lnTo>
                <a:lnTo>
                  <a:pt x="42" y="42"/>
                </a:lnTo>
                <a:lnTo>
                  <a:pt x="40" y="34"/>
                </a:lnTo>
                <a:lnTo>
                  <a:pt x="34" y="32"/>
                </a:lnTo>
                <a:lnTo>
                  <a:pt x="28" y="28"/>
                </a:lnTo>
                <a:lnTo>
                  <a:pt x="20" y="28"/>
                </a:lnTo>
                <a:lnTo>
                  <a:pt x="18" y="32"/>
                </a:lnTo>
                <a:lnTo>
                  <a:pt x="12" y="28"/>
                </a:lnTo>
                <a:lnTo>
                  <a:pt x="0" y="28"/>
                </a:lnTo>
                <a:lnTo>
                  <a:pt x="0" y="16"/>
                </a:lnTo>
                <a:lnTo>
                  <a:pt x="0" y="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0" name="Freeform 180">
            <a:extLst>
              <a:ext uri="{FF2B5EF4-FFF2-40B4-BE49-F238E27FC236}">
                <a16:creationId xmlns:a16="http://schemas.microsoft.com/office/drawing/2014/main" id="{4F36190A-625F-B94D-C237-65818FFE1B10}"/>
              </a:ext>
            </a:extLst>
          </p:cNvPr>
          <p:cNvSpPr>
            <a:spLocks/>
          </p:cNvSpPr>
          <p:nvPr/>
        </p:nvSpPr>
        <p:spPr bwMode="auto">
          <a:xfrm>
            <a:off x="6623051" y="3532717"/>
            <a:ext cx="165100" cy="127000"/>
          </a:xfrm>
          <a:custGeom>
            <a:avLst/>
            <a:gdLst>
              <a:gd name="T0" fmla="*/ 2147483647 w 84"/>
              <a:gd name="T1" fmla="*/ 0 h 66"/>
              <a:gd name="T2" fmla="*/ 2147483647 w 84"/>
              <a:gd name="T3" fmla="*/ 2147483647 h 66"/>
              <a:gd name="T4" fmla="*/ 2147483647 w 84"/>
              <a:gd name="T5" fmla="*/ 2147483647 h 66"/>
              <a:gd name="T6" fmla="*/ 2147483647 w 84"/>
              <a:gd name="T7" fmla="*/ 2147483647 h 66"/>
              <a:gd name="T8" fmla="*/ 2147483647 w 84"/>
              <a:gd name="T9" fmla="*/ 2147483647 h 66"/>
              <a:gd name="T10" fmla="*/ 2147483647 w 84"/>
              <a:gd name="T11" fmla="*/ 2147483647 h 66"/>
              <a:gd name="T12" fmla="*/ 2147483647 w 84"/>
              <a:gd name="T13" fmla="*/ 2147483647 h 66"/>
              <a:gd name="T14" fmla="*/ 2147483647 w 84"/>
              <a:gd name="T15" fmla="*/ 2147483647 h 66"/>
              <a:gd name="T16" fmla="*/ 2147483647 w 84"/>
              <a:gd name="T17" fmla="*/ 2147483647 h 66"/>
              <a:gd name="T18" fmla="*/ 2147483647 w 84"/>
              <a:gd name="T19" fmla="*/ 2147483647 h 66"/>
              <a:gd name="T20" fmla="*/ 2147483647 w 84"/>
              <a:gd name="T21" fmla="*/ 2147483647 h 66"/>
              <a:gd name="T22" fmla="*/ 2147483647 w 84"/>
              <a:gd name="T23" fmla="*/ 2147483647 h 66"/>
              <a:gd name="T24" fmla="*/ 2147483647 w 84"/>
              <a:gd name="T25" fmla="*/ 2147483647 h 66"/>
              <a:gd name="T26" fmla="*/ 2147483647 w 84"/>
              <a:gd name="T27" fmla="*/ 2147483647 h 66"/>
              <a:gd name="T28" fmla="*/ 2147483647 w 84"/>
              <a:gd name="T29" fmla="*/ 2147483647 h 66"/>
              <a:gd name="T30" fmla="*/ 2147483647 w 84"/>
              <a:gd name="T31" fmla="*/ 2147483647 h 66"/>
              <a:gd name="T32" fmla="*/ 2147483647 w 84"/>
              <a:gd name="T33" fmla="*/ 2147483647 h 66"/>
              <a:gd name="T34" fmla="*/ 2147483647 w 84"/>
              <a:gd name="T35" fmla="*/ 2147483647 h 66"/>
              <a:gd name="T36" fmla="*/ 2147483647 w 84"/>
              <a:gd name="T37" fmla="*/ 2147483647 h 66"/>
              <a:gd name="T38" fmla="*/ 2147483647 w 84"/>
              <a:gd name="T39" fmla="*/ 2147483647 h 66"/>
              <a:gd name="T40" fmla="*/ 2147483647 w 84"/>
              <a:gd name="T41" fmla="*/ 2147483647 h 66"/>
              <a:gd name="T42" fmla="*/ 2147483647 w 84"/>
              <a:gd name="T43" fmla="*/ 2147483647 h 66"/>
              <a:gd name="T44" fmla="*/ 2147483647 w 84"/>
              <a:gd name="T45" fmla="*/ 2147483647 h 66"/>
              <a:gd name="T46" fmla="*/ 2147483647 w 84"/>
              <a:gd name="T47" fmla="*/ 2147483647 h 66"/>
              <a:gd name="T48" fmla="*/ 2147483647 w 84"/>
              <a:gd name="T49" fmla="*/ 2147483647 h 66"/>
              <a:gd name="T50" fmla="*/ 2147483647 w 84"/>
              <a:gd name="T51" fmla="*/ 2147483647 h 66"/>
              <a:gd name="T52" fmla="*/ 2147483647 w 84"/>
              <a:gd name="T53" fmla="*/ 2147483647 h 66"/>
              <a:gd name="T54" fmla="*/ 2147483647 w 84"/>
              <a:gd name="T55" fmla="*/ 2147483647 h 66"/>
              <a:gd name="T56" fmla="*/ 2147483647 w 84"/>
              <a:gd name="T57" fmla="*/ 2147483647 h 66"/>
              <a:gd name="T58" fmla="*/ 2147483647 w 84"/>
              <a:gd name="T59" fmla="*/ 2147483647 h 66"/>
              <a:gd name="T60" fmla="*/ 2147483647 w 84"/>
              <a:gd name="T61" fmla="*/ 2147483647 h 66"/>
              <a:gd name="T62" fmla="*/ 2147483647 w 84"/>
              <a:gd name="T63" fmla="*/ 2147483647 h 66"/>
              <a:gd name="T64" fmla="*/ 2147483647 w 84"/>
              <a:gd name="T65" fmla="*/ 2147483647 h 66"/>
              <a:gd name="T66" fmla="*/ 2147483647 w 84"/>
              <a:gd name="T67" fmla="*/ 2147483647 h 66"/>
              <a:gd name="T68" fmla="*/ 2147483647 w 84"/>
              <a:gd name="T69" fmla="*/ 2147483647 h 66"/>
              <a:gd name="T70" fmla="*/ 2147483647 w 84"/>
              <a:gd name="T71" fmla="*/ 2147483647 h 66"/>
              <a:gd name="T72" fmla="*/ 2147483647 w 84"/>
              <a:gd name="T73" fmla="*/ 2147483647 h 66"/>
              <a:gd name="T74" fmla="*/ 2147483647 w 84"/>
              <a:gd name="T75" fmla="*/ 2147483647 h 66"/>
              <a:gd name="T76" fmla="*/ 2147483647 w 84"/>
              <a:gd name="T77" fmla="*/ 2147483647 h 66"/>
              <a:gd name="T78" fmla="*/ 0 w 84"/>
              <a:gd name="T79" fmla="*/ 2147483647 h 66"/>
              <a:gd name="T80" fmla="*/ 2147483647 w 84"/>
              <a:gd name="T81" fmla="*/ 2147483647 h 66"/>
              <a:gd name="T82" fmla="*/ 2147483647 w 84"/>
              <a:gd name="T83" fmla="*/ 2147483647 h 66"/>
              <a:gd name="T84" fmla="*/ 2147483647 w 84"/>
              <a:gd name="T85" fmla="*/ 2147483647 h 66"/>
              <a:gd name="T86" fmla="*/ 2147483647 w 84"/>
              <a:gd name="T87" fmla="*/ 2147483647 h 66"/>
              <a:gd name="T88" fmla="*/ 2147483647 w 84"/>
              <a:gd name="T89" fmla="*/ 2147483647 h 66"/>
              <a:gd name="T90" fmla="*/ 2147483647 w 84"/>
              <a:gd name="T91" fmla="*/ 2147483647 h 66"/>
              <a:gd name="T92" fmla="*/ 2147483647 w 84"/>
              <a:gd name="T93" fmla="*/ 2147483647 h 66"/>
              <a:gd name="T94" fmla="*/ 2147483647 w 84"/>
              <a:gd name="T95" fmla="*/ 0 h 6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84"/>
              <a:gd name="T145" fmla="*/ 0 h 66"/>
              <a:gd name="T146" fmla="*/ 84 w 84"/>
              <a:gd name="T147" fmla="*/ 66 h 6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84" h="66">
                <a:moveTo>
                  <a:pt x="20" y="0"/>
                </a:moveTo>
                <a:lnTo>
                  <a:pt x="26" y="2"/>
                </a:lnTo>
                <a:lnTo>
                  <a:pt x="32" y="8"/>
                </a:lnTo>
                <a:lnTo>
                  <a:pt x="42" y="14"/>
                </a:lnTo>
                <a:lnTo>
                  <a:pt x="46" y="12"/>
                </a:lnTo>
                <a:lnTo>
                  <a:pt x="52" y="6"/>
                </a:lnTo>
                <a:lnTo>
                  <a:pt x="56" y="2"/>
                </a:lnTo>
                <a:lnTo>
                  <a:pt x="60" y="8"/>
                </a:lnTo>
                <a:lnTo>
                  <a:pt x="66" y="20"/>
                </a:lnTo>
                <a:lnTo>
                  <a:pt x="70" y="24"/>
                </a:lnTo>
                <a:lnTo>
                  <a:pt x="80" y="28"/>
                </a:lnTo>
                <a:lnTo>
                  <a:pt x="84" y="30"/>
                </a:lnTo>
                <a:lnTo>
                  <a:pt x="84" y="36"/>
                </a:lnTo>
                <a:lnTo>
                  <a:pt x="72" y="36"/>
                </a:lnTo>
                <a:lnTo>
                  <a:pt x="68" y="38"/>
                </a:lnTo>
                <a:lnTo>
                  <a:pt x="66" y="44"/>
                </a:lnTo>
                <a:lnTo>
                  <a:pt x="68" y="48"/>
                </a:lnTo>
                <a:lnTo>
                  <a:pt x="68" y="50"/>
                </a:lnTo>
                <a:lnTo>
                  <a:pt x="68" y="52"/>
                </a:lnTo>
                <a:lnTo>
                  <a:pt x="68" y="54"/>
                </a:lnTo>
                <a:lnTo>
                  <a:pt x="60" y="54"/>
                </a:lnTo>
                <a:lnTo>
                  <a:pt x="60" y="58"/>
                </a:lnTo>
                <a:lnTo>
                  <a:pt x="60" y="62"/>
                </a:lnTo>
                <a:lnTo>
                  <a:pt x="60" y="66"/>
                </a:lnTo>
                <a:lnTo>
                  <a:pt x="52" y="66"/>
                </a:lnTo>
                <a:lnTo>
                  <a:pt x="46" y="62"/>
                </a:lnTo>
                <a:lnTo>
                  <a:pt x="52" y="58"/>
                </a:lnTo>
                <a:lnTo>
                  <a:pt x="48" y="52"/>
                </a:lnTo>
                <a:lnTo>
                  <a:pt x="48" y="44"/>
                </a:lnTo>
                <a:lnTo>
                  <a:pt x="44" y="42"/>
                </a:lnTo>
                <a:lnTo>
                  <a:pt x="42" y="44"/>
                </a:lnTo>
                <a:lnTo>
                  <a:pt x="38" y="48"/>
                </a:lnTo>
                <a:lnTo>
                  <a:pt x="32" y="52"/>
                </a:lnTo>
                <a:lnTo>
                  <a:pt x="26" y="56"/>
                </a:lnTo>
                <a:lnTo>
                  <a:pt x="28" y="50"/>
                </a:lnTo>
                <a:lnTo>
                  <a:pt x="26" y="46"/>
                </a:lnTo>
                <a:lnTo>
                  <a:pt x="12" y="36"/>
                </a:lnTo>
                <a:lnTo>
                  <a:pt x="6" y="20"/>
                </a:lnTo>
                <a:lnTo>
                  <a:pt x="4" y="16"/>
                </a:lnTo>
                <a:lnTo>
                  <a:pt x="0" y="12"/>
                </a:lnTo>
                <a:lnTo>
                  <a:pt x="6" y="8"/>
                </a:lnTo>
                <a:lnTo>
                  <a:pt x="12" y="12"/>
                </a:lnTo>
                <a:lnTo>
                  <a:pt x="18" y="18"/>
                </a:lnTo>
                <a:lnTo>
                  <a:pt x="24" y="18"/>
                </a:lnTo>
                <a:lnTo>
                  <a:pt x="26" y="14"/>
                </a:lnTo>
                <a:lnTo>
                  <a:pt x="22" y="8"/>
                </a:lnTo>
                <a:lnTo>
                  <a:pt x="16" y="2"/>
                </a:lnTo>
                <a:lnTo>
                  <a:pt x="2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1" name="Freeform 181">
            <a:extLst>
              <a:ext uri="{FF2B5EF4-FFF2-40B4-BE49-F238E27FC236}">
                <a16:creationId xmlns:a16="http://schemas.microsoft.com/office/drawing/2014/main" id="{61EE05F3-39CC-8894-453E-051008CF5410}"/>
              </a:ext>
            </a:extLst>
          </p:cNvPr>
          <p:cNvSpPr>
            <a:spLocks/>
          </p:cNvSpPr>
          <p:nvPr/>
        </p:nvSpPr>
        <p:spPr bwMode="auto">
          <a:xfrm>
            <a:off x="6457951" y="3467100"/>
            <a:ext cx="213784" cy="103717"/>
          </a:xfrm>
          <a:custGeom>
            <a:avLst/>
            <a:gdLst>
              <a:gd name="T0" fmla="*/ 0 w 108"/>
              <a:gd name="T1" fmla="*/ 2147483647 h 50"/>
              <a:gd name="T2" fmla="*/ 2147483647 w 108"/>
              <a:gd name="T3" fmla="*/ 0 h 50"/>
              <a:gd name="T4" fmla="*/ 2147483647 w 108"/>
              <a:gd name="T5" fmla="*/ 2147483647 h 50"/>
              <a:gd name="T6" fmla="*/ 2147483647 w 108"/>
              <a:gd name="T7" fmla="*/ 2147483647 h 50"/>
              <a:gd name="T8" fmla="*/ 2147483647 w 108"/>
              <a:gd name="T9" fmla="*/ 2147483647 h 50"/>
              <a:gd name="T10" fmla="*/ 2147483647 w 108"/>
              <a:gd name="T11" fmla="*/ 2147483647 h 50"/>
              <a:gd name="T12" fmla="*/ 2147483647 w 108"/>
              <a:gd name="T13" fmla="*/ 2147483647 h 50"/>
              <a:gd name="T14" fmla="*/ 2147483647 w 108"/>
              <a:gd name="T15" fmla="*/ 2147483647 h 50"/>
              <a:gd name="T16" fmla="*/ 2147483647 w 108"/>
              <a:gd name="T17" fmla="*/ 2147483647 h 50"/>
              <a:gd name="T18" fmla="*/ 2147483647 w 108"/>
              <a:gd name="T19" fmla="*/ 2147483647 h 50"/>
              <a:gd name="T20" fmla="*/ 2147483647 w 108"/>
              <a:gd name="T21" fmla="*/ 2147483647 h 50"/>
              <a:gd name="T22" fmla="*/ 2147483647 w 108"/>
              <a:gd name="T23" fmla="*/ 2147483647 h 50"/>
              <a:gd name="T24" fmla="*/ 2147483647 w 108"/>
              <a:gd name="T25" fmla="*/ 2147483647 h 50"/>
              <a:gd name="T26" fmla="*/ 2147483647 w 108"/>
              <a:gd name="T27" fmla="*/ 2147483647 h 50"/>
              <a:gd name="T28" fmla="*/ 2147483647 w 108"/>
              <a:gd name="T29" fmla="*/ 2147483647 h 50"/>
              <a:gd name="T30" fmla="*/ 2147483647 w 108"/>
              <a:gd name="T31" fmla="*/ 2147483647 h 50"/>
              <a:gd name="T32" fmla="*/ 2147483647 w 108"/>
              <a:gd name="T33" fmla="*/ 2147483647 h 50"/>
              <a:gd name="T34" fmla="*/ 2147483647 w 108"/>
              <a:gd name="T35" fmla="*/ 2147483647 h 50"/>
              <a:gd name="T36" fmla="*/ 2147483647 w 108"/>
              <a:gd name="T37" fmla="*/ 2147483647 h 50"/>
              <a:gd name="T38" fmla="*/ 2147483647 w 108"/>
              <a:gd name="T39" fmla="*/ 2147483647 h 50"/>
              <a:gd name="T40" fmla="*/ 2147483647 w 108"/>
              <a:gd name="T41" fmla="*/ 2147483647 h 50"/>
              <a:gd name="T42" fmla="*/ 2147483647 w 108"/>
              <a:gd name="T43" fmla="*/ 2147483647 h 50"/>
              <a:gd name="T44" fmla="*/ 2147483647 w 108"/>
              <a:gd name="T45" fmla="*/ 2147483647 h 50"/>
              <a:gd name="T46" fmla="*/ 2147483647 w 108"/>
              <a:gd name="T47" fmla="*/ 2147483647 h 50"/>
              <a:gd name="T48" fmla="*/ 2147483647 w 108"/>
              <a:gd name="T49" fmla="*/ 2147483647 h 50"/>
              <a:gd name="T50" fmla="*/ 2147483647 w 108"/>
              <a:gd name="T51" fmla="*/ 2147483647 h 50"/>
              <a:gd name="T52" fmla="*/ 2147483647 w 108"/>
              <a:gd name="T53" fmla="*/ 2147483647 h 50"/>
              <a:gd name="T54" fmla="*/ 2147483647 w 108"/>
              <a:gd name="T55" fmla="*/ 2147483647 h 50"/>
              <a:gd name="T56" fmla="*/ 2147483647 w 108"/>
              <a:gd name="T57" fmla="*/ 2147483647 h 50"/>
              <a:gd name="T58" fmla="*/ 2147483647 w 108"/>
              <a:gd name="T59" fmla="*/ 2147483647 h 50"/>
              <a:gd name="T60" fmla="*/ 2147483647 w 108"/>
              <a:gd name="T61" fmla="*/ 2147483647 h 50"/>
              <a:gd name="T62" fmla="*/ 2147483647 w 108"/>
              <a:gd name="T63" fmla="*/ 2147483647 h 50"/>
              <a:gd name="T64" fmla="*/ 2147483647 w 108"/>
              <a:gd name="T65" fmla="*/ 2147483647 h 50"/>
              <a:gd name="T66" fmla="*/ 2147483647 w 108"/>
              <a:gd name="T67" fmla="*/ 2147483647 h 50"/>
              <a:gd name="T68" fmla="*/ 0 w 108"/>
              <a:gd name="T69" fmla="*/ 2147483647 h 50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08"/>
              <a:gd name="T106" fmla="*/ 0 h 50"/>
              <a:gd name="T107" fmla="*/ 108 w 108"/>
              <a:gd name="T108" fmla="*/ 50 h 50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08" h="50">
                <a:moveTo>
                  <a:pt x="0" y="2"/>
                </a:moveTo>
                <a:lnTo>
                  <a:pt x="12" y="0"/>
                </a:lnTo>
                <a:lnTo>
                  <a:pt x="18" y="4"/>
                </a:lnTo>
                <a:lnTo>
                  <a:pt x="24" y="8"/>
                </a:lnTo>
                <a:lnTo>
                  <a:pt x="34" y="6"/>
                </a:lnTo>
                <a:lnTo>
                  <a:pt x="42" y="6"/>
                </a:lnTo>
                <a:lnTo>
                  <a:pt x="52" y="12"/>
                </a:lnTo>
                <a:lnTo>
                  <a:pt x="56" y="14"/>
                </a:lnTo>
                <a:lnTo>
                  <a:pt x="66" y="18"/>
                </a:lnTo>
                <a:lnTo>
                  <a:pt x="72" y="18"/>
                </a:lnTo>
                <a:lnTo>
                  <a:pt x="82" y="16"/>
                </a:lnTo>
                <a:lnTo>
                  <a:pt x="92" y="22"/>
                </a:lnTo>
                <a:lnTo>
                  <a:pt x="94" y="24"/>
                </a:lnTo>
                <a:lnTo>
                  <a:pt x="102" y="32"/>
                </a:lnTo>
                <a:lnTo>
                  <a:pt x="98" y="34"/>
                </a:lnTo>
                <a:lnTo>
                  <a:pt x="104" y="40"/>
                </a:lnTo>
                <a:lnTo>
                  <a:pt x="108" y="46"/>
                </a:lnTo>
                <a:lnTo>
                  <a:pt x="106" y="50"/>
                </a:lnTo>
                <a:lnTo>
                  <a:pt x="100" y="50"/>
                </a:lnTo>
                <a:lnTo>
                  <a:pt x="88" y="40"/>
                </a:lnTo>
                <a:lnTo>
                  <a:pt x="82" y="44"/>
                </a:lnTo>
                <a:lnTo>
                  <a:pt x="74" y="44"/>
                </a:lnTo>
                <a:lnTo>
                  <a:pt x="66" y="46"/>
                </a:lnTo>
                <a:lnTo>
                  <a:pt x="58" y="50"/>
                </a:lnTo>
                <a:lnTo>
                  <a:pt x="52" y="46"/>
                </a:lnTo>
                <a:lnTo>
                  <a:pt x="46" y="40"/>
                </a:lnTo>
                <a:lnTo>
                  <a:pt x="38" y="38"/>
                </a:lnTo>
                <a:lnTo>
                  <a:pt x="36" y="44"/>
                </a:lnTo>
                <a:lnTo>
                  <a:pt x="26" y="40"/>
                </a:lnTo>
                <a:lnTo>
                  <a:pt x="30" y="32"/>
                </a:lnTo>
                <a:lnTo>
                  <a:pt x="26" y="22"/>
                </a:lnTo>
                <a:lnTo>
                  <a:pt x="20" y="14"/>
                </a:lnTo>
                <a:lnTo>
                  <a:pt x="12" y="10"/>
                </a:lnTo>
                <a:lnTo>
                  <a:pt x="6" y="6"/>
                </a:lnTo>
                <a:lnTo>
                  <a:pt x="0" y="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2" name="Freeform 182">
            <a:extLst>
              <a:ext uri="{FF2B5EF4-FFF2-40B4-BE49-F238E27FC236}">
                <a16:creationId xmlns:a16="http://schemas.microsoft.com/office/drawing/2014/main" id="{94879DCA-3F13-B212-C0A1-0D94854835A7}"/>
              </a:ext>
            </a:extLst>
          </p:cNvPr>
          <p:cNvSpPr>
            <a:spLocks/>
          </p:cNvSpPr>
          <p:nvPr/>
        </p:nvSpPr>
        <p:spPr bwMode="auto">
          <a:xfrm>
            <a:off x="6853768" y="3505200"/>
            <a:ext cx="436033" cy="270933"/>
          </a:xfrm>
          <a:custGeom>
            <a:avLst/>
            <a:gdLst>
              <a:gd name="T0" fmla="*/ 2147483647 w 222"/>
              <a:gd name="T1" fmla="*/ 2147483647 h 138"/>
              <a:gd name="T2" fmla="*/ 2147483647 w 222"/>
              <a:gd name="T3" fmla="*/ 2147483647 h 138"/>
              <a:gd name="T4" fmla="*/ 2147483647 w 222"/>
              <a:gd name="T5" fmla="*/ 2147483647 h 138"/>
              <a:gd name="T6" fmla="*/ 2147483647 w 222"/>
              <a:gd name="T7" fmla="*/ 2147483647 h 138"/>
              <a:gd name="T8" fmla="*/ 2147483647 w 222"/>
              <a:gd name="T9" fmla="*/ 2147483647 h 138"/>
              <a:gd name="T10" fmla="*/ 0 w 222"/>
              <a:gd name="T11" fmla="*/ 2147483647 h 138"/>
              <a:gd name="T12" fmla="*/ 0 w 222"/>
              <a:gd name="T13" fmla="*/ 2147483647 h 138"/>
              <a:gd name="T14" fmla="*/ 2147483647 w 222"/>
              <a:gd name="T15" fmla="*/ 2147483647 h 138"/>
              <a:gd name="T16" fmla="*/ 2147483647 w 222"/>
              <a:gd name="T17" fmla="*/ 2147483647 h 138"/>
              <a:gd name="T18" fmla="*/ 2147483647 w 222"/>
              <a:gd name="T19" fmla="*/ 2147483647 h 138"/>
              <a:gd name="T20" fmla="*/ 2147483647 w 222"/>
              <a:gd name="T21" fmla="*/ 2147483647 h 138"/>
              <a:gd name="T22" fmla="*/ 2147483647 w 222"/>
              <a:gd name="T23" fmla="*/ 2147483647 h 138"/>
              <a:gd name="T24" fmla="*/ 2147483647 w 222"/>
              <a:gd name="T25" fmla="*/ 2147483647 h 138"/>
              <a:gd name="T26" fmla="*/ 2147483647 w 222"/>
              <a:gd name="T27" fmla="*/ 2147483647 h 138"/>
              <a:gd name="T28" fmla="*/ 2147483647 w 222"/>
              <a:gd name="T29" fmla="*/ 2147483647 h 138"/>
              <a:gd name="T30" fmla="*/ 2147483647 w 222"/>
              <a:gd name="T31" fmla="*/ 2147483647 h 138"/>
              <a:gd name="T32" fmla="*/ 0 w 222"/>
              <a:gd name="T33" fmla="*/ 2147483647 h 138"/>
              <a:gd name="T34" fmla="*/ 0 w 222"/>
              <a:gd name="T35" fmla="*/ 2147483647 h 138"/>
              <a:gd name="T36" fmla="*/ 2147483647 w 222"/>
              <a:gd name="T37" fmla="*/ 2147483647 h 138"/>
              <a:gd name="T38" fmla="*/ 2147483647 w 222"/>
              <a:gd name="T39" fmla="*/ 2147483647 h 138"/>
              <a:gd name="T40" fmla="*/ 2147483647 w 222"/>
              <a:gd name="T41" fmla="*/ 2147483647 h 138"/>
              <a:gd name="T42" fmla="*/ 2147483647 w 222"/>
              <a:gd name="T43" fmla="*/ 2147483647 h 138"/>
              <a:gd name="T44" fmla="*/ 2147483647 w 222"/>
              <a:gd name="T45" fmla="*/ 2147483647 h 138"/>
              <a:gd name="T46" fmla="*/ 2147483647 w 222"/>
              <a:gd name="T47" fmla="*/ 2147483647 h 138"/>
              <a:gd name="T48" fmla="*/ 2147483647 w 222"/>
              <a:gd name="T49" fmla="*/ 2147483647 h 138"/>
              <a:gd name="T50" fmla="*/ 2147483647 w 222"/>
              <a:gd name="T51" fmla="*/ 0 h 138"/>
              <a:gd name="T52" fmla="*/ 2147483647 w 222"/>
              <a:gd name="T53" fmla="*/ 2147483647 h 138"/>
              <a:gd name="T54" fmla="*/ 2147483647 w 222"/>
              <a:gd name="T55" fmla="*/ 2147483647 h 138"/>
              <a:gd name="T56" fmla="*/ 2147483647 w 222"/>
              <a:gd name="T57" fmla="*/ 2147483647 h 138"/>
              <a:gd name="T58" fmla="*/ 2147483647 w 222"/>
              <a:gd name="T59" fmla="*/ 2147483647 h 138"/>
              <a:gd name="T60" fmla="*/ 2147483647 w 222"/>
              <a:gd name="T61" fmla="*/ 2147483647 h 138"/>
              <a:gd name="T62" fmla="*/ 2147483647 w 222"/>
              <a:gd name="T63" fmla="*/ 2147483647 h 138"/>
              <a:gd name="T64" fmla="*/ 2147483647 w 222"/>
              <a:gd name="T65" fmla="*/ 2147483647 h 138"/>
              <a:gd name="T66" fmla="*/ 2147483647 w 222"/>
              <a:gd name="T67" fmla="*/ 2147483647 h 138"/>
              <a:gd name="T68" fmla="*/ 2147483647 w 222"/>
              <a:gd name="T69" fmla="*/ 2147483647 h 138"/>
              <a:gd name="T70" fmla="*/ 2147483647 w 222"/>
              <a:gd name="T71" fmla="*/ 2147483647 h 138"/>
              <a:gd name="T72" fmla="*/ 2147483647 w 222"/>
              <a:gd name="T73" fmla="*/ 2147483647 h 138"/>
              <a:gd name="T74" fmla="*/ 2147483647 w 222"/>
              <a:gd name="T75" fmla="*/ 2147483647 h 138"/>
              <a:gd name="T76" fmla="*/ 2147483647 w 222"/>
              <a:gd name="T77" fmla="*/ 2147483647 h 138"/>
              <a:gd name="T78" fmla="*/ 2147483647 w 222"/>
              <a:gd name="T79" fmla="*/ 2147483647 h 138"/>
              <a:gd name="T80" fmla="*/ 2147483647 w 222"/>
              <a:gd name="T81" fmla="*/ 2147483647 h 138"/>
              <a:gd name="T82" fmla="*/ 2147483647 w 222"/>
              <a:gd name="T83" fmla="*/ 2147483647 h 138"/>
              <a:gd name="T84" fmla="*/ 2147483647 w 222"/>
              <a:gd name="T85" fmla="*/ 2147483647 h 138"/>
              <a:gd name="T86" fmla="*/ 2147483647 w 222"/>
              <a:gd name="T87" fmla="*/ 2147483647 h 138"/>
              <a:gd name="T88" fmla="*/ 2147483647 w 222"/>
              <a:gd name="T89" fmla="*/ 2147483647 h 138"/>
              <a:gd name="T90" fmla="*/ 2147483647 w 222"/>
              <a:gd name="T91" fmla="*/ 2147483647 h 138"/>
              <a:gd name="T92" fmla="*/ 2147483647 w 222"/>
              <a:gd name="T93" fmla="*/ 2147483647 h 138"/>
              <a:gd name="T94" fmla="*/ 2147483647 w 222"/>
              <a:gd name="T95" fmla="*/ 2147483647 h 138"/>
              <a:gd name="T96" fmla="*/ 2147483647 w 222"/>
              <a:gd name="T97" fmla="*/ 2147483647 h 138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222"/>
              <a:gd name="T148" fmla="*/ 0 h 138"/>
              <a:gd name="T149" fmla="*/ 222 w 222"/>
              <a:gd name="T150" fmla="*/ 138 h 138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222" h="138">
                <a:moveTo>
                  <a:pt x="20" y="104"/>
                </a:moveTo>
                <a:lnTo>
                  <a:pt x="18" y="80"/>
                </a:lnTo>
                <a:lnTo>
                  <a:pt x="24" y="72"/>
                </a:lnTo>
                <a:lnTo>
                  <a:pt x="12" y="56"/>
                </a:lnTo>
                <a:lnTo>
                  <a:pt x="8" y="50"/>
                </a:lnTo>
                <a:lnTo>
                  <a:pt x="0" y="52"/>
                </a:lnTo>
                <a:lnTo>
                  <a:pt x="0" y="44"/>
                </a:lnTo>
                <a:lnTo>
                  <a:pt x="6" y="36"/>
                </a:lnTo>
                <a:lnTo>
                  <a:pt x="12" y="40"/>
                </a:lnTo>
                <a:lnTo>
                  <a:pt x="28" y="40"/>
                </a:lnTo>
                <a:lnTo>
                  <a:pt x="34" y="32"/>
                </a:lnTo>
                <a:lnTo>
                  <a:pt x="26" y="24"/>
                </a:lnTo>
                <a:lnTo>
                  <a:pt x="20" y="16"/>
                </a:lnTo>
                <a:lnTo>
                  <a:pt x="14" y="10"/>
                </a:lnTo>
                <a:lnTo>
                  <a:pt x="4" y="14"/>
                </a:lnTo>
                <a:lnTo>
                  <a:pt x="2" y="28"/>
                </a:lnTo>
                <a:lnTo>
                  <a:pt x="0" y="22"/>
                </a:lnTo>
                <a:lnTo>
                  <a:pt x="0" y="12"/>
                </a:lnTo>
                <a:lnTo>
                  <a:pt x="10" y="6"/>
                </a:lnTo>
                <a:lnTo>
                  <a:pt x="24" y="4"/>
                </a:lnTo>
                <a:lnTo>
                  <a:pt x="36" y="12"/>
                </a:lnTo>
                <a:lnTo>
                  <a:pt x="44" y="26"/>
                </a:lnTo>
                <a:lnTo>
                  <a:pt x="54" y="28"/>
                </a:lnTo>
                <a:lnTo>
                  <a:pt x="68" y="26"/>
                </a:lnTo>
                <a:lnTo>
                  <a:pt x="68" y="14"/>
                </a:lnTo>
                <a:lnTo>
                  <a:pt x="96" y="0"/>
                </a:lnTo>
                <a:lnTo>
                  <a:pt x="102" y="6"/>
                </a:lnTo>
                <a:lnTo>
                  <a:pt x="116" y="8"/>
                </a:lnTo>
                <a:lnTo>
                  <a:pt x="118" y="12"/>
                </a:lnTo>
                <a:lnTo>
                  <a:pt x="118" y="28"/>
                </a:lnTo>
                <a:lnTo>
                  <a:pt x="144" y="28"/>
                </a:lnTo>
                <a:lnTo>
                  <a:pt x="158" y="54"/>
                </a:lnTo>
                <a:lnTo>
                  <a:pt x="178" y="66"/>
                </a:lnTo>
                <a:lnTo>
                  <a:pt x="200" y="82"/>
                </a:lnTo>
                <a:lnTo>
                  <a:pt x="212" y="84"/>
                </a:lnTo>
                <a:lnTo>
                  <a:pt x="222" y="90"/>
                </a:lnTo>
                <a:lnTo>
                  <a:pt x="222" y="98"/>
                </a:lnTo>
                <a:lnTo>
                  <a:pt x="210" y="98"/>
                </a:lnTo>
                <a:lnTo>
                  <a:pt x="194" y="104"/>
                </a:lnTo>
                <a:lnTo>
                  <a:pt x="182" y="122"/>
                </a:lnTo>
                <a:lnTo>
                  <a:pt x="170" y="126"/>
                </a:lnTo>
                <a:lnTo>
                  <a:pt x="160" y="138"/>
                </a:lnTo>
                <a:lnTo>
                  <a:pt x="150" y="134"/>
                </a:lnTo>
                <a:lnTo>
                  <a:pt x="138" y="134"/>
                </a:lnTo>
                <a:lnTo>
                  <a:pt x="136" y="112"/>
                </a:lnTo>
                <a:lnTo>
                  <a:pt x="126" y="110"/>
                </a:lnTo>
                <a:lnTo>
                  <a:pt x="68" y="84"/>
                </a:lnTo>
                <a:lnTo>
                  <a:pt x="42" y="88"/>
                </a:lnTo>
                <a:lnTo>
                  <a:pt x="20" y="10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3" name="Freeform 183">
            <a:extLst>
              <a:ext uri="{FF2B5EF4-FFF2-40B4-BE49-F238E27FC236}">
                <a16:creationId xmlns:a16="http://schemas.microsoft.com/office/drawing/2014/main" id="{A3B05C4E-329B-04F0-8D26-712A7ABED00B}"/>
              </a:ext>
            </a:extLst>
          </p:cNvPr>
          <p:cNvSpPr>
            <a:spLocks/>
          </p:cNvSpPr>
          <p:nvPr/>
        </p:nvSpPr>
        <p:spPr bwMode="auto">
          <a:xfrm>
            <a:off x="7319434" y="3570817"/>
            <a:ext cx="232833" cy="146051"/>
          </a:xfrm>
          <a:custGeom>
            <a:avLst/>
            <a:gdLst>
              <a:gd name="T0" fmla="*/ 2147483647 w 118"/>
              <a:gd name="T1" fmla="*/ 2147483647 h 76"/>
              <a:gd name="T2" fmla="*/ 2147483647 w 118"/>
              <a:gd name="T3" fmla="*/ 2147483647 h 76"/>
              <a:gd name="T4" fmla="*/ 2147483647 w 118"/>
              <a:gd name="T5" fmla="*/ 2147483647 h 76"/>
              <a:gd name="T6" fmla="*/ 2147483647 w 118"/>
              <a:gd name="T7" fmla="*/ 0 h 76"/>
              <a:gd name="T8" fmla="*/ 2147483647 w 118"/>
              <a:gd name="T9" fmla="*/ 2147483647 h 76"/>
              <a:gd name="T10" fmla="*/ 2147483647 w 118"/>
              <a:gd name="T11" fmla="*/ 2147483647 h 76"/>
              <a:gd name="T12" fmla="*/ 2147483647 w 118"/>
              <a:gd name="T13" fmla="*/ 2147483647 h 76"/>
              <a:gd name="T14" fmla="*/ 2147483647 w 118"/>
              <a:gd name="T15" fmla="*/ 2147483647 h 76"/>
              <a:gd name="T16" fmla="*/ 2147483647 w 118"/>
              <a:gd name="T17" fmla="*/ 2147483647 h 76"/>
              <a:gd name="T18" fmla="*/ 2147483647 w 118"/>
              <a:gd name="T19" fmla="*/ 2147483647 h 76"/>
              <a:gd name="T20" fmla="*/ 2147483647 w 118"/>
              <a:gd name="T21" fmla="*/ 2147483647 h 76"/>
              <a:gd name="T22" fmla="*/ 2147483647 w 118"/>
              <a:gd name="T23" fmla="*/ 2147483647 h 76"/>
              <a:gd name="T24" fmla="*/ 2147483647 w 118"/>
              <a:gd name="T25" fmla="*/ 2147483647 h 76"/>
              <a:gd name="T26" fmla="*/ 2147483647 w 118"/>
              <a:gd name="T27" fmla="*/ 2147483647 h 76"/>
              <a:gd name="T28" fmla="*/ 2147483647 w 118"/>
              <a:gd name="T29" fmla="*/ 2147483647 h 76"/>
              <a:gd name="T30" fmla="*/ 2147483647 w 118"/>
              <a:gd name="T31" fmla="*/ 2147483647 h 76"/>
              <a:gd name="T32" fmla="*/ 2147483647 w 118"/>
              <a:gd name="T33" fmla="*/ 2147483647 h 76"/>
              <a:gd name="T34" fmla="*/ 2147483647 w 118"/>
              <a:gd name="T35" fmla="*/ 2147483647 h 76"/>
              <a:gd name="T36" fmla="*/ 2147483647 w 118"/>
              <a:gd name="T37" fmla="*/ 2147483647 h 76"/>
              <a:gd name="T38" fmla="*/ 2147483647 w 118"/>
              <a:gd name="T39" fmla="*/ 2147483647 h 76"/>
              <a:gd name="T40" fmla="*/ 2147483647 w 118"/>
              <a:gd name="T41" fmla="*/ 2147483647 h 76"/>
              <a:gd name="T42" fmla="*/ 2147483647 w 118"/>
              <a:gd name="T43" fmla="*/ 2147483647 h 76"/>
              <a:gd name="T44" fmla="*/ 2147483647 w 118"/>
              <a:gd name="T45" fmla="*/ 2147483647 h 76"/>
              <a:gd name="T46" fmla="*/ 2147483647 w 118"/>
              <a:gd name="T47" fmla="*/ 2147483647 h 76"/>
              <a:gd name="T48" fmla="*/ 2147483647 w 118"/>
              <a:gd name="T49" fmla="*/ 2147483647 h 76"/>
              <a:gd name="T50" fmla="*/ 2147483647 w 118"/>
              <a:gd name="T51" fmla="*/ 2147483647 h 76"/>
              <a:gd name="T52" fmla="*/ 2147483647 w 118"/>
              <a:gd name="T53" fmla="*/ 2147483647 h 76"/>
              <a:gd name="T54" fmla="*/ 2147483647 w 118"/>
              <a:gd name="T55" fmla="*/ 2147483647 h 76"/>
              <a:gd name="T56" fmla="*/ 2147483647 w 118"/>
              <a:gd name="T57" fmla="*/ 2147483647 h 76"/>
              <a:gd name="T58" fmla="*/ 2147483647 w 118"/>
              <a:gd name="T59" fmla="*/ 2147483647 h 76"/>
              <a:gd name="T60" fmla="*/ 2147483647 w 118"/>
              <a:gd name="T61" fmla="*/ 2147483647 h 76"/>
              <a:gd name="T62" fmla="*/ 2147483647 w 118"/>
              <a:gd name="T63" fmla="*/ 2147483647 h 76"/>
              <a:gd name="T64" fmla="*/ 0 w 118"/>
              <a:gd name="T65" fmla="*/ 2147483647 h 76"/>
              <a:gd name="T66" fmla="*/ 0 w 118"/>
              <a:gd name="T67" fmla="*/ 2147483647 h 76"/>
              <a:gd name="T68" fmla="*/ 2147483647 w 118"/>
              <a:gd name="T69" fmla="*/ 2147483647 h 76"/>
              <a:gd name="T70" fmla="*/ 2147483647 w 118"/>
              <a:gd name="T71" fmla="*/ 2147483647 h 76"/>
              <a:gd name="T72" fmla="*/ 2147483647 w 118"/>
              <a:gd name="T73" fmla="*/ 2147483647 h 7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18"/>
              <a:gd name="T112" fmla="*/ 0 h 76"/>
              <a:gd name="T113" fmla="*/ 118 w 118"/>
              <a:gd name="T114" fmla="*/ 76 h 7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18" h="76">
                <a:moveTo>
                  <a:pt x="24" y="14"/>
                </a:moveTo>
                <a:lnTo>
                  <a:pt x="32" y="10"/>
                </a:lnTo>
                <a:lnTo>
                  <a:pt x="36" y="2"/>
                </a:lnTo>
                <a:lnTo>
                  <a:pt x="48" y="0"/>
                </a:lnTo>
                <a:lnTo>
                  <a:pt x="54" y="2"/>
                </a:lnTo>
                <a:lnTo>
                  <a:pt x="52" y="8"/>
                </a:lnTo>
                <a:lnTo>
                  <a:pt x="50" y="14"/>
                </a:lnTo>
                <a:lnTo>
                  <a:pt x="52" y="20"/>
                </a:lnTo>
                <a:lnTo>
                  <a:pt x="54" y="28"/>
                </a:lnTo>
                <a:lnTo>
                  <a:pt x="66" y="28"/>
                </a:lnTo>
                <a:lnTo>
                  <a:pt x="80" y="30"/>
                </a:lnTo>
                <a:lnTo>
                  <a:pt x="100" y="30"/>
                </a:lnTo>
                <a:lnTo>
                  <a:pt x="98" y="36"/>
                </a:lnTo>
                <a:lnTo>
                  <a:pt x="100" y="44"/>
                </a:lnTo>
                <a:lnTo>
                  <a:pt x="106" y="46"/>
                </a:lnTo>
                <a:lnTo>
                  <a:pt x="118" y="44"/>
                </a:lnTo>
                <a:lnTo>
                  <a:pt x="118" y="64"/>
                </a:lnTo>
                <a:lnTo>
                  <a:pt x="90" y="64"/>
                </a:lnTo>
                <a:lnTo>
                  <a:pt x="80" y="70"/>
                </a:lnTo>
                <a:lnTo>
                  <a:pt x="64" y="76"/>
                </a:lnTo>
                <a:lnTo>
                  <a:pt x="64" y="70"/>
                </a:lnTo>
                <a:lnTo>
                  <a:pt x="66" y="62"/>
                </a:lnTo>
                <a:lnTo>
                  <a:pt x="64" y="50"/>
                </a:lnTo>
                <a:lnTo>
                  <a:pt x="56" y="44"/>
                </a:lnTo>
                <a:lnTo>
                  <a:pt x="46" y="60"/>
                </a:lnTo>
                <a:lnTo>
                  <a:pt x="38" y="62"/>
                </a:lnTo>
                <a:lnTo>
                  <a:pt x="18" y="74"/>
                </a:lnTo>
                <a:lnTo>
                  <a:pt x="8" y="70"/>
                </a:lnTo>
                <a:lnTo>
                  <a:pt x="8" y="62"/>
                </a:lnTo>
                <a:lnTo>
                  <a:pt x="16" y="52"/>
                </a:lnTo>
                <a:lnTo>
                  <a:pt x="10" y="50"/>
                </a:lnTo>
                <a:lnTo>
                  <a:pt x="12" y="36"/>
                </a:lnTo>
                <a:lnTo>
                  <a:pt x="0" y="36"/>
                </a:lnTo>
                <a:lnTo>
                  <a:pt x="0" y="26"/>
                </a:lnTo>
                <a:lnTo>
                  <a:pt x="20" y="26"/>
                </a:lnTo>
                <a:lnTo>
                  <a:pt x="18" y="12"/>
                </a:lnTo>
                <a:lnTo>
                  <a:pt x="24" y="1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4" name="Freeform 184">
            <a:extLst>
              <a:ext uri="{FF2B5EF4-FFF2-40B4-BE49-F238E27FC236}">
                <a16:creationId xmlns:a16="http://schemas.microsoft.com/office/drawing/2014/main" id="{BA750D87-B3DF-E982-6DA2-48D75B6448F2}"/>
              </a:ext>
            </a:extLst>
          </p:cNvPr>
          <p:cNvSpPr>
            <a:spLocks/>
          </p:cNvSpPr>
          <p:nvPr/>
        </p:nvSpPr>
        <p:spPr bwMode="auto">
          <a:xfrm>
            <a:off x="6961718" y="3399367"/>
            <a:ext cx="522817" cy="306917"/>
          </a:xfrm>
          <a:custGeom>
            <a:avLst/>
            <a:gdLst>
              <a:gd name="T0" fmla="*/ 0 w 266"/>
              <a:gd name="T1" fmla="*/ 2147483647 h 158"/>
              <a:gd name="T2" fmla="*/ 0 w 266"/>
              <a:gd name="T3" fmla="*/ 2147483647 h 158"/>
              <a:gd name="T4" fmla="*/ 2147483647 w 266"/>
              <a:gd name="T5" fmla="*/ 2147483647 h 158"/>
              <a:gd name="T6" fmla="*/ 2147483647 w 266"/>
              <a:gd name="T7" fmla="*/ 0 h 158"/>
              <a:gd name="T8" fmla="*/ 2147483647 w 266"/>
              <a:gd name="T9" fmla="*/ 2147483647 h 158"/>
              <a:gd name="T10" fmla="*/ 2147483647 w 266"/>
              <a:gd name="T11" fmla="*/ 2147483647 h 158"/>
              <a:gd name="T12" fmla="*/ 2147483647 w 266"/>
              <a:gd name="T13" fmla="*/ 2147483647 h 158"/>
              <a:gd name="T14" fmla="*/ 2147483647 w 266"/>
              <a:gd name="T15" fmla="*/ 2147483647 h 158"/>
              <a:gd name="T16" fmla="*/ 2147483647 w 266"/>
              <a:gd name="T17" fmla="*/ 2147483647 h 158"/>
              <a:gd name="T18" fmla="*/ 2147483647 w 266"/>
              <a:gd name="T19" fmla="*/ 2147483647 h 158"/>
              <a:gd name="T20" fmla="*/ 2147483647 w 266"/>
              <a:gd name="T21" fmla="*/ 2147483647 h 158"/>
              <a:gd name="T22" fmla="*/ 2147483647 w 266"/>
              <a:gd name="T23" fmla="*/ 2147483647 h 158"/>
              <a:gd name="T24" fmla="*/ 2147483647 w 266"/>
              <a:gd name="T25" fmla="*/ 2147483647 h 158"/>
              <a:gd name="T26" fmla="*/ 2147483647 w 266"/>
              <a:gd name="T27" fmla="*/ 2147483647 h 158"/>
              <a:gd name="T28" fmla="*/ 2147483647 w 266"/>
              <a:gd name="T29" fmla="*/ 2147483647 h 158"/>
              <a:gd name="T30" fmla="*/ 2147483647 w 266"/>
              <a:gd name="T31" fmla="*/ 2147483647 h 158"/>
              <a:gd name="T32" fmla="*/ 2147483647 w 266"/>
              <a:gd name="T33" fmla="*/ 2147483647 h 158"/>
              <a:gd name="T34" fmla="*/ 2147483647 w 266"/>
              <a:gd name="T35" fmla="*/ 2147483647 h 158"/>
              <a:gd name="T36" fmla="*/ 2147483647 w 266"/>
              <a:gd name="T37" fmla="*/ 2147483647 h 158"/>
              <a:gd name="T38" fmla="*/ 2147483647 w 266"/>
              <a:gd name="T39" fmla="*/ 2147483647 h 158"/>
              <a:gd name="T40" fmla="*/ 2147483647 w 266"/>
              <a:gd name="T41" fmla="*/ 2147483647 h 158"/>
              <a:gd name="T42" fmla="*/ 2147483647 w 266"/>
              <a:gd name="T43" fmla="*/ 2147483647 h 158"/>
              <a:gd name="T44" fmla="*/ 2147483647 w 266"/>
              <a:gd name="T45" fmla="*/ 2147483647 h 158"/>
              <a:gd name="T46" fmla="*/ 2147483647 w 266"/>
              <a:gd name="T47" fmla="*/ 2147483647 h 158"/>
              <a:gd name="T48" fmla="*/ 2147483647 w 266"/>
              <a:gd name="T49" fmla="*/ 2147483647 h 158"/>
              <a:gd name="T50" fmla="*/ 2147483647 w 266"/>
              <a:gd name="T51" fmla="*/ 2147483647 h 158"/>
              <a:gd name="T52" fmla="*/ 2147483647 w 266"/>
              <a:gd name="T53" fmla="*/ 2147483647 h 158"/>
              <a:gd name="T54" fmla="*/ 2147483647 w 266"/>
              <a:gd name="T55" fmla="*/ 2147483647 h 158"/>
              <a:gd name="T56" fmla="*/ 2147483647 w 266"/>
              <a:gd name="T57" fmla="*/ 2147483647 h 158"/>
              <a:gd name="T58" fmla="*/ 2147483647 w 266"/>
              <a:gd name="T59" fmla="*/ 2147483647 h 158"/>
              <a:gd name="T60" fmla="*/ 2147483647 w 266"/>
              <a:gd name="T61" fmla="*/ 2147483647 h 158"/>
              <a:gd name="T62" fmla="*/ 2147483647 w 266"/>
              <a:gd name="T63" fmla="*/ 2147483647 h 158"/>
              <a:gd name="T64" fmla="*/ 2147483647 w 266"/>
              <a:gd name="T65" fmla="*/ 2147483647 h 158"/>
              <a:gd name="T66" fmla="*/ 2147483647 w 266"/>
              <a:gd name="T67" fmla="*/ 2147483647 h 158"/>
              <a:gd name="T68" fmla="*/ 2147483647 w 266"/>
              <a:gd name="T69" fmla="*/ 2147483647 h 158"/>
              <a:gd name="T70" fmla="*/ 2147483647 w 266"/>
              <a:gd name="T71" fmla="*/ 2147483647 h 158"/>
              <a:gd name="T72" fmla="*/ 2147483647 w 266"/>
              <a:gd name="T73" fmla="*/ 2147483647 h 158"/>
              <a:gd name="T74" fmla="*/ 2147483647 w 266"/>
              <a:gd name="T75" fmla="*/ 2147483647 h 158"/>
              <a:gd name="T76" fmla="*/ 2147483647 w 266"/>
              <a:gd name="T77" fmla="*/ 2147483647 h 158"/>
              <a:gd name="T78" fmla="*/ 2147483647 w 266"/>
              <a:gd name="T79" fmla="*/ 2147483647 h 158"/>
              <a:gd name="T80" fmla="*/ 2147483647 w 266"/>
              <a:gd name="T81" fmla="*/ 2147483647 h 158"/>
              <a:gd name="T82" fmla="*/ 2147483647 w 266"/>
              <a:gd name="T83" fmla="*/ 2147483647 h 158"/>
              <a:gd name="T84" fmla="*/ 2147483647 w 266"/>
              <a:gd name="T85" fmla="*/ 2147483647 h 158"/>
              <a:gd name="T86" fmla="*/ 2147483647 w 266"/>
              <a:gd name="T87" fmla="*/ 2147483647 h 158"/>
              <a:gd name="T88" fmla="*/ 2147483647 w 266"/>
              <a:gd name="T89" fmla="*/ 2147483647 h 158"/>
              <a:gd name="T90" fmla="*/ 2147483647 w 266"/>
              <a:gd name="T91" fmla="*/ 2147483647 h 158"/>
              <a:gd name="T92" fmla="*/ 2147483647 w 266"/>
              <a:gd name="T93" fmla="*/ 2147483647 h 158"/>
              <a:gd name="T94" fmla="*/ 2147483647 w 266"/>
              <a:gd name="T95" fmla="*/ 2147483647 h 158"/>
              <a:gd name="T96" fmla="*/ 2147483647 w 266"/>
              <a:gd name="T97" fmla="*/ 2147483647 h 158"/>
              <a:gd name="T98" fmla="*/ 2147483647 w 266"/>
              <a:gd name="T99" fmla="*/ 2147483647 h 158"/>
              <a:gd name="T100" fmla="*/ 2147483647 w 266"/>
              <a:gd name="T101" fmla="*/ 2147483647 h 158"/>
              <a:gd name="T102" fmla="*/ 2147483647 w 266"/>
              <a:gd name="T103" fmla="*/ 2147483647 h 158"/>
              <a:gd name="T104" fmla="*/ 2147483647 w 266"/>
              <a:gd name="T105" fmla="*/ 2147483647 h 158"/>
              <a:gd name="T106" fmla="*/ 2147483647 w 266"/>
              <a:gd name="T107" fmla="*/ 2147483647 h 158"/>
              <a:gd name="T108" fmla="*/ 2147483647 w 266"/>
              <a:gd name="T109" fmla="*/ 2147483647 h 158"/>
              <a:gd name="T110" fmla="*/ 2147483647 w 266"/>
              <a:gd name="T111" fmla="*/ 2147483647 h 158"/>
              <a:gd name="T112" fmla="*/ 2147483647 w 266"/>
              <a:gd name="T113" fmla="*/ 2147483647 h 158"/>
              <a:gd name="T114" fmla="*/ 2147483647 w 266"/>
              <a:gd name="T115" fmla="*/ 2147483647 h 158"/>
              <a:gd name="T116" fmla="*/ 0 w 266"/>
              <a:gd name="T117" fmla="*/ 2147483647 h 15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66"/>
              <a:gd name="T178" fmla="*/ 0 h 158"/>
              <a:gd name="T179" fmla="*/ 266 w 266"/>
              <a:gd name="T180" fmla="*/ 158 h 15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66" h="158">
                <a:moveTo>
                  <a:pt x="0" y="82"/>
                </a:moveTo>
                <a:lnTo>
                  <a:pt x="0" y="8"/>
                </a:lnTo>
                <a:lnTo>
                  <a:pt x="18" y="4"/>
                </a:lnTo>
                <a:lnTo>
                  <a:pt x="46" y="0"/>
                </a:lnTo>
                <a:lnTo>
                  <a:pt x="54" y="6"/>
                </a:lnTo>
                <a:lnTo>
                  <a:pt x="70" y="16"/>
                </a:lnTo>
                <a:lnTo>
                  <a:pt x="80" y="20"/>
                </a:lnTo>
                <a:lnTo>
                  <a:pt x="94" y="38"/>
                </a:lnTo>
                <a:lnTo>
                  <a:pt x="132" y="36"/>
                </a:lnTo>
                <a:lnTo>
                  <a:pt x="140" y="34"/>
                </a:lnTo>
                <a:lnTo>
                  <a:pt x="158" y="52"/>
                </a:lnTo>
                <a:lnTo>
                  <a:pt x="158" y="60"/>
                </a:lnTo>
                <a:lnTo>
                  <a:pt x="168" y="68"/>
                </a:lnTo>
                <a:lnTo>
                  <a:pt x="170" y="84"/>
                </a:lnTo>
                <a:lnTo>
                  <a:pt x="188" y="82"/>
                </a:lnTo>
                <a:lnTo>
                  <a:pt x="192" y="84"/>
                </a:lnTo>
                <a:lnTo>
                  <a:pt x="192" y="94"/>
                </a:lnTo>
                <a:lnTo>
                  <a:pt x="200" y="94"/>
                </a:lnTo>
                <a:lnTo>
                  <a:pt x="202" y="84"/>
                </a:lnTo>
                <a:lnTo>
                  <a:pt x="214" y="74"/>
                </a:lnTo>
                <a:lnTo>
                  <a:pt x="234" y="62"/>
                </a:lnTo>
                <a:lnTo>
                  <a:pt x="230" y="72"/>
                </a:lnTo>
                <a:lnTo>
                  <a:pt x="228" y="76"/>
                </a:lnTo>
                <a:lnTo>
                  <a:pt x="236" y="80"/>
                </a:lnTo>
                <a:lnTo>
                  <a:pt x="248" y="76"/>
                </a:lnTo>
                <a:lnTo>
                  <a:pt x="258" y="82"/>
                </a:lnTo>
                <a:lnTo>
                  <a:pt x="266" y="90"/>
                </a:lnTo>
                <a:lnTo>
                  <a:pt x="258" y="98"/>
                </a:lnTo>
                <a:lnTo>
                  <a:pt x="248" y="102"/>
                </a:lnTo>
                <a:lnTo>
                  <a:pt x="236" y="102"/>
                </a:lnTo>
                <a:lnTo>
                  <a:pt x="232" y="98"/>
                </a:lnTo>
                <a:lnTo>
                  <a:pt x="234" y="90"/>
                </a:lnTo>
                <a:lnTo>
                  <a:pt x="228" y="88"/>
                </a:lnTo>
                <a:lnTo>
                  <a:pt x="216" y="90"/>
                </a:lnTo>
                <a:lnTo>
                  <a:pt x="212" y="98"/>
                </a:lnTo>
                <a:lnTo>
                  <a:pt x="204" y="102"/>
                </a:lnTo>
                <a:lnTo>
                  <a:pt x="198" y="100"/>
                </a:lnTo>
                <a:lnTo>
                  <a:pt x="200" y="114"/>
                </a:lnTo>
                <a:lnTo>
                  <a:pt x="180" y="114"/>
                </a:lnTo>
                <a:lnTo>
                  <a:pt x="180" y="124"/>
                </a:lnTo>
                <a:lnTo>
                  <a:pt x="192" y="124"/>
                </a:lnTo>
                <a:lnTo>
                  <a:pt x="190" y="138"/>
                </a:lnTo>
                <a:lnTo>
                  <a:pt x="196" y="140"/>
                </a:lnTo>
                <a:lnTo>
                  <a:pt x="188" y="150"/>
                </a:lnTo>
                <a:lnTo>
                  <a:pt x="188" y="158"/>
                </a:lnTo>
                <a:lnTo>
                  <a:pt x="168" y="152"/>
                </a:lnTo>
                <a:lnTo>
                  <a:pt x="168" y="144"/>
                </a:lnTo>
                <a:lnTo>
                  <a:pt x="158" y="138"/>
                </a:lnTo>
                <a:lnTo>
                  <a:pt x="146" y="136"/>
                </a:lnTo>
                <a:lnTo>
                  <a:pt x="104" y="108"/>
                </a:lnTo>
                <a:lnTo>
                  <a:pt x="90" y="82"/>
                </a:lnTo>
                <a:lnTo>
                  <a:pt x="64" y="82"/>
                </a:lnTo>
                <a:lnTo>
                  <a:pt x="64" y="66"/>
                </a:lnTo>
                <a:lnTo>
                  <a:pt x="62" y="62"/>
                </a:lnTo>
                <a:lnTo>
                  <a:pt x="48" y="60"/>
                </a:lnTo>
                <a:lnTo>
                  <a:pt x="42" y="54"/>
                </a:lnTo>
                <a:lnTo>
                  <a:pt x="14" y="68"/>
                </a:lnTo>
                <a:lnTo>
                  <a:pt x="14" y="80"/>
                </a:lnTo>
                <a:lnTo>
                  <a:pt x="0" y="8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5" name="Freeform 185">
            <a:extLst>
              <a:ext uri="{FF2B5EF4-FFF2-40B4-BE49-F238E27FC236}">
                <a16:creationId xmlns:a16="http://schemas.microsoft.com/office/drawing/2014/main" id="{0509181D-8898-F30A-ABEB-0968B67C1A66}"/>
              </a:ext>
            </a:extLst>
          </p:cNvPr>
          <p:cNvSpPr>
            <a:spLocks/>
          </p:cNvSpPr>
          <p:nvPr/>
        </p:nvSpPr>
        <p:spPr bwMode="auto">
          <a:xfrm>
            <a:off x="7406218" y="3486151"/>
            <a:ext cx="309033" cy="143933"/>
          </a:xfrm>
          <a:custGeom>
            <a:avLst/>
            <a:gdLst>
              <a:gd name="T0" fmla="*/ 2147483647 w 158"/>
              <a:gd name="T1" fmla="*/ 2147483647 h 76"/>
              <a:gd name="T2" fmla="*/ 2147483647 w 158"/>
              <a:gd name="T3" fmla="*/ 2147483647 h 76"/>
              <a:gd name="T4" fmla="*/ 2147483647 w 158"/>
              <a:gd name="T5" fmla="*/ 2147483647 h 76"/>
              <a:gd name="T6" fmla="*/ 2147483647 w 158"/>
              <a:gd name="T7" fmla="*/ 2147483647 h 76"/>
              <a:gd name="T8" fmla="*/ 2147483647 w 158"/>
              <a:gd name="T9" fmla="*/ 2147483647 h 76"/>
              <a:gd name="T10" fmla="*/ 2147483647 w 158"/>
              <a:gd name="T11" fmla="*/ 2147483647 h 76"/>
              <a:gd name="T12" fmla="*/ 2147483647 w 158"/>
              <a:gd name="T13" fmla="*/ 0 h 76"/>
              <a:gd name="T14" fmla="*/ 2147483647 w 158"/>
              <a:gd name="T15" fmla="*/ 2147483647 h 76"/>
              <a:gd name="T16" fmla="*/ 2147483647 w 158"/>
              <a:gd name="T17" fmla="*/ 2147483647 h 76"/>
              <a:gd name="T18" fmla="*/ 2147483647 w 158"/>
              <a:gd name="T19" fmla="*/ 2147483647 h 76"/>
              <a:gd name="T20" fmla="*/ 2147483647 w 158"/>
              <a:gd name="T21" fmla="*/ 2147483647 h 76"/>
              <a:gd name="T22" fmla="*/ 2147483647 w 158"/>
              <a:gd name="T23" fmla="*/ 2147483647 h 76"/>
              <a:gd name="T24" fmla="*/ 2147483647 w 158"/>
              <a:gd name="T25" fmla="*/ 2147483647 h 76"/>
              <a:gd name="T26" fmla="*/ 2147483647 w 158"/>
              <a:gd name="T27" fmla="*/ 2147483647 h 76"/>
              <a:gd name="T28" fmla="*/ 2147483647 w 158"/>
              <a:gd name="T29" fmla="*/ 2147483647 h 76"/>
              <a:gd name="T30" fmla="*/ 2147483647 w 158"/>
              <a:gd name="T31" fmla="*/ 2147483647 h 76"/>
              <a:gd name="T32" fmla="*/ 2147483647 w 158"/>
              <a:gd name="T33" fmla="*/ 2147483647 h 76"/>
              <a:gd name="T34" fmla="*/ 2147483647 w 158"/>
              <a:gd name="T35" fmla="*/ 2147483647 h 76"/>
              <a:gd name="T36" fmla="*/ 2147483647 w 158"/>
              <a:gd name="T37" fmla="*/ 2147483647 h 76"/>
              <a:gd name="T38" fmla="*/ 2147483647 w 158"/>
              <a:gd name="T39" fmla="*/ 2147483647 h 76"/>
              <a:gd name="T40" fmla="*/ 2147483647 w 158"/>
              <a:gd name="T41" fmla="*/ 2147483647 h 76"/>
              <a:gd name="T42" fmla="*/ 2147483647 w 158"/>
              <a:gd name="T43" fmla="*/ 2147483647 h 76"/>
              <a:gd name="T44" fmla="*/ 2147483647 w 158"/>
              <a:gd name="T45" fmla="*/ 2147483647 h 76"/>
              <a:gd name="T46" fmla="*/ 2147483647 w 158"/>
              <a:gd name="T47" fmla="*/ 2147483647 h 76"/>
              <a:gd name="T48" fmla="*/ 2147483647 w 158"/>
              <a:gd name="T49" fmla="*/ 2147483647 h 76"/>
              <a:gd name="T50" fmla="*/ 2147483647 w 158"/>
              <a:gd name="T51" fmla="*/ 2147483647 h 76"/>
              <a:gd name="T52" fmla="*/ 2147483647 w 158"/>
              <a:gd name="T53" fmla="*/ 2147483647 h 76"/>
              <a:gd name="T54" fmla="*/ 2147483647 w 158"/>
              <a:gd name="T55" fmla="*/ 2147483647 h 76"/>
              <a:gd name="T56" fmla="*/ 2147483647 w 158"/>
              <a:gd name="T57" fmla="*/ 2147483647 h 76"/>
              <a:gd name="T58" fmla="*/ 2147483647 w 158"/>
              <a:gd name="T59" fmla="*/ 2147483647 h 76"/>
              <a:gd name="T60" fmla="*/ 2147483647 w 158"/>
              <a:gd name="T61" fmla="*/ 2147483647 h 76"/>
              <a:gd name="T62" fmla="*/ 2147483647 w 158"/>
              <a:gd name="T63" fmla="*/ 2147483647 h 76"/>
              <a:gd name="T64" fmla="*/ 2147483647 w 158"/>
              <a:gd name="T65" fmla="*/ 2147483647 h 76"/>
              <a:gd name="T66" fmla="*/ 2147483647 w 158"/>
              <a:gd name="T67" fmla="*/ 2147483647 h 76"/>
              <a:gd name="T68" fmla="*/ 2147483647 w 158"/>
              <a:gd name="T69" fmla="*/ 2147483647 h 76"/>
              <a:gd name="T70" fmla="*/ 2147483647 w 158"/>
              <a:gd name="T71" fmla="*/ 2147483647 h 76"/>
              <a:gd name="T72" fmla="*/ 2147483647 w 158"/>
              <a:gd name="T73" fmla="*/ 2147483647 h 76"/>
              <a:gd name="T74" fmla="*/ 2147483647 w 158"/>
              <a:gd name="T75" fmla="*/ 2147483647 h 76"/>
              <a:gd name="T76" fmla="*/ 2147483647 w 158"/>
              <a:gd name="T77" fmla="*/ 2147483647 h 76"/>
              <a:gd name="T78" fmla="*/ 0 w 158"/>
              <a:gd name="T79" fmla="*/ 2147483647 h 76"/>
              <a:gd name="T80" fmla="*/ 2147483647 w 158"/>
              <a:gd name="T81" fmla="*/ 2147483647 h 76"/>
              <a:gd name="T82" fmla="*/ 2147483647 w 158"/>
              <a:gd name="T83" fmla="*/ 2147483647 h 7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58"/>
              <a:gd name="T127" fmla="*/ 0 h 76"/>
              <a:gd name="T128" fmla="*/ 158 w 158"/>
              <a:gd name="T129" fmla="*/ 76 h 7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58" h="76">
                <a:moveTo>
                  <a:pt x="6" y="20"/>
                </a:moveTo>
                <a:lnTo>
                  <a:pt x="16" y="8"/>
                </a:lnTo>
                <a:lnTo>
                  <a:pt x="28" y="8"/>
                </a:lnTo>
                <a:lnTo>
                  <a:pt x="32" y="12"/>
                </a:lnTo>
                <a:lnTo>
                  <a:pt x="50" y="10"/>
                </a:lnTo>
                <a:lnTo>
                  <a:pt x="52" y="4"/>
                </a:lnTo>
                <a:lnTo>
                  <a:pt x="60" y="0"/>
                </a:lnTo>
                <a:lnTo>
                  <a:pt x="72" y="2"/>
                </a:lnTo>
                <a:lnTo>
                  <a:pt x="74" y="10"/>
                </a:lnTo>
                <a:lnTo>
                  <a:pt x="134" y="8"/>
                </a:lnTo>
                <a:lnTo>
                  <a:pt x="140" y="14"/>
                </a:lnTo>
                <a:lnTo>
                  <a:pt x="148" y="16"/>
                </a:lnTo>
                <a:lnTo>
                  <a:pt x="158" y="20"/>
                </a:lnTo>
                <a:lnTo>
                  <a:pt x="152" y="24"/>
                </a:lnTo>
                <a:lnTo>
                  <a:pt x="138" y="32"/>
                </a:lnTo>
                <a:lnTo>
                  <a:pt x="126" y="36"/>
                </a:lnTo>
                <a:lnTo>
                  <a:pt x="122" y="44"/>
                </a:lnTo>
                <a:lnTo>
                  <a:pt x="102" y="44"/>
                </a:lnTo>
                <a:lnTo>
                  <a:pt x="98" y="54"/>
                </a:lnTo>
                <a:lnTo>
                  <a:pt x="82" y="58"/>
                </a:lnTo>
                <a:lnTo>
                  <a:pt x="82" y="52"/>
                </a:lnTo>
                <a:lnTo>
                  <a:pt x="68" y="52"/>
                </a:lnTo>
                <a:lnTo>
                  <a:pt x="66" y="58"/>
                </a:lnTo>
                <a:lnTo>
                  <a:pt x="58" y="62"/>
                </a:lnTo>
                <a:lnTo>
                  <a:pt x="54" y="66"/>
                </a:lnTo>
                <a:lnTo>
                  <a:pt x="52" y="76"/>
                </a:lnTo>
                <a:lnTo>
                  <a:pt x="32" y="76"/>
                </a:lnTo>
                <a:lnTo>
                  <a:pt x="18" y="74"/>
                </a:lnTo>
                <a:lnTo>
                  <a:pt x="6" y="74"/>
                </a:lnTo>
                <a:lnTo>
                  <a:pt x="4" y="66"/>
                </a:lnTo>
                <a:lnTo>
                  <a:pt x="2" y="60"/>
                </a:lnTo>
                <a:lnTo>
                  <a:pt x="4" y="56"/>
                </a:lnTo>
                <a:lnTo>
                  <a:pt x="8" y="60"/>
                </a:lnTo>
                <a:lnTo>
                  <a:pt x="20" y="60"/>
                </a:lnTo>
                <a:lnTo>
                  <a:pt x="30" y="56"/>
                </a:lnTo>
                <a:lnTo>
                  <a:pt x="38" y="48"/>
                </a:lnTo>
                <a:lnTo>
                  <a:pt x="30" y="40"/>
                </a:lnTo>
                <a:lnTo>
                  <a:pt x="20" y="34"/>
                </a:lnTo>
                <a:lnTo>
                  <a:pt x="8" y="38"/>
                </a:lnTo>
                <a:lnTo>
                  <a:pt x="0" y="34"/>
                </a:lnTo>
                <a:lnTo>
                  <a:pt x="2" y="30"/>
                </a:lnTo>
                <a:lnTo>
                  <a:pt x="6" y="2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6" name="Freeform 186">
            <a:extLst>
              <a:ext uri="{FF2B5EF4-FFF2-40B4-BE49-F238E27FC236}">
                <a16:creationId xmlns:a16="http://schemas.microsoft.com/office/drawing/2014/main" id="{8C9F3042-1D50-DBD5-D8C5-2FB98474962F}"/>
              </a:ext>
            </a:extLst>
          </p:cNvPr>
          <p:cNvSpPr>
            <a:spLocks/>
          </p:cNvSpPr>
          <p:nvPr/>
        </p:nvSpPr>
        <p:spPr bwMode="auto">
          <a:xfrm>
            <a:off x="6671734" y="2992968"/>
            <a:ext cx="1257300" cy="588433"/>
          </a:xfrm>
          <a:custGeom>
            <a:avLst/>
            <a:gdLst>
              <a:gd name="T0" fmla="*/ 2147483647 w 640"/>
              <a:gd name="T1" fmla="*/ 2147483647 h 298"/>
              <a:gd name="T2" fmla="*/ 2147483647 w 640"/>
              <a:gd name="T3" fmla="*/ 2147483647 h 298"/>
              <a:gd name="T4" fmla="*/ 2147483647 w 640"/>
              <a:gd name="T5" fmla="*/ 2147483647 h 298"/>
              <a:gd name="T6" fmla="*/ 2147483647 w 640"/>
              <a:gd name="T7" fmla="*/ 2147483647 h 298"/>
              <a:gd name="T8" fmla="*/ 2147483647 w 640"/>
              <a:gd name="T9" fmla="*/ 2147483647 h 298"/>
              <a:gd name="T10" fmla="*/ 2147483647 w 640"/>
              <a:gd name="T11" fmla="*/ 2147483647 h 298"/>
              <a:gd name="T12" fmla="*/ 2147483647 w 640"/>
              <a:gd name="T13" fmla="*/ 2147483647 h 298"/>
              <a:gd name="T14" fmla="*/ 2147483647 w 640"/>
              <a:gd name="T15" fmla="*/ 2147483647 h 298"/>
              <a:gd name="T16" fmla="*/ 2147483647 w 640"/>
              <a:gd name="T17" fmla="*/ 2147483647 h 298"/>
              <a:gd name="T18" fmla="*/ 0 w 640"/>
              <a:gd name="T19" fmla="*/ 2147483647 h 298"/>
              <a:gd name="T20" fmla="*/ 2147483647 w 640"/>
              <a:gd name="T21" fmla="*/ 2147483647 h 298"/>
              <a:gd name="T22" fmla="*/ 2147483647 w 640"/>
              <a:gd name="T23" fmla="*/ 2147483647 h 298"/>
              <a:gd name="T24" fmla="*/ 2147483647 w 640"/>
              <a:gd name="T25" fmla="*/ 2147483647 h 298"/>
              <a:gd name="T26" fmla="*/ 2147483647 w 640"/>
              <a:gd name="T27" fmla="*/ 2147483647 h 298"/>
              <a:gd name="T28" fmla="*/ 2147483647 w 640"/>
              <a:gd name="T29" fmla="*/ 2147483647 h 298"/>
              <a:gd name="T30" fmla="*/ 2147483647 w 640"/>
              <a:gd name="T31" fmla="*/ 2147483647 h 298"/>
              <a:gd name="T32" fmla="*/ 2147483647 w 640"/>
              <a:gd name="T33" fmla="*/ 2147483647 h 298"/>
              <a:gd name="T34" fmla="*/ 2147483647 w 640"/>
              <a:gd name="T35" fmla="*/ 2147483647 h 298"/>
              <a:gd name="T36" fmla="*/ 2147483647 w 640"/>
              <a:gd name="T37" fmla="*/ 2147483647 h 298"/>
              <a:gd name="T38" fmla="*/ 2147483647 w 640"/>
              <a:gd name="T39" fmla="*/ 2147483647 h 298"/>
              <a:gd name="T40" fmla="*/ 2147483647 w 640"/>
              <a:gd name="T41" fmla="*/ 2147483647 h 298"/>
              <a:gd name="T42" fmla="*/ 2147483647 w 640"/>
              <a:gd name="T43" fmla="*/ 2147483647 h 298"/>
              <a:gd name="T44" fmla="*/ 2147483647 w 640"/>
              <a:gd name="T45" fmla="*/ 2147483647 h 298"/>
              <a:gd name="T46" fmla="*/ 2147483647 w 640"/>
              <a:gd name="T47" fmla="*/ 0 h 298"/>
              <a:gd name="T48" fmla="*/ 2147483647 w 640"/>
              <a:gd name="T49" fmla="*/ 2147483647 h 298"/>
              <a:gd name="T50" fmla="*/ 2147483647 w 640"/>
              <a:gd name="T51" fmla="*/ 2147483647 h 298"/>
              <a:gd name="T52" fmla="*/ 2147483647 w 640"/>
              <a:gd name="T53" fmla="*/ 2147483647 h 298"/>
              <a:gd name="T54" fmla="*/ 2147483647 w 640"/>
              <a:gd name="T55" fmla="*/ 2147483647 h 298"/>
              <a:gd name="T56" fmla="*/ 2147483647 w 640"/>
              <a:gd name="T57" fmla="*/ 2147483647 h 298"/>
              <a:gd name="T58" fmla="*/ 2147483647 w 640"/>
              <a:gd name="T59" fmla="*/ 2147483647 h 298"/>
              <a:gd name="T60" fmla="*/ 2147483647 w 640"/>
              <a:gd name="T61" fmla="*/ 2147483647 h 298"/>
              <a:gd name="T62" fmla="*/ 2147483647 w 640"/>
              <a:gd name="T63" fmla="*/ 2147483647 h 298"/>
              <a:gd name="T64" fmla="*/ 2147483647 w 640"/>
              <a:gd name="T65" fmla="*/ 2147483647 h 298"/>
              <a:gd name="T66" fmla="*/ 2147483647 w 640"/>
              <a:gd name="T67" fmla="*/ 2147483647 h 298"/>
              <a:gd name="T68" fmla="*/ 2147483647 w 640"/>
              <a:gd name="T69" fmla="*/ 2147483647 h 298"/>
              <a:gd name="T70" fmla="*/ 2147483647 w 640"/>
              <a:gd name="T71" fmla="*/ 2147483647 h 298"/>
              <a:gd name="T72" fmla="*/ 2147483647 w 640"/>
              <a:gd name="T73" fmla="*/ 2147483647 h 298"/>
              <a:gd name="T74" fmla="*/ 2147483647 w 640"/>
              <a:gd name="T75" fmla="*/ 2147483647 h 298"/>
              <a:gd name="T76" fmla="*/ 2147483647 w 640"/>
              <a:gd name="T77" fmla="*/ 2147483647 h 298"/>
              <a:gd name="T78" fmla="*/ 2147483647 w 640"/>
              <a:gd name="T79" fmla="*/ 2147483647 h 298"/>
              <a:gd name="T80" fmla="*/ 2147483647 w 640"/>
              <a:gd name="T81" fmla="*/ 2147483647 h 298"/>
              <a:gd name="T82" fmla="*/ 2147483647 w 640"/>
              <a:gd name="T83" fmla="*/ 2147483647 h 298"/>
              <a:gd name="T84" fmla="*/ 2147483647 w 640"/>
              <a:gd name="T85" fmla="*/ 2147483647 h 298"/>
              <a:gd name="T86" fmla="*/ 2147483647 w 640"/>
              <a:gd name="T87" fmla="*/ 2147483647 h 298"/>
              <a:gd name="T88" fmla="*/ 2147483647 w 640"/>
              <a:gd name="T89" fmla="*/ 2147483647 h 298"/>
              <a:gd name="T90" fmla="*/ 2147483647 w 640"/>
              <a:gd name="T91" fmla="*/ 2147483647 h 298"/>
              <a:gd name="T92" fmla="*/ 2147483647 w 640"/>
              <a:gd name="T93" fmla="*/ 2147483647 h 298"/>
              <a:gd name="T94" fmla="*/ 2147483647 w 640"/>
              <a:gd name="T95" fmla="*/ 2147483647 h 298"/>
              <a:gd name="T96" fmla="*/ 2147483647 w 640"/>
              <a:gd name="T97" fmla="*/ 2147483647 h 298"/>
              <a:gd name="T98" fmla="*/ 2147483647 w 640"/>
              <a:gd name="T99" fmla="*/ 2147483647 h 298"/>
              <a:gd name="T100" fmla="*/ 2147483647 w 640"/>
              <a:gd name="T101" fmla="*/ 2147483647 h 298"/>
              <a:gd name="T102" fmla="*/ 2147483647 w 640"/>
              <a:gd name="T103" fmla="*/ 2147483647 h 298"/>
              <a:gd name="T104" fmla="*/ 2147483647 w 640"/>
              <a:gd name="T105" fmla="*/ 2147483647 h 298"/>
              <a:gd name="T106" fmla="*/ 2147483647 w 640"/>
              <a:gd name="T107" fmla="*/ 2147483647 h 298"/>
              <a:gd name="T108" fmla="*/ 2147483647 w 640"/>
              <a:gd name="T109" fmla="*/ 2147483647 h 298"/>
              <a:gd name="T110" fmla="*/ 2147483647 w 640"/>
              <a:gd name="T111" fmla="*/ 2147483647 h 298"/>
              <a:gd name="T112" fmla="*/ 2147483647 w 640"/>
              <a:gd name="T113" fmla="*/ 2147483647 h 298"/>
              <a:gd name="T114" fmla="*/ 2147483647 w 640"/>
              <a:gd name="T115" fmla="*/ 2147483647 h 298"/>
              <a:gd name="T116" fmla="*/ 2147483647 w 640"/>
              <a:gd name="T117" fmla="*/ 2147483647 h 298"/>
              <a:gd name="T118" fmla="*/ 2147483647 w 640"/>
              <a:gd name="T119" fmla="*/ 2147483647 h 29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640"/>
              <a:gd name="T181" fmla="*/ 0 h 298"/>
              <a:gd name="T182" fmla="*/ 640 w 640"/>
              <a:gd name="T183" fmla="*/ 298 h 29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640" h="298">
                <a:moveTo>
                  <a:pt x="108" y="262"/>
                </a:moveTo>
                <a:lnTo>
                  <a:pt x="94" y="260"/>
                </a:lnTo>
                <a:lnTo>
                  <a:pt x="78" y="248"/>
                </a:lnTo>
                <a:lnTo>
                  <a:pt x="66" y="234"/>
                </a:lnTo>
                <a:lnTo>
                  <a:pt x="58" y="224"/>
                </a:lnTo>
                <a:lnTo>
                  <a:pt x="64" y="220"/>
                </a:lnTo>
                <a:lnTo>
                  <a:pt x="78" y="222"/>
                </a:lnTo>
                <a:lnTo>
                  <a:pt x="76" y="210"/>
                </a:lnTo>
                <a:lnTo>
                  <a:pt x="82" y="206"/>
                </a:lnTo>
                <a:lnTo>
                  <a:pt x="94" y="208"/>
                </a:lnTo>
                <a:lnTo>
                  <a:pt x="104" y="210"/>
                </a:lnTo>
                <a:lnTo>
                  <a:pt x="108" y="196"/>
                </a:lnTo>
                <a:lnTo>
                  <a:pt x="100" y="176"/>
                </a:lnTo>
                <a:lnTo>
                  <a:pt x="82" y="176"/>
                </a:lnTo>
                <a:lnTo>
                  <a:pt x="64" y="178"/>
                </a:lnTo>
                <a:lnTo>
                  <a:pt x="40" y="188"/>
                </a:lnTo>
                <a:lnTo>
                  <a:pt x="36" y="174"/>
                </a:lnTo>
                <a:lnTo>
                  <a:pt x="24" y="158"/>
                </a:lnTo>
                <a:lnTo>
                  <a:pt x="10" y="154"/>
                </a:lnTo>
                <a:lnTo>
                  <a:pt x="0" y="140"/>
                </a:lnTo>
                <a:lnTo>
                  <a:pt x="6" y="116"/>
                </a:lnTo>
                <a:lnTo>
                  <a:pt x="18" y="102"/>
                </a:lnTo>
                <a:lnTo>
                  <a:pt x="26" y="118"/>
                </a:lnTo>
                <a:lnTo>
                  <a:pt x="34" y="114"/>
                </a:lnTo>
                <a:lnTo>
                  <a:pt x="36" y="102"/>
                </a:lnTo>
                <a:lnTo>
                  <a:pt x="60" y="84"/>
                </a:lnTo>
                <a:lnTo>
                  <a:pt x="76" y="78"/>
                </a:lnTo>
                <a:lnTo>
                  <a:pt x="112" y="84"/>
                </a:lnTo>
                <a:lnTo>
                  <a:pt x="136" y="98"/>
                </a:lnTo>
                <a:lnTo>
                  <a:pt x="150" y="100"/>
                </a:lnTo>
                <a:lnTo>
                  <a:pt x="172" y="90"/>
                </a:lnTo>
                <a:lnTo>
                  <a:pt x="190" y="90"/>
                </a:lnTo>
                <a:lnTo>
                  <a:pt x="200" y="100"/>
                </a:lnTo>
                <a:lnTo>
                  <a:pt x="226" y="98"/>
                </a:lnTo>
                <a:lnTo>
                  <a:pt x="238" y="88"/>
                </a:lnTo>
                <a:lnTo>
                  <a:pt x="228" y="80"/>
                </a:lnTo>
                <a:lnTo>
                  <a:pt x="214" y="76"/>
                </a:lnTo>
                <a:lnTo>
                  <a:pt x="220" y="68"/>
                </a:lnTo>
                <a:lnTo>
                  <a:pt x="226" y="62"/>
                </a:lnTo>
                <a:lnTo>
                  <a:pt x="228" y="52"/>
                </a:lnTo>
                <a:lnTo>
                  <a:pt x="240" y="48"/>
                </a:lnTo>
                <a:lnTo>
                  <a:pt x="236" y="40"/>
                </a:lnTo>
                <a:lnTo>
                  <a:pt x="232" y="30"/>
                </a:lnTo>
                <a:lnTo>
                  <a:pt x="254" y="28"/>
                </a:lnTo>
                <a:lnTo>
                  <a:pt x="280" y="20"/>
                </a:lnTo>
                <a:lnTo>
                  <a:pt x="316" y="10"/>
                </a:lnTo>
                <a:lnTo>
                  <a:pt x="346" y="4"/>
                </a:lnTo>
                <a:lnTo>
                  <a:pt x="364" y="0"/>
                </a:lnTo>
                <a:lnTo>
                  <a:pt x="384" y="2"/>
                </a:lnTo>
                <a:lnTo>
                  <a:pt x="388" y="16"/>
                </a:lnTo>
                <a:lnTo>
                  <a:pt x="398" y="22"/>
                </a:lnTo>
                <a:lnTo>
                  <a:pt x="418" y="28"/>
                </a:lnTo>
                <a:lnTo>
                  <a:pt x="438" y="38"/>
                </a:lnTo>
                <a:lnTo>
                  <a:pt x="456" y="28"/>
                </a:lnTo>
                <a:lnTo>
                  <a:pt x="478" y="22"/>
                </a:lnTo>
                <a:lnTo>
                  <a:pt x="480" y="32"/>
                </a:lnTo>
                <a:lnTo>
                  <a:pt x="498" y="44"/>
                </a:lnTo>
                <a:lnTo>
                  <a:pt x="510" y="60"/>
                </a:lnTo>
                <a:lnTo>
                  <a:pt x="524" y="84"/>
                </a:lnTo>
                <a:lnTo>
                  <a:pt x="528" y="92"/>
                </a:lnTo>
                <a:lnTo>
                  <a:pt x="536" y="92"/>
                </a:lnTo>
                <a:lnTo>
                  <a:pt x="540" y="84"/>
                </a:lnTo>
                <a:lnTo>
                  <a:pt x="550" y="90"/>
                </a:lnTo>
                <a:lnTo>
                  <a:pt x="562" y="96"/>
                </a:lnTo>
                <a:lnTo>
                  <a:pt x="572" y="94"/>
                </a:lnTo>
                <a:lnTo>
                  <a:pt x="590" y="92"/>
                </a:lnTo>
                <a:lnTo>
                  <a:pt x="600" y="106"/>
                </a:lnTo>
                <a:lnTo>
                  <a:pt x="614" y="116"/>
                </a:lnTo>
                <a:lnTo>
                  <a:pt x="636" y="118"/>
                </a:lnTo>
                <a:lnTo>
                  <a:pt x="640" y="132"/>
                </a:lnTo>
                <a:lnTo>
                  <a:pt x="638" y="142"/>
                </a:lnTo>
                <a:lnTo>
                  <a:pt x="626" y="142"/>
                </a:lnTo>
                <a:lnTo>
                  <a:pt x="622" y="156"/>
                </a:lnTo>
                <a:lnTo>
                  <a:pt x="622" y="170"/>
                </a:lnTo>
                <a:lnTo>
                  <a:pt x="612" y="172"/>
                </a:lnTo>
                <a:lnTo>
                  <a:pt x="596" y="172"/>
                </a:lnTo>
                <a:lnTo>
                  <a:pt x="580" y="170"/>
                </a:lnTo>
                <a:lnTo>
                  <a:pt x="570" y="194"/>
                </a:lnTo>
                <a:lnTo>
                  <a:pt x="566" y="208"/>
                </a:lnTo>
                <a:lnTo>
                  <a:pt x="548" y="208"/>
                </a:lnTo>
                <a:lnTo>
                  <a:pt x="536" y="214"/>
                </a:lnTo>
                <a:lnTo>
                  <a:pt x="538" y="232"/>
                </a:lnTo>
                <a:lnTo>
                  <a:pt x="544" y="248"/>
                </a:lnTo>
                <a:lnTo>
                  <a:pt x="536" y="256"/>
                </a:lnTo>
                <a:lnTo>
                  <a:pt x="536" y="266"/>
                </a:lnTo>
                <a:lnTo>
                  <a:pt x="526" y="262"/>
                </a:lnTo>
                <a:lnTo>
                  <a:pt x="518" y="260"/>
                </a:lnTo>
                <a:lnTo>
                  <a:pt x="512" y="254"/>
                </a:lnTo>
                <a:lnTo>
                  <a:pt x="452" y="256"/>
                </a:lnTo>
                <a:lnTo>
                  <a:pt x="450" y="248"/>
                </a:lnTo>
                <a:lnTo>
                  <a:pt x="438" y="246"/>
                </a:lnTo>
                <a:lnTo>
                  <a:pt x="430" y="250"/>
                </a:lnTo>
                <a:lnTo>
                  <a:pt x="428" y="256"/>
                </a:lnTo>
                <a:lnTo>
                  <a:pt x="410" y="258"/>
                </a:lnTo>
                <a:lnTo>
                  <a:pt x="406" y="254"/>
                </a:lnTo>
                <a:lnTo>
                  <a:pt x="394" y="254"/>
                </a:lnTo>
                <a:lnTo>
                  <a:pt x="384" y="266"/>
                </a:lnTo>
                <a:lnTo>
                  <a:pt x="376" y="270"/>
                </a:lnTo>
                <a:lnTo>
                  <a:pt x="352" y="288"/>
                </a:lnTo>
                <a:lnTo>
                  <a:pt x="350" y="298"/>
                </a:lnTo>
                <a:lnTo>
                  <a:pt x="342" y="298"/>
                </a:lnTo>
                <a:lnTo>
                  <a:pt x="342" y="288"/>
                </a:lnTo>
                <a:lnTo>
                  <a:pt x="338" y="286"/>
                </a:lnTo>
                <a:lnTo>
                  <a:pt x="320" y="288"/>
                </a:lnTo>
                <a:lnTo>
                  <a:pt x="318" y="272"/>
                </a:lnTo>
                <a:lnTo>
                  <a:pt x="308" y="264"/>
                </a:lnTo>
                <a:lnTo>
                  <a:pt x="308" y="256"/>
                </a:lnTo>
                <a:lnTo>
                  <a:pt x="290" y="238"/>
                </a:lnTo>
                <a:lnTo>
                  <a:pt x="282" y="240"/>
                </a:lnTo>
                <a:lnTo>
                  <a:pt x="244" y="242"/>
                </a:lnTo>
                <a:lnTo>
                  <a:pt x="230" y="224"/>
                </a:lnTo>
                <a:lnTo>
                  <a:pt x="204" y="210"/>
                </a:lnTo>
                <a:lnTo>
                  <a:pt x="196" y="204"/>
                </a:lnTo>
                <a:lnTo>
                  <a:pt x="168" y="208"/>
                </a:lnTo>
                <a:lnTo>
                  <a:pt x="150" y="212"/>
                </a:lnTo>
                <a:lnTo>
                  <a:pt x="150" y="286"/>
                </a:lnTo>
                <a:lnTo>
                  <a:pt x="140" y="284"/>
                </a:lnTo>
                <a:lnTo>
                  <a:pt x="132" y="270"/>
                </a:lnTo>
                <a:lnTo>
                  <a:pt x="120" y="262"/>
                </a:lnTo>
                <a:lnTo>
                  <a:pt x="114" y="264"/>
                </a:lnTo>
                <a:lnTo>
                  <a:pt x="108" y="26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7" name="Freeform 187">
            <a:extLst>
              <a:ext uri="{FF2B5EF4-FFF2-40B4-BE49-F238E27FC236}">
                <a16:creationId xmlns:a16="http://schemas.microsoft.com/office/drawing/2014/main" id="{254C079B-400C-9E55-F181-347FF4AFA79C}"/>
              </a:ext>
            </a:extLst>
          </p:cNvPr>
          <p:cNvSpPr>
            <a:spLocks/>
          </p:cNvSpPr>
          <p:nvPr/>
        </p:nvSpPr>
        <p:spPr bwMode="auto">
          <a:xfrm>
            <a:off x="6070601" y="1813985"/>
            <a:ext cx="5067300" cy="1748367"/>
          </a:xfrm>
          <a:custGeom>
            <a:avLst/>
            <a:gdLst>
              <a:gd name="T0" fmla="*/ 2147483647 w 2580"/>
              <a:gd name="T1" fmla="*/ 2147483647 h 890"/>
              <a:gd name="T2" fmla="*/ 2147483647 w 2580"/>
              <a:gd name="T3" fmla="*/ 2147483647 h 890"/>
              <a:gd name="T4" fmla="*/ 2147483647 w 2580"/>
              <a:gd name="T5" fmla="*/ 2147483647 h 890"/>
              <a:gd name="T6" fmla="*/ 2147483647 w 2580"/>
              <a:gd name="T7" fmla="*/ 2147483647 h 890"/>
              <a:gd name="T8" fmla="*/ 2147483647 w 2580"/>
              <a:gd name="T9" fmla="*/ 2147483647 h 890"/>
              <a:gd name="T10" fmla="*/ 2147483647 w 2580"/>
              <a:gd name="T11" fmla="*/ 2147483647 h 890"/>
              <a:gd name="T12" fmla="*/ 2147483647 w 2580"/>
              <a:gd name="T13" fmla="*/ 2147483647 h 890"/>
              <a:gd name="T14" fmla="*/ 2147483647 w 2580"/>
              <a:gd name="T15" fmla="*/ 2147483647 h 890"/>
              <a:gd name="T16" fmla="*/ 2147483647 w 2580"/>
              <a:gd name="T17" fmla="*/ 2147483647 h 890"/>
              <a:gd name="T18" fmla="*/ 2147483647 w 2580"/>
              <a:gd name="T19" fmla="*/ 2147483647 h 890"/>
              <a:gd name="T20" fmla="*/ 2147483647 w 2580"/>
              <a:gd name="T21" fmla="*/ 2147483647 h 890"/>
              <a:gd name="T22" fmla="*/ 2147483647 w 2580"/>
              <a:gd name="T23" fmla="*/ 2147483647 h 890"/>
              <a:gd name="T24" fmla="*/ 2147483647 w 2580"/>
              <a:gd name="T25" fmla="*/ 2147483647 h 890"/>
              <a:gd name="T26" fmla="*/ 2147483647 w 2580"/>
              <a:gd name="T27" fmla="*/ 2147483647 h 890"/>
              <a:gd name="T28" fmla="*/ 2147483647 w 2580"/>
              <a:gd name="T29" fmla="*/ 2147483647 h 890"/>
              <a:gd name="T30" fmla="*/ 2147483647 w 2580"/>
              <a:gd name="T31" fmla="*/ 2147483647 h 890"/>
              <a:gd name="T32" fmla="*/ 2147483647 w 2580"/>
              <a:gd name="T33" fmla="*/ 2147483647 h 890"/>
              <a:gd name="T34" fmla="*/ 2147483647 w 2580"/>
              <a:gd name="T35" fmla="*/ 2147483647 h 890"/>
              <a:gd name="T36" fmla="*/ 2147483647 w 2580"/>
              <a:gd name="T37" fmla="*/ 2147483647 h 890"/>
              <a:gd name="T38" fmla="*/ 2147483647 w 2580"/>
              <a:gd name="T39" fmla="*/ 2147483647 h 890"/>
              <a:gd name="T40" fmla="*/ 2147483647 w 2580"/>
              <a:gd name="T41" fmla="*/ 2147483647 h 890"/>
              <a:gd name="T42" fmla="*/ 2147483647 w 2580"/>
              <a:gd name="T43" fmla="*/ 2147483647 h 890"/>
              <a:gd name="T44" fmla="*/ 2147483647 w 2580"/>
              <a:gd name="T45" fmla="*/ 2147483647 h 890"/>
              <a:gd name="T46" fmla="*/ 2147483647 w 2580"/>
              <a:gd name="T47" fmla="*/ 2147483647 h 890"/>
              <a:gd name="T48" fmla="*/ 2147483647 w 2580"/>
              <a:gd name="T49" fmla="*/ 2147483647 h 890"/>
              <a:gd name="T50" fmla="*/ 2147483647 w 2580"/>
              <a:gd name="T51" fmla="*/ 2147483647 h 890"/>
              <a:gd name="T52" fmla="*/ 2147483647 w 2580"/>
              <a:gd name="T53" fmla="*/ 2147483647 h 890"/>
              <a:gd name="T54" fmla="*/ 2147483647 w 2580"/>
              <a:gd name="T55" fmla="*/ 2147483647 h 890"/>
              <a:gd name="T56" fmla="*/ 2147483647 w 2580"/>
              <a:gd name="T57" fmla="*/ 2147483647 h 890"/>
              <a:gd name="T58" fmla="*/ 2147483647 w 2580"/>
              <a:gd name="T59" fmla="*/ 2147483647 h 890"/>
              <a:gd name="T60" fmla="*/ 2147483647 w 2580"/>
              <a:gd name="T61" fmla="*/ 2147483647 h 890"/>
              <a:gd name="T62" fmla="*/ 2147483647 w 2580"/>
              <a:gd name="T63" fmla="*/ 2147483647 h 890"/>
              <a:gd name="T64" fmla="*/ 2147483647 w 2580"/>
              <a:gd name="T65" fmla="*/ 2147483647 h 890"/>
              <a:gd name="T66" fmla="*/ 2147483647 w 2580"/>
              <a:gd name="T67" fmla="*/ 2147483647 h 890"/>
              <a:gd name="T68" fmla="*/ 2147483647 w 2580"/>
              <a:gd name="T69" fmla="*/ 2147483647 h 890"/>
              <a:gd name="T70" fmla="*/ 2147483647 w 2580"/>
              <a:gd name="T71" fmla="*/ 2147483647 h 890"/>
              <a:gd name="T72" fmla="*/ 2147483647 w 2580"/>
              <a:gd name="T73" fmla="*/ 2147483647 h 890"/>
              <a:gd name="T74" fmla="*/ 2147483647 w 2580"/>
              <a:gd name="T75" fmla="*/ 2147483647 h 890"/>
              <a:gd name="T76" fmla="*/ 2147483647 w 2580"/>
              <a:gd name="T77" fmla="*/ 2147483647 h 890"/>
              <a:gd name="T78" fmla="*/ 2147483647 w 2580"/>
              <a:gd name="T79" fmla="*/ 2147483647 h 890"/>
              <a:gd name="T80" fmla="*/ 2147483647 w 2580"/>
              <a:gd name="T81" fmla="*/ 2147483647 h 890"/>
              <a:gd name="T82" fmla="*/ 2147483647 w 2580"/>
              <a:gd name="T83" fmla="*/ 2147483647 h 890"/>
              <a:gd name="T84" fmla="*/ 2147483647 w 2580"/>
              <a:gd name="T85" fmla="*/ 2147483647 h 890"/>
              <a:gd name="T86" fmla="*/ 2147483647 w 2580"/>
              <a:gd name="T87" fmla="*/ 2147483647 h 890"/>
              <a:gd name="T88" fmla="*/ 2147483647 w 2580"/>
              <a:gd name="T89" fmla="*/ 2147483647 h 890"/>
              <a:gd name="T90" fmla="*/ 2147483647 w 2580"/>
              <a:gd name="T91" fmla="*/ 2147483647 h 890"/>
              <a:gd name="T92" fmla="*/ 2147483647 w 2580"/>
              <a:gd name="T93" fmla="*/ 2147483647 h 890"/>
              <a:gd name="T94" fmla="*/ 2147483647 w 2580"/>
              <a:gd name="T95" fmla="*/ 2147483647 h 890"/>
              <a:gd name="T96" fmla="*/ 2147483647 w 2580"/>
              <a:gd name="T97" fmla="*/ 2147483647 h 890"/>
              <a:gd name="T98" fmla="*/ 2147483647 w 2580"/>
              <a:gd name="T99" fmla="*/ 2147483647 h 890"/>
              <a:gd name="T100" fmla="*/ 2147483647 w 2580"/>
              <a:gd name="T101" fmla="*/ 2147483647 h 890"/>
              <a:gd name="T102" fmla="*/ 2147483647 w 2580"/>
              <a:gd name="T103" fmla="*/ 2147483647 h 890"/>
              <a:gd name="T104" fmla="*/ 2147483647 w 2580"/>
              <a:gd name="T105" fmla="*/ 2147483647 h 890"/>
              <a:gd name="T106" fmla="*/ 2147483647 w 2580"/>
              <a:gd name="T107" fmla="*/ 2147483647 h 890"/>
              <a:gd name="T108" fmla="*/ 2147483647 w 2580"/>
              <a:gd name="T109" fmla="*/ 2147483647 h 890"/>
              <a:gd name="T110" fmla="*/ 2147483647 w 2580"/>
              <a:gd name="T111" fmla="*/ 2147483647 h 890"/>
              <a:gd name="T112" fmla="*/ 2147483647 w 2580"/>
              <a:gd name="T113" fmla="*/ 2147483647 h 890"/>
              <a:gd name="T114" fmla="*/ 2147483647 w 2580"/>
              <a:gd name="T115" fmla="*/ 2147483647 h 89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580"/>
              <a:gd name="T175" fmla="*/ 0 h 890"/>
              <a:gd name="T176" fmla="*/ 2580 w 2580"/>
              <a:gd name="T177" fmla="*/ 890 h 89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580" h="890">
                <a:moveTo>
                  <a:pt x="344" y="792"/>
                </a:moveTo>
                <a:lnTo>
                  <a:pt x="328" y="804"/>
                </a:lnTo>
                <a:lnTo>
                  <a:pt x="318" y="810"/>
                </a:lnTo>
                <a:lnTo>
                  <a:pt x="314" y="818"/>
                </a:lnTo>
                <a:lnTo>
                  <a:pt x="306" y="828"/>
                </a:lnTo>
                <a:lnTo>
                  <a:pt x="314" y="834"/>
                </a:lnTo>
                <a:lnTo>
                  <a:pt x="320" y="844"/>
                </a:lnTo>
                <a:lnTo>
                  <a:pt x="322" y="862"/>
                </a:lnTo>
                <a:lnTo>
                  <a:pt x="336" y="878"/>
                </a:lnTo>
                <a:lnTo>
                  <a:pt x="326" y="888"/>
                </a:lnTo>
                <a:lnTo>
                  <a:pt x="322" y="890"/>
                </a:lnTo>
                <a:lnTo>
                  <a:pt x="306" y="878"/>
                </a:lnTo>
                <a:lnTo>
                  <a:pt x="300" y="876"/>
                </a:lnTo>
                <a:lnTo>
                  <a:pt x="290" y="866"/>
                </a:lnTo>
                <a:lnTo>
                  <a:pt x="280" y="860"/>
                </a:lnTo>
                <a:lnTo>
                  <a:pt x="270" y="862"/>
                </a:lnTo>
                <a:lnTo>
                  <a:pt x="264" y="862"/>
                </a:lnTo>
                <a:lnTo>
                  <a:pt x="254" y="858"/>
                </a:lnTo>
                <a:lnTo>
                  <a:pt x="240" y="850"/>
                </a:lnTo>
                <a:lnTo>
                  <a:pt x="232" y="850"/>
                </a:lnTo>
                <a:lnTo>
                  <a:pt x="222" y="852"/>
                </a:lnTo>
                <a:lnTo>
                  <a:pt x="210" y="844"/>
                </a:lnTo>
                <a:lnTo>
                  <a:pt x="198" y="846"/>
                </a:lnTo>
                <a:lnTo>
                  <a:pt x="172" y="828"/>
                </a:lnTo>
                <a:lnTo>
                  <a:pt x="158" y="822"/>
                </a:lnTo>
                <a:lnTo>
                  <a:pt x="162" y="808"/>
                </a:lnTo>
                <a:lnTo>
                  <a:pt x="174" y="796"/>
                </a:lnTo>
                <a:lnTo>
                  <a:pt x="172" y="786"/>
                </a:lnTo>
                <a:lnTo>
                  <a:pt x="188" y="776"/>
                </a:lnTo>
                <a:lnTo>
                  <a:pt x="170" y="774"/>
                </a:lnTo>
                <a:lnTo>
                  <a:pt x="172" y="766"/>
                </a:lnTo>
                <a:lnTo>
                  <a:pt x="182" y="762"/>
                </a:lnTo>
                <a:lnTo>
                  <a:pt x="198" y="758"/>
                </a:lnTo>
                <a:lnTo>
                  <a:pt x="200" y="726"/>
                </a:lnTo>
                <a:lnTo>
                  <a:pt x="184" y="716"/>
                </a:lnTo>
                <a:lnTo>
                  <a:pt x="164" y="716"/>
                </a:lnTo>
                <a:lnTo>
                  <a:pt x="162" y="710"/>
                </a:lnTo>
                <a:lnTo>
                  <a:pt x="130" y="708"/>
                </a:lnTo>
                <a:lnTo>
                  <a:pt x="126" y="694"/>
                </a:lnTo>
                <a:lnTo>
                  <a:pt x="108" y="690"/>
                </a:lnTo>
                <a:lnTo>
                  <a:pt x="110" y="678"/>
                </a:lnTo>
                <a:lnTo>
                  <a:pt x="106" y="668"/>
                </a:lnTo>
                <a:lnTo>
                  <a:pt x="82" y="668"/>
                </a:lnTo>
                <a:lnTo>
                  <a:pt x="78" y="672"/>
                </a:lnTo>
                <a:lnTo>
                  <a:pt x="72" y="674"/>
                </a:lnTo>
                <a:lnTo>
                  <a:pt x="64" y="670"/>
                </a:lnTo>
                <a:lnTo>
                  <a:pt x="64" y="650"/>
                </a:lnTo>
                <a:lnTo>
                  <a:pt x="82" y="650"/>
                </a:lnTo>
                <a:lnTo>
                  <a:pt x="84" y="648"/>
                </a:lnTo>
                <a:lnTo>
                  <a:pt x="56" y="618"/>
                </a:lnTo>
                <a:lnTo>
                  <a:pt x="52" y="596"/>
                </a:lnTo>
                <a:lnTo>
                  <a:pt x="32" y="594"/>
                </a:lnTo>
                <a:lnTo>
                  <a:pt x="32" y="588"/>
                </a:lnTo>
                <a:lnTo>
                  <a:pt x="14" y="584"/>
                </a:lnTo>
                <a:lnTo>
                  <a:pt x="10" y="578"/>
                </a:lnTo>
                <a:lnTo>
                  <a:pt x="6" y="562"/>
                </a:lnTo>
                <a:lnTo>
                  <a:pt x="0" y="550"/>
                </a:lnTo>
                <a:lnTo>
                  <a:pt x="2" y="538"/>
                </a:lnTo>
                <a:lnTo>
                  <a:pt x="2" y="522"/>
                </a:lnTo>
                <a:lnTo>
                  <a:pt x="8" y="510"/>
                </a:lnTo>
                <a:lnTo>
                  <a:pt x="26" y="496"/>
                </a:lnTo>
                <a:lnTo>
                  <a:pt x="40" y="494"/>
                </a:lnTo>
                <a:lnTo>
                  <a:pt x="22" y="486"/>
                </a:lnTo>
                <a:lnTo>
                  <a:pt x="12" y="474"/>
                </a:lnTo>
                <a:lnTo>
                  <a:pt x="56" y="438"/>
                </a:lnTo>
                <a:lnTo>
                  <a:pt x="64" y="424"/>
                </a:lnTo>
                <a:lnTo>
                  <a:pt x="40" y="406"/>
                </a:lnTo>
                <a:lnTo>
                  <a:pt x="50" y="396"/>
                </a:lnTo>
                <a:lnTo>
                  <a:pt x="42" y="382"/>
                </a:lnTo>
                <a:lnTo>
                  <a:pt x="32" y="372"/>
                </a:lnTo>
                <a:lnTo>
                  <a:pt x="40" y="352"/>
                </a:lnTo>
                <a:lnTo>
                  <a:pt x="34" y="336"/>
                </a:lnTo>
                <a:lnTo>
                  <a:pt x="24" y="318"/>
                </a:lnTo>
                <a:lnTo>
                  <a:pt x="40" y="302"/>
                </a:lnTo>
                <a:lnTo>
                  <a:pt x="16" y="288"/>
                </a:lnTo>
                <a:lnTo>
                  <a:pt x="20" y="266"/>
                </a:lnTo>
                <a:lnTo>
                  <a:pt x="30" y="256"/>
                </a:lnTo>
                <a:lnTo>
                  <a:pt x="40" y="254"/>
                </a:lnTo>
                <a:lnTo>
                  <a:pt x="40" y="248"/>
                </a:lnTo>
                <a:lnTo>
                  <a:pt x="62" y="244"/>
                </a:lnTo>
                <a:lnTo>
                  <a:pt x="80" y="244"/>
                </a:lnTo>
                <a:lnTo>
                  <a:pt x="86" y="254"/>
                </a:lnTo>
                <a:lnTo>
                  <a:pt x="96" y="258"/>
                </a:lnTo>
                <a:lnTo>
                  <a:pt x="134" y="260"/>
                </a:lnTo>
                <a:lnTo>
                  <a:pt x="162" y="274"/>
                </a:lnTo>
                <a:lnTo>
                  <a:pt x="188" y="290"/>
                </a:lnTo>
                <a:lnTo>
                  <a:pt x="218" y="306"/>
                </a:lnTo>
                <a:lnTo>
                  <a:pt x="220" y="324"/>
                </a:lnTo>
                <a:lnTo>
                  <a:pt x="202" y="340"/>
                </a:lnTo>
                <a:lnTo>
                  <a:pt x="172" y="348"/>
                </a:lnTo>
                <a:lnTo>
                  <a:pt x="146" y="338"/>
                </a:lnTo>
                <a:lnTo>
                  <a:pt x="116" y="332"/>
                </a:lnTo>
                <a:lnTo>
                  <a:pt x="94" y="324"/>
                </a:lnTo>
                <a:lnTo>
                  <a:pt x="76" y="316"/>
                </a:lnTo>
                <a:lnTo>
                  <a:pt x="90" y="334"/>
                </a:lnTo>
                <a:lnTo>
                  <a:pt x="106" y="342"/>
                </a:lnTo>
                <a:lnTo>
                  <a:pt x="114" y="348"/>
                </a:lnTo>
                <a:lnTo>
                  <a:pt x="116" y="360"/>
                </a:lnTo>
                <a:lnTo>
                  <a:pt x="122" y="386"/>
                </a:lnTo>
                <a:lnTo>
                  <a:pt x="132" y="388"/>
                </a:lnTo>
                <a:lnTo>
                  <a:pt x="148" y="402"/>
                </a:lnTo>
                <a:lnTo>
                  <a:pt x="168" y="402"/>
                </a:lnTo>
                <a:lnTo>
                  <a:pt x="170" y="392"/>
                </a:lnTo>
                <a:lnTo>
                  <a:pt x="158" y="388"/>
                </a:lnTo>
                <a:lnTo>
                  <a:pt x="148" y="376"/>
                </a:lnTo>
                <a:lnTo>
                  <a:pt x="156" y="366"/>
                </a:lnTo>
                <a:lnTo>
                  <a:pt x="168" y="376"/>
                </a:lnTo>
                <a:lnTo>
                  <a:pt x="180" y="380"/>
                </a:lnTo>
                <a:lnTo>
                  <a:pt x="206" y="386"/>
                </a:lnTo>
                <a:lnTo>
                  <a:pt x="206" y="376"/>
                </a:lnTo>
                <a:lnTo>
                  <a:pt x="196" y="364"/>
                </a:lnTo>
                <a:lnTo>
                  <a:pt x="208" y="352"/>
                </a:lnTo>
                <a:lnTo>
                  <a:pt x="226" y="342"/>
                </a:lnTo>
                <a:lnTo>
                  <a:pt x="236" y="334"/>
                </a:lnTo>
                <a:lnTo>
                  <a:pt x="264" y="342"/>
                </a:lnTo>
                <a:lnTo>
                  <a:pt x="270" y="318"/>
                </a:lnTo>
                <a:lnTo>
                  <a:pt x="262" y="310"/>
                </a:lnTo>
                <a:lnTo>
                  <a:pt x="266" y="288"/>
                </a:lnTo>
                <a:lnTo>
                  <a:pt x="258" y="280"/>
                </a:lnTo>
                <a:lnTo>
                  <a:pt x="292" y="278"/>
                </a:lnTo>
                <a:lnTo>
                  <a:pt x="304" y="292"/>
                </a:lnTo>
                <a:lnTo>
                  <a:pt x="304" y="300"/>
                </a:lnTo>
                <a:lnTo>
                  <a:pt x="288" y="300"/>
                </a:lnTo>
                <a:lnTo>
                  <a:pt x="278" y="310"/>
                </a:lnTo>
                <a:lnTo>
                  <a:pt x="294" y="324"/>
                </a:lnTo>
                <a:lnTo>
                  <a:pt x="318" y="326"/>
                </a:lnTo>
                <a:lnTo>
                  <a:pt x="328" y="302"/>
                </a:lnTo>
                <a:lnTo>
                  <a:pt x="386" y="280"/>
                </a:lnTo>
                <a:lnTo>
                  <a:pt x="396" y="282"/>
                </a:lnTo>
                <a:lnTo>
                  <a:pt x="408" y="270"/>
                </a:lnTo>
                <a:lnTo>
                  <a:pt x="420" y="266"/>
                </a:lnTo>
                <a:lnTo>
                  <a:pt x="416" y="284"/>
                </a:lnTo>
                <a:lnTo>
                  <a:pt x="436" y="284"/>
                </a:lnTo>
                <a:lnTo>
                  <a:pt x="440" y="276"/>
                </a:lnTo>
                <a:lnTo>
                  <a:pt x="476" y="278"/>
                </a:lnTo>
                <a:lnTo>
                  <a:pt x="500" y="264"/>
                </a:lnTo>
                <a:lnTo>
                  <a:pt x="504" y="274"/>
                </a:lnTo>
                <a:lnTo>
                  <a:pt x="502" y="282"/>
                </a:lnTo>
                <a:lnTo>
                  <a:pt x="512" y="282"/>
                </a:lnTo>
                <a:lnTo>
                  <a:pt x="516" y="274"/>
                </a:lnTo>
                <a:lnTo>
                  <a:pt x="532" y="264"/>
                </a:lnTo>
                <a:lnTo>
                  <a:pt x="520" y="248"/>
                </a:lnTo>
                <a:lnTo>
                  <a:pt x="498" y="240"/>
                </a:lnTo>
                <a:lnTo>
                  <a:pt x="498" y="226"/>
                </a:lnTo>
                <a:lnTo>
                  <a:pt x="506" y="224"/>
                </a:lnTo>
                <a:lnTo>
                  <a:pt x="526" y="242"/>
                </a:lnTo>
                <a:lnTo>
                  <a:pt x="558" y="244"/>
                </a:lnTo>
                <a:lnTo>
                  <a:pt x="592" y="256"/>
                </a:lnTo>
                <a:lnTo>
                  <a:pt x="620" y="268"/>
                </a:lnTo>
                <a:lnTo>
                  <a:pt x="650" y="284"/>
                </a:lnTo>
                <a:lnTo>
                  <a:pt x="658" y="270"/>
                </a:lnTo>
                <a:lnTo>
                  <a:pt x="644" y="256"/>
                </a:lnTo>
                <a:lnTo>
                  <a:pt x="626" y="246"/>
                </a:lnTo>
                <a:lnTo>
                  <a:pt x="626" y="236"/>
                </a:lnTo>
                <a:lnTo>
                  <a:pt x="634" y="216"/>
                </a:lnTo>
                <a:lnTo>
                  <a:pt x="624" y="210"/>
                </a:lnTo>
                <a:lnTo>
                  <a:pt x="626" y="204"/>
                </a:lnTo>
                <a:lnTo>
                  <a:pt x="650" y="186"/>
                </a:lnTo>
                <a:lnTo>
                  <a:pt x="666" y="154"/>
                </a:lnTo>
                <a:lnTo>
                  <a:pt x="716" y="158"/>
                </a:lnTo>
                <a:lnTo>
                  <a:pt x="720" y="164"/>
                </a:lnTo>
                <a:lnTo>
                  <a:pt x="716" y="182"/>
                </a:lnTo>
                <a:lnTo>
                  <a:pt x="706" y="198"/>
                </a:lnTo>
                <a:lnTo>
                  <a:pt x="716" y="206"/>
                </a:lnTo>
                <a:lnTo>
                  <a:pt x="720" y="224"/>
                </a:lnTo>
                <a:lnTo>
                  <a:pt x="716" y="268"/>
                </a:lnTo>
                <a:lnTo>
                  <a:pt x="732" y="280"/>
                </a:lnTo>
                <a:lnTo>
                  <a:pt x="724" y="298"/>
                </a:lnTo>
                <a:lnTo>
                  <a:pt x="696" y="322"/>
                </a:lnTo>
                <a:lnTo>
                  <a:pt x="682" y="328"/>
                </a:lnTo>
                <a:lnTo>
                  <a:pt x="666" y="324"/>
                </a:lnTo>
                <a:lnTo>
                  <a:pt x="658" y="328"/>
                </a:lnTo>
                <a:lnTo>
                  <a:pt x="670" y="336"/>
                </a:lnTo>
                <a:lnTo>
                  <a:pt x="688" y="340"/>
                </a:lnTo>
                <a:lnTo>
                  <a:pt x="706" y="342"/>
                </a:lnTo>
                <a:lnTo>
                  <a:pt x="726" y="326"/>
                </a:lnTo>
                <a:lnTo>
                  <a:pt x="754" y="298"/>
                </a:lnTo>
                <a:lnTo>
                  <a:pt x="746" y="282"/>
                </a:lnTo>
                <a:lnTo>
                  <a:pt x="756" y="266"/>
                </a:lnTo>
                <a:lnTo>
                  <a:pt x="778" y="270"/>
                </a:lnTo>
                <a:lnTo>
                  <a:pt x="788" y="280"/>
                </a:lnTo>
                <a:lnTo>
                  <a:pt x="792" y="296"/>
                </a:lnTo>
                <a:lnTo>
                  <a:pt x="806" y="284"/>
                </a:lnTo>
                <a:lnTo>
                  <a:pt x="798" y="268"/>
                </a:lnTo>
                <a:lnTo>
                  <a:pt x="778" y="262"/>
                </a:lnTo>
                <a:lnTo>
                  <a:pt x="736" y="260"/>
                </a:lnTo>
                <a:lnTo>
                  <a:pt x="736" y="240"/>
                </a:lnTo>
                <a:lnTo>
                  <a:pt x="744" y="220"/>
                </a:lnTo>
                <a:lnTo>
                  <a:pt x="734" y="204"/>
                </a:lnTo>
                <a:lnTo>
                  <a:pt x="728" y="192"/>
                </a:lnTo>
                <a:lnTo>
                  <a:pt x="740" y="180"/>
                </a:lnTo>
                <a:lnTo>
                  <a:pt x="754" y="174"/>
                </a:lnTo>
                <a:lnTo>
                  <a:pt x="756" y="158"/>
                </a:lnTo>
                <a:lnTo>
                  <a:pt x="764" y="158"/>
                </a:lnTo>
                <a:lnTo>
                  <a:pt x="766" y="176"/>
                </a:lnTo>
                <a:lnTo>
                  <a:pt x="760" y="190"/>
                </a:lnTo>
                <a:lnTo>
                  <a:pt x="764" y="200"/>
                </a:lnTo>
                <a:lnTo>
                  <a:pt x="780" y="204"/>
                </a:lnTo>
                <a:lnTo>
                  <a:pt x="804" y="210"/>
                </a:lnTo>
                <a:lnTo>
                  <a:pt x="816" y="210"/>
                </a:lnTo>
                <a:lnTo>
                  <a:pt x="802" y="200"/>
                </a:lnTo>
                <a:lnTo>
                  <a:pt x="782" y="194"/>
                </a:lnTo>
                <a:lnTo>
                  <a:pt x="774" y="182"/>
                </a:lnTo>
                <a:lnTo>
                  <a:pt x="786" y="178"/>
                </a:lnTo>
                <a:lnTo>
                  <a:pt x="806" y="182"/>
                </a:lnTo>
                <a:lnTo>
                  <a:pt x="792" y="166"/>
                </a:lnTo>
                <a:lnTo>
                  <a:pt x="798" y="162"/>
                </a:lnTo>
                <a:lnTo>
                  <a:pt x="832" y="172"/>
                </a:lnTo>
                <a:lnTo>
                  <a:pt x="852" y="188"/>
                </a:lnTo>
                <a:lnTo>
                  <a:pt x="880" y="188"/>
                </a:lnTo>
                <a:lnTo>
                  <a:pt x="866" y="174"/>
                </a:lnTo>
                <a:lnTo>
                  <a:pt x="848" y="160"/>
                </a:lnTo>
                <a:lnTo>
                  <a:pt x="842" y="138"/>
                </a:lnTo>
                <a:lnTo>
                  <a:pt x="854" y="130"/>
                </a:lnTo>
                <a:lnTo>
                  <a:pt x="900" y="128"/>
                </a:lnTo>
                <a:lnTo>
                  <a:pt x="946" y="120"/>
                </a:lnTo>
                <a:lnTo>
                  <a:pt x="934" y="98"/>
                </a:lnTo>
                <a:lnTo>
                  <a:pt x="972" y="80"/>
                </a:lnTo>
                <a:lnTo>
                  <a:pt x="1056" y="52"/>
                </a:lnTo>
                <a:lnTo>
                  <a:pt x="1092" y="48"/>
                </a:lnTo>
                <a:lnTo>
                  <a:pt x="1126" y="52"/>
                </a:lnTo>
                <a:lnTo>
                  <a:pt x="1176" y="36"/>
                </a:lnTo>
                <a:lnTo>
                  <a:pt x="1172" y="20"/>
                </a:lnTo>
                <a:lnTo>
                  <a:pt x="1196" y="0"/>
                </a:lnTo>
                <a:lnTo>
                  <a:pt x="1230" y="2"/>
                </a:lnTo>
                <a:lnTo>
                  <a:pt x="1248" y="8"/>
                </a:lnTo>
                <a:lnTo>
                  <a:pt x="1226" y="20"/>
                </a:lnTo>
                <a:lnTo>
                  <a:pt x="1268" y="22"/>
                </a:lnTo>
                <a:lnTo>
                  <a:pt x="1260" y="36"/>
                </a:lnTo>
                <a:lnTo>
                  <a:pt x="1336" y="34"/>
                </a:lnTo>
                <a:lnTo>
                  <a:pt x="1364" y="52"/>
                </a:lnTo>
                <a:lnTo>
                  <a:pt x="1368" y="64"/>
                </a:lnTo>
                <a:lnTo>
                  <a:pt x="1360" y="84"/>
                </a:lnTo>
                <a:lnTo>
                  <a:pt x="1326" y="102"/>
                </a:lnTo>
                <a:lnTo>
                  <a:pt x="1290" y="122"/>
                </a:lnTo>
                <a:lnTo>
                  <a:pt x="1240" y="150"/>
                </a:lnTo>
                <a:lnTo>
                  <a:pt x="1244" y="154"/>
                </a:lnTo>
                <a:lnTo>
                  <a:pt x="1266" y="146"/>
                </a:lnTo>
                <a:lnTo>
                  <a:pt x="1308" y="134"/>
                </a:lnTo>
                <a:lnTo>
                  <a:pt x="1306" y="126"/>
                </a:lnTo>
                <a:lnTo>
                  <a:pt x="1316" y="116"/>
                </a:lnTo>
                <a:lnTo>
                  <a:pt x="1332" y="112"/>
                </a:lnTo>
                <a:lnTo>
                  <a:pt x="1336" y="122"/>
                </a:lnTo>
                <a:lnTo>
                  <a:pt x="1348" y="126"/>
                </a:lnTo>
                <a:lnTo>
                  <a:pt x="1366" y="138"/>
                </a:lnTo>
                <a:lnTo>
                  <a:pt x="1376" y="132"/>
                </a:lnTo>
                <a:lnTo>
                  <a:pt x="1450" y="134"/>
                </a:lnTo>
                <a:lnTo>
                  <a:pt x="1450" y="144"/>
                </a:lnTo>
                <a:lnTo>
                  <a:pt x="1522" y="152"/>
                </a:lnTo>
                <a:lnTo>
                  <a:pt x="1530" y="126"/>
                </a:lnTo>
                <a:lnTo>
                  <a:pt x="1544" y="128"/>
                </a:lnTo>
                <a:lnTo>
                  <a:pt x="1564" y="138"/>
                </a:lnTo>
                <a:lnTo>
                  <a:pt x="1596" y="136"/>
                </a:lnTo>
                <a:lnTo>
                  <a:pt x="1614" y="156"/>
                </a:lnTo>
                <a:lnTo>
                  <a:pt x="1618" y="174"/>
                </a:lnTo>
                <a:lnTo>
                  <a:pt x="1606" y="182"/>
                </a:lnTo>
                <a:lnTo>
                  <a:pt x="1628" y="208"/>
                </a:lnTo>
                <a:lnTo>
                  <a:pt x="1650" y="214"/>
                </a:lnTo>
                <a:lnTo>
                  <a:pt x="1670" y="184"/>
                </a:lnTo>
                <a:lnTo>
                  <a:pt x="1696" y="198"/>
                </a:lnTo>
                <a:lnTo>
                  <a:pt x="1720" y="190"/>
                </a:lnTo>
                <a:lnTo>
                  <a:pt x="1746" y="200"/>
                </a:lnTo>
                <a:lnTo>
                  <a:pt x="1768" y="192"/>
                </a:lnTo>
                <a:lnTo>
                  <a:pt x="1784" y="184"/>
                </a:lnTo>
                <a:lnTo>
                  <a:pt x="1782" y="166"/>
                </a:lnTo>
                <a:lnTo>
                  <a:pt x="1804" y="158"/>
                </a:lnTo>
                <a:lnTo>
                  <a:pt x="1872" y="162"/>
                </a:lnTo>
                <a:lnTo>
                  <a:pt x="1884" y="172"/>
                </a:lnTo>
                <a:lnTo>
                  <a:pt x="1890" y="176"/>
                </a:lnTo>
                <a:lnTo>
                  <a:pt x="1926" y="172"/>
                </a:lnTo>
                <a:lnTo>
                  <a:pt x="1942" y="180"/>
                </a:lnTo>
                <a:lnTo>
                  <a:pt x="1934" y="190"/>
                </a:lnTo>
                <a:lnTo>
                  <a:pt x="1948" y="196"/>
                </a:lnTo>
                <a:lnTo>
                  <a:pt x="1978" y="208"/>
                </a:lnTo>
                <a:lnTo>
                  <a:pt x="2030" y="210"/>
                </a:lnTo>
                <a:lnTo>
                  <a:pt x="2084" y="212"/>
                </a:lnTo>
                <a:lnTo>
                  <a:pt x="2106" y="224"/>
                </a:lnTo>
                <a:lnTo>
                  <a:pt x="2104" y="238"/>
                </a:lnTo>
                <a:lnTo>
                  <a:pt x="2108" y="246"/>
                </a:lnTo>
                <a:lnTo>
                  <a:pt x="2126" y="252"/>
                </a:lnTo>
                <a:lnTo>
                  <a:pt x="2140" y="246"/>
                </a:lnTo>
                <a:lnTo>
                  <a:pt x="2206" y="250"/>
                </a:lnTo>
                <a:lnTo>
                  <a:pt x="2214" y="250"/>
                </a:lnTo>
                <a:lnTo>
                  <a:pt x="2230" y="242"/>
                </a:lnTo>
                <a:lnTo>
                  <a:pt x="2236" y="244"/>
                </a:lnTo>
                <a:lnTo>
                  <a:pt x="2236" y="256"/>
                </a:lnTo>
                <a:lnTo>
                  <a:pt x="2254" y="270"/>
                </a:lnTo>
                <a:lnTo>
                  <a:pt x="2274" y="272"/>
                </a:lnTo>
                <a:lnTo>
                  <a:pt x="2280" y="264"/>
                </a:lnTo>
                <a:lnTo>
                  <a:pt x="2274" y="252"/>
                </a:lnTo>
                <a:lnTo>
                  <a:pt x="2272" y="234"/>
                </a:lnTo>
                <a:lnTo>
                  <a:pt x="2284" y="232"/>
                </a:lnTo>
                <a:lnTo>
                  <a:pt x="2302" y="240"/>
                </a:lnTo>
                <a:lnTo>
                  <a:pt x="2334" y="240"/>
                </a:lnTo>
                <a:lnTo>
                  <a:pt x="2372" y="246"/>
                </a:lnTo>
                <a:lnTo>
                  <a:pt x="2416" y="262"/>
                </a:lnTo>
                <a:lnTo>
                  <a:pt x="2442" y="276"/>
                </a:lnTo>
                <a:lnTo>
                  <a:pt x="2488" y="296"/>
                </a:lnTo>
                <a:lnTo>
                  <a:pt x="2496" y="308"/>
                </a:lnTo>
                <a:lnTo>
                  <a:pt x="2502" y="320"/>
                </a:lnTo>
                <a:lnTo>
                  <a:pt x="2512" y="336"/>
                </a:lnTo>
                <a:lnTo>
                  <a:pt x="2520" y="332"/>
                </a:lnTo>
                <a:lnTo>
                  <a:pt x="2514" y="314"/>
                </a:lnTo>
                <a:lnTo>
                  <a:pt x="2530" y="316"/>
                </a:lnTo>
                <a:lnTo>
                  <a:pt x="2550" y="320"/>
                </a:lnTo>
                <a:lnTo>
                  <a:pt x="2568" y="332"/>
                </a:lnTo>
                <a:lnTo>
                  <a:pt x="2580" y="344"/>
                </a:lnTo>
                <a:lnTo>
                  <a:pt x="2568" y="356"/>
                </a:lnTo>
                <a:lnTo>
                  <a:pt x="2542" y="362"/>
                </a:lnTo>
                <a:lnTo>
                  <a:pt x="2538" y="376"/>
                </a:lnTo>
                <a:lnTo>
                  <a:pt x="2530" y="394"/>
                </a:lnTo>
                <a:lnTo>
                  <a:pt x="2502" y="380"/>
                </a:lnTo>
                <a:lnTo>
                  <a:pt x="2486" y="374"/>
                </a:lnTo>
                <a:lnTo>
                  <a:pt x="2488" y="358"/>
                </a:lnTo>
                <a:lnTo>
                  <a:pt x="2446" y="360"/>
                </a:lnTo>
                <a:lnTo>
                  <a:pt x="2440" y="340"/>
                </a:lnTo>
                <a:lnTo>
                  <a:pt x="2426" y="342"/>
                </a:lnTo>
                <a:lnTo>
                  <a:pt x="2424" y="356"/>
                </a:lnTo>
                <a:lnTo>
                  <a:pt x="2430" y="362"/>
                </a:lnTo>
                <a:lnTo>
                  <a:pt x="2412" y="378"/>
                </a:lnTo>
                <a:lnTo>
                  <a:pt x="2392" y="380"/>
                </a:lnTo>
                <a:lnTo>
                  <a:pt x="2378" y="378"/>
                </a:lnTo>
                <a:lnTo>
                  <a:pt x="2370" y="372"/>
                </a:lnTo>
                <a:lnTo>
                  <a:pt x="2368" y="380"/>
                </a:lnTo>
                <a:lnTo>
                  <a:pt x="2382" y="386"/>
                </a:lnTo>
                <a:lnTo>
                  <a:pt x="2396" y="394"/>
                </a:lnTo>
                <a:lnTo>
                  <a:pt x="2402" y="412"/>
                </a:lnTo>
                <a:lnTo>
                  <a:pt x="2414" y="430"/>
                </a:lnTo>
                <a:lnTo>
                  <a:pt x="2400" y="438"/>
                </a:lnTo>
                <a:lnTo>
                  <a:pt x="2374" y="428"/>
                </a:lnTo>
                <a:lnTo>
                  <a:pt x="2362" y="438"/>
                </a:lnTo>
                <a:lnTo>
                  <a:pt x="2326" y="454"/>
                </a:lnTo>
                <a:lnTo>
                  <a:pt x="2306" y="464"/>
                </a:lnTo>
                <a:lnTo>
                  <a:pt x="2266" y="496"/>
                </a:lnTo>
                <a:lnTo>
                  <a:pt x="2252" y="484"/>
                </a:lnTo>
                <a:lnTo>
                  <a:pt x="2222" y="484"/>
                </a:lnTo>
                <a:lnTo>
                  <a:pt x="2206" y="500"/>
                </a:lnTo>
                <a:lnTo>
                  <a:pt x="2202" y="484"/>
                </a:lnTo>
                <a:lnTo>
                  <a:pt x="2192" y="484"/>
                </a:lnTo>
                <a:lnTo>
                  <a:pt x="2188" y="496"/>
                </a:lnTo>
                <a:lnTo>
                  <a:pt x="2160" y="496"/>
                </a:lnTo>
                <a:lnTo>
                  <a:pt x="2136" y="534"/>
                </a:lnTo>
                <a:lnTo>
                  <a:pt x="2136" y="546"/>
                </a:lnTo>
                <a:lnTo>
                  <a:pt x="2152" y="546"/>
                </a:lnTo>
                <a:lnTo>
                  <a:pt x="2148" y="564"/>
                </a:lnTo>
                <a:lnTo>
                  <a:pt x="2154" y="580"/>
                </a:lnTo>
                <a:lnTo>
                  <a:pt x="2136" y="586"/>
                </a:lnTo>
                <a:lnTo>
                  <a:pt x="2130" y="600"/>
                </a:lnTo>
                <a:lnTo>
                  <a:pt x="2136" y="618"/>
                </a:lnTo>
                <a:lnTo>
                  <a:pt x="2112" y="626"/>
                </a:lnTo>
                <a:lnTo>
                  <a:pt x="2104" y="634"/>
                </a:lnTo>
                <a:lnTo>
                  <a:pt x="2104" y="640"/>
                </a:lnTo>
                <a:lnTo>
                  <a:pt x="2106" y="644"/>
                </a:lnTo>
                <a:lnTo>
                  <a:pt x="2104" y="648"/>
                </a:lnTo>
                <a:lnTo>
                  <a:pt x="2080" y="656"/>
                </a:lnTo>
                <a:lnTo>
                  <a:pt x="2080" y="670"/>
                </a:lnTo>
                <a:lnTo>
                  <a:pt x="2050" y="700"/>
                </a:lnTo>
                <a:lnTo>
                  <a:pt x="2046" y="668"/>
                </a:lnTo>
                <a:lnTo>
                  <a:pt x="2034" y="618"/>
                </a:lnTo>
                <a:lnTo>
                  <a:pt x="2034" y="582"/>
                </a:lnTo>
                <a:lnTo>
                  <a:pt x="2046" y="568"/>
                </a:lnTo>
                <a:lnTo>
                  <a:pt x="2058" y="546"/>
                </a:lnTo>
                <a:lnTo>
                  <a:pt x="2074" y="542"/>
                </a:lnTo>
                <a:lnTo>
                  <a:pt x="2116" y="502"/>
                </a:lnTo>
                <a:lnTo>
                  <a:pt x="2148" y="480"/>
                </a:lnTo>
                <a:lnTo>
                  <a:pt x="2158" y="476"/>
                </a:lnTo>
                <a:lnTo>
                  <a:pt x="2174" y="440"/>
                </a:lnTo>
                <a:lnTo>
                  <a:pt x="2182" y="436"/>
                </a:lnTo>
                <a:lnTo>
                  <a:pt x="2166" y="430"/>
                </a:lnTo>
                <a:lnTo>
                  <a:pt x="2160" y="432"/>
                </a:lnTo>
                <a:lnTo>
                  <a:pt x="2154" y="438"/>
                </a:lnTo>
                <a:lnTo>
                  <a:pt x="2154" y="456"/>
                </a:lnTo>
                <a:lnTo>
                  <a:pt x="2140" y="456"/>
                </a:lnTo>
                <a:lnTo>
                  <a:pt x="2108" y="476"/>
                </a:lnTo>
                <a:lnTo>
                  <a:pt x="2100" y="468"/>
                </a:lnTo>
                <a:lnTo>
                  <a:pt x="2108" y="452"/>
                </a:lnTo>
                <a:lnTo>
                  <a:pt x="2098" y="456"/>
                </a:lnTo>
                <a:lnTo>
                  <a:pt x="2058" y="456"/>
                </a:lnTo>
                <a:lnTo>
                  <a:pt x="2020" y="486"/>
                </a:lnTo>
                <a:lnTo>
                  <a:pt x="2012" y="502"/>
                </a:lnTo>
                <a:lnTo>
                  <a:pt x="2016" y="506"/>
                </a:lnTo>
                <a:lnTo>
                  <a:pt x="2026" y="516"/>
                </a:lnTo>
                <a:lnTo>
                  <a:pt x="2010" y="516"/>
                </a:lnTo>
                <a:lnTo>
                  <a:pt x="1994" y="518"/>
                </a:lnTo>
                <a:lnTo>
                  <a:pt x="1964" y="520"/>
                </a:lnTo>
                <a:lnTo>
                  <a:pt x="1972" y="512"/>
                </a:lnTo>
                <a:lnTo>
                  <a:pt x="1966" y="504"/>
                </a:lnTo>
                <a:lnTo>
                  <a:pt x="1944" y="502"/>
                </a:lnTo>
                <a:lnTo>
                  <a:pt x="1930" y="504"/>
                </a:lnTo>
                <a:lnTo>
                  <a:pt x="1924" y="512"/>
                </a:lnTo>
                <a:lnTo>
                  <a:pt x="1894" y="510"/>
                </a:lnTo>
                <a:lnTo>
                  <a:pt x="1880" y="512"/>
                </a:lnTo>
                <a:lnTo>
                  <a:pt x="1828" y="512"/>
                </a:lnTo>
                <a:lnTo>
                  <a:pt x="1712" y="612"/>
                </a:lnTo>
                <a:lnTo>
                  <a:pt x="1714" y="622"/>
                </a:lnTo>
                <a:lnTo>
                  <a:pt x="1734" y="620"/>
                </a:lnTo>
                <a:lnTo>
                  <a:pt x="1736" y="636"/>
                </a:lnTo>
                <a:lnTo>
                  <a:pt x="1746" y="624"/>
                </a:lnTo>
                <a:lnTo>
                  <a:pt x="1756" y="640"/>
                </a:lnTo>
                <a:lnTo>
                  <a:pt x="1770" y="628"/>
                </a:lnTo>
                <a:lnTo>
                  <a:pt x="1792" y="632"/>
                </a:lnTo>
                <a:lnTo>
                  <a:pt x="1808" y="652"/>
                </a:lnTo>
                <a:lnTo>
                  <a:pt x="1804" y="674"/>
                </a:lnTo>
                <a:lnTo>
                  <a:pt x="1796" y="696"/>
                </a:lnTo>
                <a:lnTo>
                  <a:pt x="1794" y="728"/>
                </a:lnTo>
                <a:lnTo>
                  <a:pt x="1788" y="746"/>
                </a:lnTo>
                <a:lnTo>
                  <a:pt x="1728" y="820"/>
                </a:lnTo>
                <a:lnTo>
                  <a:pt x="1710" y="842"/>
                </a:lnTo>
                <a:lnTo>
                  <a:pt x="1696" y="852"/>
                </a:lnTo>
                <a:lnTo>
                  <a:pt x="1678" y="860"/>
                </a:lnTo>
                <a:lnTo>
                  <a:pt x="1664" y="852"/>
                </a:lnTo>
                <a:lnTo>
                  <a:pt x="1646" y="856"/>
                </a:lnTo>
                <a:lnTo>
                  <a:pt x="1646" y="820"/>
                </a:lnTo>
                <a:lnTo>
                  <a:pt x="1660" y="810"/>
                </a:lnTo>
                <a:lnTo>
                  <a:pt x="1666" y="816"/>
                </a:lnTo>
                <a:lnTo>
                  <a:pt x="1678" y="814"/>
                </a:lnTo>
                <a:lnTo>
                  <a:pt x="1690" y="792"/>
                </a:lnTo>
                <a:lnTo>
                  <a:pt x="1696" y="770"/>
                </a:lnTo>
                <a:lnTo>
                  <a:pt x="1704" y="766"/>
                </a:lnTo>
                <a:lnTo>
                  <a:pt x="1702" y="752"/>
                </a:lnTo>
                <a:lnTo>
                  <a:pt x="1686" y="754"/>
                </a:lnTo>
                <a:lnTo>
                  <a:pt x="1672" y="756"/>
                </a:lnTo>
                <a:lnTo>
                  <a:pt x="1666" y="764"/>
                </a:lnTo>
                <a:lnTo>
                  <a:pt x="1644" y="762"/>
                </a:lnTo>
                <a:lnTo>
                  <a:pt x="1640" y="742"/>
                </a:lnTo>
                <a:lnTo>
                  <a:pt x="1610" y="726"/>
                </a:lnTo>
                <a:lnTo>
                  <a:pt x="1594" y="726"/>
                </a:lnTo>
                <a:lnTo>
                  <a:pt x="1572" y="674"/>
                </a:lnTo>
                <a:lnTo>
                  <a:pt x="1560" y="654"/>
                </a:lnTo>
                <a:lnTo>
                  <a:pt x="1530" y="642"/>
                </a:lnTo>
                <a:lnTo>
                  <a:pt x="1486" y="646"/>
                </a:lnTo>
                <a:lnTo>
                  <a:pt x="1472" y="652"/>
                </a:lnTo>
                <a:lnTo>
                  <a:pt x="1470" y="660"/>
                </a:lnTo>
                <a:lnTo>
                  <a:pt x="1482" y="662"/>
                </a:lnTo>
                <a:lnTo>
                  <a:pt x="1482" y="676"/>
                </a:lnTo>
                <a:lnTo>
                  <a:pt x="1472" y="682"/>
                </a:lnTo>
                <a:lnTo>
                  <a:pt x="1462" y="700"/>
                </a:lnTo>
                <a:lnTo>
                  <a:pt x="1458" y="716"/>
                </a:lnTo>
                <a:lnTo>
                  <a:pt x="1446" y="718"/>
                </a:lnTo>
                <a:lnTo>
                  <a:pt x="1436" y="728"/>
                </a:lnTo>
                <a:lnTo>
                  <a:pt x="1418" y="718"/>
                </a:lnTo>
                <a:lnTo>
                  <a:pt x="1394" y="716"/>
                </a:lnTo>
                <a:lnTo>
                  <a:pt x="1386" y="710"/>
                </a:lnTo>
                <a:lnTo>
                  <a:pt x="1376" y="712"/>
                </a:lnTo>
                <a:lnTo>
                  <a:pt x="1358" y="726"/>
                </a:lnTo>
                <a:lnTo>
                  <a:pt x="1328" y="732"/>
                </a:lnTo>
                <a:lnTo>
                  <a:pt x="1310" y="734"/>
                </a:lnTo>
                <a:lnTo>
                  <a:pt x="1288" y="732"/>
                </a:lnTo>
                <a:lnTo>
                  <a:pt x="1282" y="726"/>
                </a:lnTo>
                <a:lnTo>
                  <a:pt x="1276" y="718"/>
                </a:lnTo>
                <a:lnTo>
                  <a:pt x="1266" y="716"/>
                </a:lnTo>
                <a:lnTo>
                  <a:pt x="1260" y="710"/>
                </a:lnTo>
                <a:lnTo>
                  <a:pt x="1236" y="706"/>
                </a:lnTo>
                <a:lnTo>
                  <a:pt x="1222" y="714"/>
                </a:lnTo>
                <a:lnTo>
                  <a:pt x="1196" y="710"/>
                </a:lnTo>
                <a:lnTo>
                  <a:pt x="1186" y="698"/>
                </a:lnTo>
                <a:lnTo>
                  <a:pt x="1184" y="688"/>
                </a:lnTo>
                <a:lnTo>
                  <a:pt x="1160" y="680"/>
                </a:lnTo>
                <a:lnTo>
                  <a:pt x="1132" y="674"/>
                </a:lnTo>
                <a:lnTo>
                  <a:pt x="1114" y="692"/>
                </a:lnTo>
                <a:lnTo>
                  <a:pt x="1126" y="706"/>
                </a:lnTo>
                <a:lnTo>
                  <a:pt x="1124" y="714"/>
                </a:lnTo>
                <a:lnTo>
                  <a:pt x="1112" y="724"/>
                </a:lnTo>
                <a:lnTo>
                  <a:pt x="1104" y="718"/>
                </a:lnTo>
                <a:lnTo>
                  <a:pt x="1072" y="718"/>
                </a:lnTo>
                <a:lnTo>
                  <a:pt x="1062" y="706"/>
                </a:lnTo>
                <a:lnTo>
                  <a:pt x="1042" y="702"/>
                </a:lnTo>
                <a:lnTo>
                  <a:pt x="1024" y="700"/>
                </a:lnTo>
                <a:lnTo>
                  <a:pt x="990" y="718"/>
                </a:lnTo>
                <a:lnTo>
                  <a:pt x="982" y="726"/>
                </a:lnTo>
                <a:lnTo>
                  <a:pt x="968" y="728"/>
                </a:lnTo>
                <a:lnTo>
                  <a:pt x="960" y="736"/>
                </a:lnTo>
                <a:lnTo>
                  <a:pt x="944" y="736"/>
                </a:lnTo>
                <a:lnTo>
                  <a:pt x="940" y="722"/>
                </a:lnTo>
                <a:lnTo>
                  <a:pt x="918" y="720"/>
                </a:lnTo>
                <a:lnTo>
                  <a:pt x="904" y="710"/>
                </a:lnTo>
                <a:lnTo>
                  <a:pt x="894" y="696"/>
                </a:lnTo>
                <a:lnTo>
                  <a:pt x="866" y="700"/>
                </a:lnTo>
                <a:lnTo>
                  <a:pt x="844" y="688"/>
                </a:lnTo>
                <a:lnTo>
                  <a:pt x="840" y="696"/>
                </a:lnTo>
                <a:lnTo>
                  <a:pt x="832" y="696"/>
                </a:lnTo>
                <a:lnTo>
                  <a:pt x="818" y="672"/>
                </a:lnTo>
                <a:lnTo>
                  <a:pt x="802" y="648"/>
                </a:lnTo>
                <a:lnTo>
                  <a:pt x="784" y="636"/>
                </a:lnTo>
                <a:lnTo>
                  <a:pt x="782" y="626"/>
                </a:lnTo>
                <a:lnTo>
                  <a:pt x="760" y="632"/>
                </a:lnTo>
                <a:lnTo>
                  <a:pt x="742" y="642"/>
                </a:lnTo>
                <a:lnTo>
                  <a:pt x="722" y="632"/>
                </a:lnTo>
                <a:lnTo>
                  <a:pt x="702" y="626"/>
                </a:lnTo>
                <a:lnTo>
                  <a:pt x="692" y="620"/>
                </a:lnTo>
                <a:lnTo>
                  <a:pt x="688" y="606"/>
                </a:lnTo>
                <a:lnTo>
                  <a:pt x="668" y="604"/>
                </a:lnTo>
                <a:lnTo>
                  <a:pt x="646" y="608"/>
                </a:lnTo>
                <a:lnTo>
                  <a:pt x="558" y="632"/>
                </a:lnTo>
                <a:lnTo>
                  <a:pt x="536" y="634"/>
                </a:lnTo>
                <a:lnTo>
                  <a:pt x="540" y="644"/>
                </a:lnTo>
                <a:lnTo>
                  <a:pt x="544" y="652"/>
                </a:lnTo>
                <a:lnTo>
                  <a:pt x="532" y="656"/>
                </a:lnTo>
                <a:lnTo>
                  <a:pt x="530" y="666"/>
                </a:lnTo>
                <a:lnTo>
                  <a:pt x="524" y="672"/>
                </a:lnTo>
                <a:lnTo>
                  <a:pt x="518" y="680"/>
                </a:lnTo>
                <a:lnTo>
                  <a:pt x="532" y="684"/>
                </a:lnTo>
                <a:lnTo>
                  <a:pt x="540" y="692"/>
                </a:lnTo>
                <a:lnTo>
                  <a:pt x="530" y="702"/>
                </a:lnTo>
                <a:lnTo>
                  <a:pt x="504" y="704"/>
                </a:lnTo>
                <a:lnTo>
                  <a:pt x="494" y="694"/>
                </a:lnTo>
                <a:lnTo>
                  <a:pt x="476" y="694"/>
                </a:lnTo>
                <a:lnTo>
                  <a:pt x="454" y="704"/>
                </a:lnTo>
                <a:lnTo>
                  <a:pt x="438" y="702"/>
                </a:lnTo>
                <a:lnTo>
                  <a:pt x="416" y="688"/>
                </a:lnTo>
                <a:lnTo>
                  <a:pt x="380" y="682"/>
                </a:lnTo>
                <a:lnTo>
                  <a:pt x="364" y="688"/>
                </a:lnTo>
                <a:lnTo>
                  <a:pt x="340" y="706"/>
                </a:lnTo>
                <a:lnTo>
                  <a:pt x="338" y="718"/>
                </a:lnTo>
                <a:lnTo>
                  <a:pt x="330" y="722"/>
                </a:lnTo>
                <a:lnTo>
                  <a:pt x="322" y="706"/>
                </a:lnTo>
                <a:lnTo>
                  <a:pt x="310" y="720"/>
                </a:lnTo>
                <a:lnTo>
                  <a:pt x="304" y="744"/>
                </a:lnTo>
                <a:lnTo>
                  <a:pt x="314" y="758"/>
                </a:lnTo>
                <a:lnTo>
                  <a:pt x="328" y="762"/>
                </a:lnTo>
                <a:lnTo>
                  <a:pt x="340" y="778"/>
                </a:lnTo>
                <a:lnTo>
                  <a:pt x="344" y="792"/>
                </a:lnTo>
                <a:close/>
              </a:path>
            </a:pathLst>
          </a:custGeom>
          <a:solidFill>
            <a:srgbClr val="C0C0C0">
              <a:alpha val="50195"/>
            </a:srgbClr>
          </a:solidFill>
          <a:ln w="8001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8" name="Freeform 188">
            <a:extLst>
              <a:ext uri="{FF2B5EF4-FFF2-40B4-BE49-F238E27FC236}">
                <a16:creationId xmlns:a16="http://schemas.microsoft.com/office/drawing/2014/main" id="{E8DA9A2E-094A-CC7C-0475-FE2125BB980B}"/>
              </a:ext>
            </a:extLst>
          </p:cNvPr>
          <p:cNvSpPr>
            <a:spLocks/>
          </p:cNvSpPr>
          <p:nvPr/>
        </p:nvSpPr>
        <p:spPr bwMode="auto">
          <a:xfrm>
            <a:off x="6824133" y="1852085"/>
            <a:ext cx="541867" cy="387351"/>
          </a:xfrm>
          <a:custGeom>
            <a:avLst/>
            <a:gdLst>
              <a:gd name="T0" fmla="*/ 2147483647 w 276"/>
              <a:gd name="T1" fmla="*/ 2147483647 h 196"/>
              <a:gd name="T2" fmla="*/ 2147483647 w 276"/>
              <a:gd name="T3" fmla="*/ 2147483647 h 196"/>
              <a:gd name="T4" fmla="*/ 2147483647 w 276"/>
              <a:gd name="T5" fmla="*/ 2147483647 h 196"/>
              <a:gd name="T6" fmla="*/ 2147483647 w 276"/>
              <a:gd name="T7" fmla="*/ 2147483647 h 196"/>
              <a:gd name="T8" fmla="*/ 2147483647 w 276"/>
              <a:gd name="T9" fmla="*/ 2147483647 h 196"/>
              <a:gd name="T10" fmla="*/ 2147483647 w 276"/>
              <a:gd name="T11" fmla="*/ 2147483647 h 196"/>
              <a:gd name="T12" fmla="*/ 0 w 276"/>
              <a:gd name="T13" fmla="*/ 2147483647 h 196"/>
              <a:gd name="T14" fmla="*/ 0 w 276"/>
              <a:gd name="T15" fmla="*/ 2147483647 h 196"/>
              <a:gd name="T16" fmla="*/ 2147483647 w 276"/>
              <a:gd name="T17" fmla="*/ 2147483647 h 196"/>
              <a:gd name="T18" fmla="*/ 2147483647 w 276"/>
              <a:gd name="T19" fmla="*/ 2147483647 h 196"/>
              <a:gd name="T20" fmla="*/ 2147483647 w 276"/>
              <a:gd name="T21" fmla="*/ 2147483647 h 196"/>
              <a:gd name="T22" fmla="*/ 2147483647 w 276"/>
              <a:gd name="T23" fmla="*/ 2147483647 h 196"/>
              <a:gd name="T24" fmla="*/ 2147483647 w 276"/>
              <a:gd name="T25" fmla="*/ 2147483647 h 196"/>
              <a:gd name="T26" fmla="*/ 2147483647 w 276"/>
              <a:gd name="T27" fmla="*/ 2147483647 h 196"/>
              <a:gd name="T28" fmla="*/ 2147483647 w 276"/>
              <a:gd name="T29" fmla="*/ 2147483647 h 196"/>
              <a:gd name="T30" fmla="*/ 2147483647 w 276"/>
              <a:gd name="T31" fmla="*/ 2147483647 h 196"/>
              <a:gd name="T32" fmla="*/ 2147483647 w 276"/>
              <a:gd name="T33" fmla="*/ 2147483647 h 196"/>
              <a:gd name="T34" fmla="*/ 2147483647 w 276"/>
              <a:gd name="T35" fmla="*/ 2147483647 h 196"/>
              <a:gd name="T36" fmla="*/ 2147483647 w 276"/>
              <a:gd name="T37" fmla="*/ 2147483647 h 196"/>
              <a:gd name="T38" fmla="*/ 2147483647 w 276"/>
              <a:gd name="T39" fmla="*/ 2147483647 h 196"/>
              <a:gd name="T40" fmla="*/ 2147483647 w 276"/>
              <a:gd name="T41" fmla="*/ 2147483647 h 196"/>
              <a:gd name="T42" fmla="*/ 2147483647 w 276"/>
              <a:gd name="T43" fmla="*/ 2147483647 h 196"/>
              <a:gd name="T44" fmla="*/ 2147483647 w 276"/>
              <a:gd name="T45" fmla="*/ 2147483647 h 196"/>
              <a:gd name="T46" fmla="*/ 2147483647 w 276"/>
              <a:gd name="T47" fmla="*/ 0 h 196"/>
              <a:gd name="T48" fmla="*/ 2147483647 w 276"/>
              <a:gd name="T49" fmla="*/ 0 h 196"/>
              <a:gd name="T50" fmla="*/ 2147483647 w 276"/>
              <a:gd name="T51" fmla="*/ 2147483647 h 196"/>
              <a:gd name="T52" fmla="*/ 2147483647 w 276"/>
              <a:gd name="T53" fmla="*/ 2147483647 h 196"/>
              <a:gd name="T54" fmla="*/ 2147483647 w 276"/>
              <a:gd name="T55" fmla="*/ 2147483647 h 196"/>
              <a:gd name="T56" fmla="*/ 2147483647 w 276"/>
              <a:gd name="T57" fmla="*/ 2147483647 h 196"/>
              <a:gd name="T58" fmla="*/ 2147483647 w 276"/>
              <a:gd name="T59" fmla="*/ 2147483647 h 196"/>
              <a:gd name="T60" fmla="*/ 2147483647 w 276"/>
              <a:gd name="T61" fmla="*/ 2147483647 h 196"/>
              <a:gd name="T62" fmla="*/ 2147483647 w 276"/>
              <a:gd name="T63" fmla="*/ 2147483647 h 196"/>
              <a:gd name="T64" fmla="*/ 2147483647 w 276"/>
              <a:gd name="T65" fmla="*/ 2147483647 h 196"/>
              <a:gd name="T66" fmla="*/ 2147483647 w 276"/>
              <a:gd name="T67" fmla="*/ 2147483647 h 196"/>
              <a:gd name="T68" fmla="*/ 2147483647 w 276"/>
              <a:gd name="T69" fmla="*/ 2147483647 h 196"/>
              <a:gd name="T70" fmla="*/ 2147483647 w 276"/>
              <a:gd name="T71" fmla="*/ 2147483647 h 196"/>
              <a:gd name="T72" fmla="*/ 2147483647 w 276"/>
              <a:gd name="T73" fmla="*/ 2147483647 h 196"/>
              <a:gd name="T74" fmla="*/ 2147483647 w 276"/>
              <a:gd name="T75" fmla="*/ 2147483647 h 196"/>
              <a:gd name="T76" fmla="*/ 2147483647 w 276"/>
              <a:gd name="T77" fmla="*/ 2147483647 h 196"/>
              <a:gd name="T78" fmla="*/ 2147483647 w 276"/>
              <a:gd name="T79" fmla="*/ 2147483647 h 196"/>
              <a:gd name="T80" fmla="*/ 2147483647 w 276"/>
              <a:gd name="T81" fmla="*/ 2147483647 h 19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76"/>
              <a:gd name="T124" fmla="*/ 0 h 196"/>
              <a:gd name="T125" fmla="*/ 276 w 276"/>
              <a:gd name="T126" fmla="*/ 196 h 19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76" h="196">
                <a:moveTo>
                  <a:pt x="88" y="196"/>
                </a:moveTo>
                <a:lnTo>
                  <a:pt x="36" y="194"/>
                </a:lnTo>
                <a:lnTo>
                  <a:pt x="36" y="182"/>
                </a:lnTo>
                <a:lnTo>
                  <a:pt x="30" y="176"/>
                </a:lnTo>
                <a:lnTo>
                  <a:pt x="20" y="182"/>
                </a:lnTo>
                <a:lnTo>
                  <a:pt x="10" y="176"/>
                </a:lnTo>
                <a:lnTo>
                  <a:pt x="0" y="166"/>
                </a:lnTo>
                <a:lnTo>
                  <a:pt x="0" y="154"/>
                </a:lnTo>
                <a:lnTo>
                  <a:pt x="12" y="150"/>
                </a:lnTo>
                <a:lnTo>
                  <a:pt x="20" y="142"/>
                </a:lnTo>
                <a:lnTo>
                  <a:pt x="20" y="132"/>
                </a:lnTo>
                <a:lnTo>
                  <a:pt x="34" y="118"/>
                </a:lnTo>
                <a:lnTo>
                  <a:pt x="44" y="116"/>
                </a:lnTo>
                <a:lnTo>
                  <a:pt x="48" y="108"/>
                </a:lnTo>
                <a:lnTo>
                  <a:pt x="38" y="106"/>
                </a:lnTo>
                <a:lnTo>
                  <a:pt x="64" y="84"/>
                </a:lnTo>
                <a:lnTo>
                  <a:pt x="76" y="66"/>
                </a:lnTo>
                <a:lnTo>
                  <a:pt x="110" y="40"/>
                </a:lnTo>
                <a:lnTo>
                  <a:pt x="132" y="36"/>
                </a:lnTo>
                <a:lnTo>
                  <a:pt x="140" y="28"/>
                </a:lnTo>
                <a:lnTo>
                  <a:pt x="176" y="24"/>
                </a:lnTo>
                <a:lnTo>
                  <a:pt x="210" y="20"/>
                </a:lnTo>
                <a:lnTo>
                  <a:pt x="230" y="8"/>
                </a:lnTo>
                <a:lnTo>
                  <a:pt x="250" y="0"/>
                </a:lnTo>
                <a:lnTo>
                  <a:pt x="266" y="0"/>
                </a:lnTo>
                <a:lnTo>
                  <a:pt x="276" y="6"/>
                </a:lnTo>
                <a:lnTo>
                  <a:pt x="272" y="18"/>
                </a:lnTo>
                <a:lnTo>
                  <a:pt x="254" y="30"/>
                </a:lnTo>
                <a:lnTo>
                  <a:pt x="222" y="40"/>
                </a:lnTo>
                <a:lnTo>
                  <a:pt x="166" y="50"/>
                </a:lnTo>
                <a:lnTo>
                  <a:pt x="136" y="74"/>
                </a:lnTo>
                <a:lnTo>
                  <a:pt x="122" y="80"/>
                </a:lnTo>
                <a:lnTo>
                  <a:pt x="110" y="82"/>
                </a:lnTo>
                <a:lnTo>
                  <a:pt x="110" y="94"/>
                </a:lnTo>
                <a:lnTo>
                  <a:pt x="96" y="102"/>
                </a:lnTo>
                <a:lnTo>
                  <a:pt x="86" y="116"/>
                </a:lnTo>
                <a:lnTo>
                  <a:pt x="64" y="140"/>
                </a:lnTo>
                <a:lnTo>
                  <a:pt x="62" y="166"/>
                </a:lnTo>
                <a:lnTo>
                  <a:pt x="72" y="174"/>
                </a:lnTo>
                <a:lnTo>
                  <a:pt x="74" y="184"/>
                </a:lnTo>
                <a:lnTo>
                  <a:pt x="88" y="19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9" name="Freeform 189">
            <a:extLst>
              <a:ext uri="{FF2B5EF4-FFF2-40B4-BE49-F238E27FC236}">
                <a16:creationId xmlns:a16="http://schemas.microsoft.com/office/drawing/2014/main" id="{D848D69A-1CE7-E902-C355-CDF01ACE872E}"/>
              </a:ext>
            </a:extLst>
          </p:cNvPr>
          <p:cNvSpPr>
            <a:spLocks/>
          </p:cNvSpPr>
          <p:nvPr/>
        </p:nvSpPr>
        <p:spPr bwMode="auto">
          <a:xfrm>
            <a:off x="8305801" y="1697567"/>
            <a:ext cx="192617" cy="95251"/>
          </a:xfrm>
          <a:custGeom>
            <a:avLst/>
            <a:gdLst>
              <a:gd name="T0" fmla="*/ 0 w 96"/>
              <a:gd name="T1" fmla="*/ 2147483647 h 52"/>
              <a:gd name="T2" fmla="*/ 2147483647 w 96"/>
              <a:gd name="T3" fmla="*/ 2147483647 h 52"/>
              <a:gd name="T4" fmla="*/ 2147483647 w 96"/>
              <a:gd name="T5" fmla="*/ 2147483647 h 52"/>
              <a:gd name="T6" fmla="*/ 2147483647 w 96"/>
              <a:gd name="T7" fmla="*/ 2147483647 h 52"/>
              <a:gd name="T8" fmla="*/ 2147483647 w 96"/>
              <a:gd name="T9" fmla="*/ 0 h 52"/>
              <a:gd name="T10" fmla="*/ 2147483647 w 96"/>
              <a:gd name="T11" fmla="*/ 2147483647 h 52"/>
              <a:gd name="T12" fmla="*/ 2147483647 w 96"/>
              <a:gd name="T13" fmla="*/ 2147483647 h 52"/>
              <a:gd name="T14" fmla="*/ 2147483647 w 96"/>
              <a:gd name="T15" fmla="*/ 2147483647 h 52"/>
              <a:gd name="T16" fmla="*/ 2147483647 w 96"/>
              <a:gd name="T17" fmla="*/ 2147483647 h 52"/>
              <a:gd name="T18" fmla="*/ 2147483647 w 96"/>
              <a:gd name="T19" fmla="*/ 2147483647 h 52"/>
              <a:gd name="T20" fmla="*/ 2147483647 w 96"/>
              <a:gd name="T21" fmla="*/ 2147483647 h 52"/>
              <a:gd name="T22" fmla="*/ 2147483647 w 96"/>
              <a:gd name="T23" fmla="*/ 2147483647 h 52"/>
              <a:gd name="T24" fmla="*/ 2147483647 w 96"/>
              <a:gd name="T25" fmla="*/ 2147483647 h 52"/>
              <a:gd name="T26" fmla="*/ 2147483647 w 96"/>
              <a:gd name="T27" fmla="*/ 2147483647 h 52"/>
              <a:gd name="T28" fmla="*/ 2147483647 w 96"/>
              <a:gd name="T29" fmla="*/ 2147483647 h 52"/>
              <a:gd name="T30" fmla="*/ 0 w 96"/>
              <a:gd name="T31" fmla="*/ 2147483647 h 52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6"/>
              <a:gd name="T49" fmla="*/ 0 h 52"/>
              <a:gd name="T50" fmla="*/ 96 w 96"/>
              <a:gd name="T51" fmla="*/ 52 h 52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6" h="52">
                <a:moveTo>
                  <a:pt x="0" y="48"/>
                </a:moveTo>
                <a:lnTo>
                  <a:pt x="16" y="30"/>
                </a:lnTo>
                <a:lnTo>
                  <a:pt x="28" y="14"/>
                </a:lnTo>
                <a:lnTo>
                  <a:pt x="40" y="2"/>
                </a:lnTo>
                <a:lnTo>
                  <a:pt x="58" y="0"/>
                </a:lnTo>
                <a:lnTo>
                  <a:pt x="54" y="14"/>
                </a:lnTo>
                <a:lnTo>
                  <a:pt x="70" y="6"/>
                </a:lnTo>
                <a:lnTo>
                  <a:pt x="82" y="16"/>
                </a:lnTo>
                <a:lnTo>
                  <a:pt x="96" y="22"/>
                </a:lnTo>
                <a:lnTo>
                  <a:pt x="94" y="32"/>
                </a:lnTo>
                <a:lnTo>
                  <a:pt x="86" y="40"/>
                </a:lnTo>
                <a:lnTo>
                  <a:pt x="58" y="40"/>
                </a:lnTo>
                <a:lnTo>
                  <a:pt x="26" y="42"/>
                </a:lnTo>
                <a:lnTo>
                  <a:pt x="20" y="48"/>
                </a:lnTo>
                <a:lnTo>
                  <a:pt x="8" y="52"/>
                </a:lnTo>
                <a:lnTo>
                  <a:pt x="0" y="4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10" name="Freeform 190">
            <a:extLst>
              <a:ext uri="{FF2B5EF4-FFF2-40B4-BE49-F238E27FC236}">
                <a16:creationId xmlns:a16="http://schemas.microsoft.com/office/drawing/2014/main" id="{D504AFDA-33DA-4C07-5BC2-603FCB680E12}"/>
              </a:ext>
            </a:extLst>
          </p:cNvPr>
          <p:cNvSpPr>
            <a:spLocks/>
          </p:cNvSpPr>
          <p:nvPr/>
        </p:nvSpPr>
        <p:spPr bwMode="auto">
          <a:xfrm>
            <a:off x="8142818" y="1638300"/>
            <a:ext cx="182033" cy="86784"/>
          </a:xfrm>
          <a:custGeom>
            <a:avLst/>
            <a:gdLst>
              <a:gd name="T0" fmla="*/ 0 w 96"/>
              <a:gd name="T1" fmla="*/ 2147483647 h 46"/>
              <a:gd name="T2" fmla="*/ 2147483647 w 96"/>
              <a:gd name="T3" fmla="*/ 2147483647 h 46"/>
              <a:gd name="T4" fmla="*/ 2147483647 w 96"/>
              <a:gd name="T5" fmla="*/ 0 h 46"/>
              <a:gd name="T6" fmla="*/ 2147483647 w 96"/>
              <a:gd name="T7" fmla="*/ 2147483647 h 46"/>
              <a:gd name="T8" fmla="*/ 2147483647 w 96"/>
              <a:gd name="T9" fmla="*/ 2147483647 h 46"/>
              <a:gd name="T10" fmla="*/ 2147483647 w 96"/>
              <a:gd name="T11" fmla="*/ 2147483647 h 46"/>
              <a:gd name="T12" fmla="*/ 2147483647 w 96"/>
              <a:gd name="T13" fmla="*/ 2147483647 h 46"/>
              <a:gd name="T14" fmla="*/ 2147483647 w 96"/>
              <a:gd name="T15" fmla="*/ 2147483647 h 46"/>
              <a:gd name="T16" fmla="*/ 2147483647 w 96"/>
              <a:gd name="T17" fmla="*/ 2147483647 h 46"/>
              <a:gd name="T18" fmla="*/ 2147483647 w 96"/>
              <a:gd name="T19" fmla="*/ 2147483647 h 46"/>
              <a:gd name="T20" fmla="*/ 2147483647 w 96"/>
              <a:gd name="T21" fmla="*/ 2147483647 h 46"/>
              <a:gd name="T22" fmla="*/ 2147483647 w 96"/>
              <a:gd name="T23" fmla="*/ 2147483647 h 46"/>
              <a:gd name="T24" fmla="*/ 2147483647 w 96"/>
              <a:gd name="T25" fmla="*/ 2147483647 h 46"/>
              <a:gd name="T26" fmla="*/ 2147483647 w 96"/>
              <a:gd name="T27" fmla="*/ 2147483647 h 46"/>
              <a:gd name="T28" fmla="*/ 2147483647 w 96"/>
              <a:gd name="T29" fmla="*/ 2147483647 h 46"/>
              <a:gd name="T30" fmla="*/ 0 w 96"/>
              <a:gd name="T31" fmla="*/ 2147483647 h 4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6"/>
              <a:gd name="T49" fmla="*/ 0 h 46"/>
              <a:gd name="T50" fmla="*/ 96 w 96"/>
              <a:gd name="T51" fmla="*/ 46 h 4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6" h="46">
                <a:moveTo>
                  <a:pt x="0" y="22"/>
                </a:moveTo>
                <a:lnTo>
                  <a:pt x="16" y="6"/>
                </a:lnTo>
                <a:lnTo>
                  <a:pt x="46" y="0"/>
                </a:lnTo>
                <a:lnTo>
                  <a:pt x="64" y="2"/>
                </a:lnTo>
                <a:lnTo>
                  <a:pt x="64" y="10"/>
                </a:lnTo>
                <a:lnTo>
                  <a:pt x="76" y="8"/>
                </a:lnTo>
                <a:lnTo>
                  <a:pt x="88" y="6"/>
                </a:lnTo>
                <a:lnTo>
                  <a:pt x="96" y="14"/>
                </a:lnTo>
                <a:lnTo>
                  <a:pt x="96" y="26"/>
                </a:lnTo>
                <a:lnTo>
                  <a:pt x="84" y="36"/>
                </a:lnTo>
                <a:lnTo>
                  <a:pt x="92" y="46"/>
                </a:lnTo>
                <a:lnTo>
                  <a:pt x="54" y="46"/>
                </a:lnTo>
                <a:lnTo>
                  <a:pt x="40" y="40"/>
                </a:lnTo>
                <a:lnTo>
                  <a:pt x="16" y="40"/>
                </a:lnTo>
                <a:lnTo>
                  <a:pt x="8" y="28"/>
                </a:lnTo>
                <a:lnTo>
                  <a:pt x="0" y="2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11" name="Freeform 191">
            <a:extLst>
              <a:ext uri="{FF2B5EF4-FFF2-40B4-BE49-F238E27FC236}">
                <a16:creationId xmlns:a16="http://schemas.microsoft.com/office/drawing/2014/main" id="{672F6A39-F8A0-2B5D-A3B0-262FC1F325C1}"/>
              </a:ext>
            </a:extLst>
          </p:cNvPr>
          <p:cNvSpPr>
            <a:spLocks/>
          </p:cNvSpPr>
          <p:nvPr/>
        </p:nvSpPr>
        <p:spPr bwMode="auto">
          <a:xfrm>
            <a:off x="8092018" y="1553633"/>
            <a:ext cx="165100" cy="84667"/>
          </a:xfrm>
          <a:custGeom>
            <a:avLst/>
            <a:gdLst>
              <a:gd name="T0" fmla="*/ 0 w 84"/>
              <a:gd name="T1" fmla="*/ 2147483647 h 44"/>
              <a:gd name="T2" fmla="*/ 2147483647 w 84"/>
              <a:gd name="T3" fmla="*/ 2147483647 h 44"/>
              <a:gd name="T4" fmla="*/ 2147483647 w 84"/>
              <a:gd name="T5" fmla="*/ 2147483647 h 44"/>
              <a:gd name="T6" fmla="*/ 2147483647 w 84"/>
              <a:gd name="T7" fmla="*/ 2147483647 h 44"/>
              <a:gd name="T8" fmla="*/ 2147483647 w 84"/>
              <a:gd name="T9" fmla="*/ 2147483647 h 44"/>
              <a:gd name="T10" fmla="*/ 2147483647 w 84"/>
              <a:gd name="T11" fmla="*/ 2147483647 h 44"/>
              <a:gd name="T12" fmla="*/ 2147483647 w 84"/>
              <a:gd name="T13" fmla="*/ 2147483647 h 44"/>
              <a:gd name="T14" fmla="*/ 2147483647 w 84"/>
              <a:gd name="T15" fmla="*/ 2147483647 h 44"/>
              <a:gd name="T16" fmla="*/ 2147483647 w 84"/>
              <a:gd name="T17" fmla="*/ 2147483647 h 44"/>
              <a:gd name="T18" fmla="*/ 2147483647 w 84"/>
              <a:gd name="T19" fmla="*/ 0 h 44"/>
              <a:gd name="T20" fmla="*/ 2147483647 w 84"/>
              <a:gd name="T21" fmla="*/ 2147483647 h 44"/>
              <a:gd name="T22" fmla="*/ 2147483647 w 84"/>
              <a:gd name="T23" fmla="*/ 2147483647 h 44"/>
              <a:gd name="T24" fmla="*/ 2147483647 w 84"/>
              <a:gd name="T25" fmla="*/ 2147483647 h 44"/>
              <a:gd name="T26" fmla="*/ 2147483647 w 84"/>
              <a:gd name="T27" fmla="*/ 2147483647 h 44"/>
              <a:gd name="T28" fmla="*/ 0 w 84"/>
              <a:gd name="T29" fmla="*/ 2147483647 h 4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84"/>
              <a:gd name="T46" fmla="*/ 0 h 44"/>
              <a:gd name="T47" fmla="*/ 84 w 84"/>
              <a:gd name="T48" fmla="*/ 44 h 44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84" h="44">
                <a:moveTo>
                  <a:pt x="0" y="34"/>
                </a:moveTo>
                <a:lnTo>
                  <a:pt x="22" y="44"/>
                </a:lnTo>
                <a:lnTo>
                  <a:pt x="36" y="42"/>
                </a:lnTo>
                <a:lnTo>
                  <a:pt x="56" y="38"/>
                </a:lnTo>
                <a:lnTo>
                  <a:pt x="74" y="36"/>
                </a:lnTo>
                <a:lnTo>
                  <a:pt x="76" y="28"/>
                </a:lnTo>
                <a:lnTo>
                  <a:pt x="84" y="22"/>
                </a:lnTo>
                <a:lnTo>
                  <a:pt x="72" y="14"/>
                </a:lnTo>
                <a:lnTo>
                  <a:pt x="60" y="2"/>
                </a:lnTo>
                <a:lnTo>
                  <a:pt x="44" y="0"/>
                </a:lnTo>
                <a:lnTo>
                  <a:pt x="40" y="10"/>
                </a:lnTo>
                <a:lnTo>
                  <a:pt x="16" y="12"/>
                </a:lnTo>
                <a:lnTo>
                  <a:pt x="12" y="18"/>
                </a:lnTo>
                <a:lnTo>
                  <a:pt x="10" y="28"/>
                </a:lnTo>
                <a:lnTo>
                  <a:pt x="0" y="3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12" name="Freeform 192">
            <a:extLst>
              <a:ext uri="{FF2B5EF4-FFF2-40B4-BE49-F238E27FC236}">
                <a16:creationId xmlns:a16="http://schemas.microsoft.com/office/drawing/2014/main" id="{44D9BADC-2377-6931-9271-E85FE87E277E}"/>
              </a:ext>
            </a:extLst>
          </p:cNvPr>
          <p:cNvSpPr>
            <a:spLocks/>
          </p:cNvSpPr>
          <p:nvPr/>
        </p:nvSpPr>
        <p:spPr bwMode="auto">
          <a:xfrm>
            <a:off x="9484785" y="1919817"/>
            <a:ext cx="249767" cy="76200"/>
          </a:xfrm>
          <a:custGeom>
            <a:avLst/>
            <a:gdLst>
              <a:gd name="T0" fmla="*/ 2147483647 w 128"/>
              <a:gd name="T1" fmla="*/ 2147483647 h 44"/>
              <a:gd name="T2" fmla="*/ 2147483647 w 128"/>
              <a:gd name="T3" fmla="*/ 2147483647 h 44"/>
              <a:gd name="T4" fmla="*/ 2147483647 w 128"/>
              <a:gd name="T5" fmla="*/ 2147483647 h 44"/>
              <a:gd name="T6" fmla="*/ 0 w 128"/>
              <a:gd name="T7" fmla="*/ 2147483647 h 44"/>
              <a:gd name="T8" fmla="*/ 2147483647 w 128"/>
              <a:gd name="T9" fmla="*/ 2147483647 h 44"/>
              <a:gd name="T10" fmla="*/ 2147483647 w 128"/>
              <a:gd name="T11" fmla="*/ 0 h 44"/>
              <a:gd name="T12" fmla="*/ 2147483647 w 128"/>
              <a:gd name="T13" fmla="*/ 0 h 44"/>
              <a:gd name="T14" fmla="*/ 2147483647 w 128"/>
              <a:gd name="T15" fmla="*/ 2147483647 h 44"/>
              <a:gd name="T16" fmla="*/ 2147483647 w 128"/>
              <a:gd name="T17" fmla="*/ 2147483647 h 44"/>
              <a:gd name="T18" fmla="*/ 2147483647 w 128"/>
              <a:gd name="T19" fmla="*/ 2147483647 h 44"/>
              <a:gd name="T20" fmla="*/ 2147483647 w 128"/>
              <a:gd name="T21" fmla="*/ 2147483647 h 44"/>
              <a:gd name="T22" fmla="*/ 2147483647 w 128"/>
              <a:gd name="T23" fmla="*/ 2147483647 h 44"/>
              <a:gd name="T24" fmla="*/ 2147483647 w 128"/>
              <a:gd name="T25" fmla="*/ 2147483647 h 44"/>
              <a:gd name="T26" fmla="*/ 2147483647 w 128"/>
              <a:gd name="T27" fmla="*/ 2147483647 h 44"/>
              <a:gd name="T28" fmla="*/ 2147483647 w 128"/>
              <a:gd name="T29" fmla="*/ 2147483647 h 44"/>
              <a:gd name="T30" fmla="*/ 2147483647 w 128"/>
              <a:gd name="T31" fmla="*/ 2147483647 h 44"/>
              <a:gd name="T32" fmla="*/ 2147483647 w 128"/>
              <a:gd name="T33" fmla="*/ 2147483647 h 44"/>
              <a:gd name="T34" fmla="*/ 2147483647 w 128"/>
              <a:gd name="T35" fmla="*/ 2147483647 h 44"/>
              <a:gd name="T36" fmla="*/ 2147483647 w 128"/>
              <a:gd name="T37" fmla="*/ 2147483647 h 44"/>
              <a:gd name="T38" fmla="*/ 2147483647 w 128"/>
              <a:gd name="T39" fmla="*/ 2147483647 h 44"/>
              <a:gd name="T40" fmla="*/ 2147483647 w 128"/>
              <a:gd name="T41" fmla="*/ 2147483647 h 44"/>
              <a:gd name="T42" fmla="*/ 2147483647 w 128"/>
              <a:gd name="T43" fmla="*/ 2147483647 h 44"/>
              <a:gd name="T44" fmla="*/ 2147483647 w 128"/>
              <a:gd name="T45" fmla="*/ 2147483647 h 44"/>
              <a:gd name="T46" fmla="*/ 2147483647 w 128"/>
              <a:gd name="T47" fmla="*/ 2147483647 h 44"/>
              <a:gd name="T48" fmla="*/ 2147483647 w 128"/>
              <a:gd name="T49" fmla="*/ 2147483647 h 44"/>
              <a:gd name="T50" fmla="*/ 2147483647 w 128"/>
              <a:gd name="T51" fmla="*/ 2147483647 h 44"/>
              <a:gd name="T52" fmla="*/ 2147483647 w 128"/>
              <a:gd name="T53" fmla="*/ 2147483647 h 44"/>
              <a:gd name="T54" fmla="*/ 2147483647 w 128"/>
              <a:gd name="T55" fmla="*/ 2147483647 h 44"/>
              <a:gd name="T56" fmla="*/ 2147483647 w 128"/>
              <a:gd name="T57" fmla="*/ 2147483647 h 4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28"/>
              <a:gd name="T88" fmla="*/ 0 h 44"/>
              <a:gd name="T89" fmla="*/ 128 w 128"/>
              <a:gd name="T90" fmla="*/ 44 h 44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28" h="44">
                <a:moveTo>
                  <a:pt x="38" y="42"/>
                </a:moveTo>
                <a:lnTo>
                  <a:pt x="26" y="44"/>
                </a:lnTo>
                <a:lnTo>
                  <a:pt x="2" y="32"/>
                </a:lnTo>
                <a:lnTo>
                  <a:pt x="0" y="20"/>
                </a:lnTo>
                <a:lnTo>
                  <a:pt x="6" y="6"/>
                </a:lnTo>
                <a:lnTo>
                  <a:pt x="18" y="0"/>
                </a:lnTo>
                <a:lnTo>
                  <a:pt x="30" y="0"/>
                </a:lnTo>
                <a:lnTo>
                  <a:pt x="46" y="8"/>
                </a:lnTo>
                <a:lnTo>
                  <a:pt x="58" y="16"/>
                </a:lnTo>
                <a:lnTo>
                  <a:pt x="64" y="4"/>
                </a:lnTo>
                <a:lnTo>
                  <a:pt x="76" y="4"/>
                </a:lnTo>
                <a:lnTo>
                  <a:pt x="86" y="10"/>
                </a:lnTo>
                <a:lnTo>
                  <a:pt x="100" y="8"/>
                </a:lnTo>
                <a:lnTo>
                  <a:pt x="120" y="14"/>
                </a:lnTo>
                <a:lnTo>
                  <a:pt x="128" y="20"/>
                </a:lnTo>
                <a:lnTo>
                  <a:pt x="120" y="32"/>
                </a:lnTo>
                <a:lnTo>
                  <a:pt x="104" y="36"/>
                </a:lnTo>
                <a:lnTo>
                  <a:pt x="92" y="32"/>
                </a:lnTo>
                <a:lnTo>
                  <a:pt x="86" y="24"/>
                </a:lnTo>
                <a:lnTo>
                  <a:pt x="90" y="14"/>
                </a:lnTo>
                <a:lnTo>
                  <a:pt x="78" y="16"/>
                </a:lnTo>
                <a:lnTo>
                  <a:pt x="80" y="24"/>
                </a:lnTo>
                <a:lnTo>
                  <a:pt x="84" y="30"/>
                </a:lnTo>
                <a:lnTo>
                  <a:pt x="88" y="38"/>
                </a:lnTo>
                <a:lnTo>
                  <a:pt x="78" y="38"/>
                </a:lnTo>
                <a:lnTo>
                  <a:pt x="62" y="36"/>
                </a:lnTo>
                <a:lnTo>
                  <a:pt x="48" y="36"/>
                </a:lnTo>
                <a:lnTo>
                  <a:pt x="38" y="34"/>
                </a:lnTo>
                <a:lnTo>
                  <a:pt x="38" y="4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13" name="Freeform 193">
            <a:extLst>
              <a:ext uri="{FF2B5EF4-FFF2-40B4-BE49-F238E27FC236}">
                <a16:creationId xmlns:a16="http://schemas.microsoft.com/office/drawing/2014/main" id="{B179FB51-CBF8-AB33-9A90-DB6487D983F9}"/>
              </a:ext>
            </a:extLst>
          </p:cNvPr>
          <p:cNvSpPr>
            <a:spLocks/>
          </p:cNvSpPr>
          <p:nvPr/>
        </p:nvSpPr>
        <p:spPr bwMode="auto">
          <a:xfrm>
            <a:off x="9774765" y="1949451"/>
            <a:ext cx="146051" cy="46567"/>
          </a:xfrm>
          <a:custGeom>
            <a:avLst/>
            <a:gdLst>
              <a:gd name="T0" fmla="*/ 2147483647 w 74"/>
              <a:gd name="T1" fmla="*/ 0 h 24"/>
              <a:gd name="T2" fmla="*/ 2147483647 w 74"/>
              <a:gd name="T3" fmla="*/ 2147483647 h 24"/>
              <a:gd name="T4" fmla="*/ 2147483647 w 74"/>
              <a:gd name="T5" fmla="*/ 2147483647 h 24"/>
              <a:gd name="T6" fmla="*/ 2147483647 w 74"/>
              <a:gd name="T7" fmla="*/ 2147483647 h 24"/>
              <a:gd name="T8" fmla="*/ 2147483647 w 74"/>
              <a:gd name="T9" fmla="*/ 2147483647 h 24"/>
              <a:gd name="T10" fmla="*/ 2147483647 w 74"/>
              <a:gd name="T11" fmla="*/ 2147483647 h 24"/>
              <a:gd name="T12" fmla="*/ 2147483647 w 74"/>
              <a:gd name="T13" fmla="*/ 2147483647 h 24"/>
              <a:gd name="T14" fmla="*/ 2147483647 w 74"/>
              <a:gd name="T15" fmla="*/ 2147483647 h 24"/>
              <a:gd name="T16" fmla="*/ 2147483647 w 74"/>
              <a:gd name="T17" fmla="*/ 2147483647 h 24"/>
              <a:gd name="T18" fmla="*/ 2147483647 w 74"/>
              <a:gd name="T19" fmla="*/ 2147483647 h 24"/>
              <a:gd name="T20" fmla="*/ 2147483647 w 74"/>
              <a:gd name="T21" fmla="*/ 2147483647 h 24"/>
              <a:gd name="T22" fmla="*/ 0 w 74"/>
              <a:gd name="T23" fmla="*/ 2147483647 h 24"/>
              <a:gd name="T24" fmla="*/ 2147483647 w 74"/>
              <a:gd name="T25" fmla="*/ 0 h 2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74"/>
              <a:gd name="T40" fmla="*/ 0 h 24"/>
              <a:gd name="T41" fmla="*/ 74 w 74"/>
              <a:gd name="T42" fmla="*/ 24 h 2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74" h="24">
                <a:moveTo>
                  <a:pt x="6" y="0"/>
                </a:moveTo>
                <a:lnTo>
                  <a:pt x="16" y="4"/>
                </a:lnTo>
                <a:lnTo>
                  <a:pt x="36" y="4"/>
                </a:lnTo>
                <a:lnTo>
                  <a:pt x="50" y="8"/>
                </a:lnTo>
                <a:lnTo>
                  <a:pt x="68" y="10"/>
                </a:lnTo>
                <a:lnTo>
                  <a:pt x="74" y="14"/>
                </a:lnTo>
                <a:lnTo>
                  <a:pt x="60" y="20"/>
                </a:lnTo>
                <a:lnTo>
                  <a:pt x="48" y="24"/>
                </a:lnTo>
                <a:lnTo>
                  <a:pt x="36" y="24"/>
                </a:lnTo>
                <a:lnTo>
                  <a:pt x="20" y="20"/>
                </a:lnTo>
                <a:lnTo>
                  <a:pt x="4" y="16"/>
                </a:lnTo>
                <a:lnTo>
                  <a:pt x="0" y="8"/>
                </a:lnTo>
                <a:lnTo>
                  <a:pt x="6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14" name="Freeform 194">
            <a:extLst>
              <a:ext uri="{FF2B5EF4-FFF2-40B4-BE49-F238E27FC236}">
                <a16:creationId xmlns:a16="http://schemas.microsoft.com/office/drawing/2014/main" id="{1BECA682-6BA4-B0BC-6AFF-35AF884BC112}"/>
              </a:ext>
            </a:extLst>
          </p:cNvPr>
          <p:cNvSpPr>
            <a:spLocks/>
          </p:cNvSpPr>
          <p:nvPr/>
        </p:nvSpPr>
        <p:spPr bwMode="auto">
          <a:xfrm>
            <a:off x="10790768" y="2180167"/>
            <a:ext cx="105833" cy="48684"/>
          </a:xfrm>
          <a:custGeom>
            <a:avLst/>
            <a:gdLst>
              <a:gd name="T0" fmla="*/ 0 w 58"/>
              <a:gd name="T1" fmla="*/ 2147483647 h 24"/>
              <a:gd name="T2" fmla="*/ 2147483647 w 58"/>
              <a:gd name="T3" fmla="*/ 2147483647 h 24"/>
              <a:gd name="T4" fmla="*/ 2147483647 w 58"/>
              <a:gd name="T5" fmla="*/ 2147483647 h 24"/>
              <a:gd name="T6" fmla="*/ 2147483647 w 58"/>
              <a:gd name="T7" fmla="*/ 2147483647 h 24"/>
              <a:gd name="T8" fmla="*/ 2147483647 w 58"/>
              <a:gd name="T9" fmla="*/ 2147483647 h 24"/>
              <a:gd name="T10" fmla="*/ 2147483647 w 58"/>
              <a:gd name="T11" fmla="*/ 2147483647 h 24"/>
              <a:gd name="T12" fmla="*/ 2147483647 w 58"/>
              <a:gd name="T13" fmla="*/ 2147483647 h 24"/>
              <a:gd name="T14" fmla="*/ 2147483647 w 58"/>
              <a:gd name="T15" fmla="*/ 2147483647 h 24"/>
              <a:gd name="T16" fmla="*/ 2147483647 w 58"/>
              <a:gd name="T17" fmla="*/ 0 h 24"/>
              <a:gd name="T18" fmla="*/ 2147483647 w 58"/>
              <a:gd name="T19" fmla="*/ 2147483647 h 24"/>
              <a:gd name="T20" fmla="*/ 2147483647 w 58"/>
              <a:gd name="T21" fmla="*/ 2147483647 h 24"/>
              <a:gd name="T22" fmla="*/ 0 w 58"/>
              <a:gd name="T23" fmla="*/ 2147483647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8"/>
              <a:gd name="T37" fmla="*/ 0 h 24"/>
              <a:gd name="T38" fmla="*/ 58 w 58"/>
              <a:gd name="T39" fmla="*/ 24 h 2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8" h="24">
                <a:moveTo>
                  <a:pt x="0" y="16"/>
                </a:moveTo>
                <a:lnTo>
                  <a:pt x="2" y="24"/>
                </a:lnTo>
                <a:lnTo>
                  <a:pt x="10" y="24"/>
                </a:lnTo>
                <a:lnTo>
                  <a:pt x="24" y="24"/>
                </a:lnTo>
                <a:lnTo>
                  <a:pt x="46" y="20"/>
                </a:lnTo>
                <a:lnTo>
                  <a:pt x="58" y="18"/>
                </a:lnTo>
                <a:lnTo>
                  <a:pt x="58" y="8"/>
                </a:lnTo>
                <a:lnTo>
                  <a:pt x="48" y="4"/>
                </a:lnTo>
                <a:lnTo>
                  <a:pt x="36" y="0"/>
                </a:lnTo>
                <a:lnTo>
                  <a:pt x="22" y="2"/>
                </a:lnTo>
                <a:lnTo>
                  <a:pt x="14" y="8"/>
                </a:lnTo>
                <a:lnTo>
                  <a:pt x="0" y="1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15" name="Freeform 195">
            <a:extLst>
              <a:ext uri="{FF2B5EF4-FFF2-40B4-BE49-F238E27FC236}">
                <a16:creationId xmlns:a16="http://schemas.microsoft.com/office/drawing/2014/main" id="{422F5C67-F603-96EA-FAA3-353BD4CF1F0F}"/>
              </a:ext>
            </a:extLst>
          </p:cNvPr>
          <p:cNvSpPr>
            <a:spLocks/>
          </p:cNvSpPr>
          <p:nvPr/>
        </p:nvSpPr>
        <p:spPr bwMode="auto">
          <a:xfrm>
            <a:off x="9632951" y="3041651"/>
            <a:ext cx="82551" cy="336551"/>
          </a:xfrm>
          <a:custGeom>
            <a:avLst/>
            <a:gdLst>
              <a:gd name="T0" fmla="*/ 0 w 42"/>
              <a:gd name="T1" fmla="*/ 2147483647 h 174"/>
              <a:gd name="T2" fmla="*/ 2147483647 w 42"/>
              <a:gd name="T3" fmla="*/ 2147483647 h 174"/>
              <a:gd name="T4" fmla="*/ 2147483647 w 42"/>
              <a:gd name="T5" fmla="*/ 2147483647 h 174"/>
              <a:gd name="T6" fmla="*/ 2147483647 w 42"/>
              <a:gd name="T7" fmla="*/ 2147483647 h 174"/>
              <a:gd name="T8" fmla="*/ 2147483647 w 42"/>
              <a:gd name="T9" fmla="*/ 2147483647 h 174"/>
              <a:gd name="T10" fmla="*/ 2147483647 w 42"/>
              <a:gd name="T11" fmla="*/ 2147483647 h 174"/>
              <a:gd name="T12" fmla="*/ 2147483647 w 42"/>
              <a:gd name="T13" fmla="*/ 2147483647 h 174"/>
              <a:gd name="T14" fmla="*/ 2147483647 w 42"/>
              <a:gd name="T15" fmla="*/ 2147483647 h 174"/>
              <a:gd name="T16" fmla="*/ 2147483647 w 42"/>
              <a:gd name="T17" fmla="*/ 2147483647 h 174"/>
              <a:gd name="T18" fmla="*/ 2147483647 w 42"/>
              <a:gd name="T19" fmla="*/ 2147483647 h 174"/>
              <a:gd name="T20" fmla="*/ 2147483647 w 42"/>
              <a:gd name="T21" fmla="*/ 2147483647 h 174"/>
              <a:gd name="T22" fmla="*/ 2147483647 w 42"/>
              <a:gd name="T23" fmla="*/ 2147483647 h 174"/>
              <a:gd name="T24" fmla="*/ 2147483647 w 42"/>
              <a:gd name="T25" fmla="*/ 2147483647 h 174"/>
              <a:gd name="T26" fmla="*/ 2147483647 w 42"/>
              <a:gd name="T27" fmla="*/ 2147483647 h 174"/>
              <a:gd name="T28" fmla="*/ 2147483647 w 42"/>
              <a:gd name="T29" fmla="*/ 2147483647 h 174"/>
              <a:gd name="T30" fmla="*/ 2147483647 w 42"/>
              <a:gd name="T31" fmla="*/ 2147483647 h 174"/>
              <a:gd name="T32" fmla="*/ 2147483647 w 42"/>
              <a:gd name="T33" fmla="*/ 2147483647 h 174"/>
              <a:gd name="T34" fmla="*/ 2147483647 w 42"/>
              <a:gd name="T35" fmla="*/ 2147483647 h 174"/>
              <a:gd name="T36" fmla="*/ 2147483647 w 42"/>
              <a:gd name="T37" fmla="*/ 2147483647 h 174"/>
              <a:gd name="T38" fmla="*/ 2147483647 w 42"/>
              <a:gd name="T39" fmla="*/ 2147483647 h 174"/>
              <a:gd name="T40" fmla="*/ 2147483647 w 42"/>
              <a:gd name="T41" fmla="*/ 0 h 174"/>
              <a:gd name="T42" fmla="*/ 2147483647 w 42"/>
              <a:gd name="T43" fmla="*/ 2147483647 h 174"/>
              <a:gd name="T44" fmla="*/ 2147483647 w 42"/>
              <a:gd name="T45" fmla="*/ 2147483647 h 174"/>
              <a:gd name="T46" fmla="*/ 2147483647 w 42"/>
              <a:gd name="T47" fmla="*/ 2147483647 h 174"/>
              <a:gd name="T48" fmla="*/ 2147483647 w 42"/>
              <a:gd name="T49" fmla="*/ 2147483647 h 174"/>
              <a:gd name="T50" fmla="*/ 2147483647 w 42"/>
              <a:gd name="T51" fmla="*/ 2147483647 h 174"/>
              <a:gd name="T52" fmla="*/ 2147483647 w 42"/>
              <a:gd name="T53" fmla="*/ 2147483647 h 174"/>
              <a:gd name="T54" fmla="*/ 2147483647 w 42"/>
              <a:gd name="T55" fmla="*/ 2147483647 h 174"/>
              <a:gd name="T56" fmla="*/ 2147483647 w 42"/>
              <a:gd name="T57" fmla="*/ 2147483647 h 174"/>
              <a:gd name="T58" fmla="*/ 2147483647 w 42"/>
              <a:gd name="T59" fmla="*/ 2147483647 h 174"/>
              <a:gd name="T60" fmla="*/ 2147483647 w 42"/>
              <a:gd name="T61" fmla="*/ 2147483647 h 174"/>
              <a:gd name="T62" fmla="*/ 2147483647 w 42"/>
              <a:gd name="T63" fmla="*/ 2147483647 h 174"/>
              <a:gd name="T64" fmla="*/ 2147483647 w 42"/>
              <a:gd name="T65" fmla="*/ 2147483647 h 174"/>
              <a:gd name="T66" fmla="*/ 0 w 42"/>
              <a:gd name="T67" fmla="*/ 2147483647 h 174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42"/>
              <a:gd name="T103" fmla="*/ 0 h 174"/>
              <a:gd name="T104" fmla="*/ 42 w 42"/>
              <a:gd name="T105" fmla="*/ 174 h 174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42" h="174">
                <a:moveTo>
                  <a:pt x="0" y="166"/>
                </a:moveTo>
                <a:lnTo>
                  <a:pt x="6" y="174"/>
                </a:lnTo>
                <a:lnTo>
                  <a:pt x="10" y="160"/>
                </a:lnTo>
                <a:lnTo>
                  <a:pt x="18" y="162"/>
                </a:lnTo>
                <a:lnTo>
                  <a:pt x="24" y="170"/>
                </a:lnTo>
                <a:lnTo>
                  <a:pt x="26" y="162"/>
                </a:lnTo>
                <a:lnTo>
                  <a:pt x="22" y="154"/>
                </a:lnTo>
                <a:lnTo>
                  <a:pt x="14" y="144"/>
                </a:lnTo>
                <a:lnTo>
                  <a:pt x="10" y="134"/>
                </a:lnTo>
                <a:lnTo>
                  <a:pt x="14" y="126"/>
                </a:lnTo>
                <a:lnTo>
                  <a:pt x="18" y="114"/>
                </a:lnTo>
                <a:lnTo>
                  <a:pt x="22" y="108"/>
                </a:lnTo>
                <a:lnTo>
                  <a:pt x="30" y="106"/>
                </a:lnTo>
                <a:lnTo>
                  <a:pt x="42" y="116"/>
                </a:lnTo>
                <a:lnTo>
                  <a:pt x="42" y="104"/>
                </a:lnTo>
                <a:lnTo>
                  <a:pt x="32" y="88"/>
                </a:lnTo>
                <a:lnTo>
                  <a:pt x="28" y="62"/>
                </a:lnTo>
                <a:lnTo>
                  <a:pt x="24" y="42"/>
                </a:lnTo>
                <a:lnTo>
                  <a:pt x="22" y="26"/>
                </a:lnTo>
                <a:lnTo>
                  <a:pt x="20" y="12"/>
                </a:lnTo>
                <a:lnTo>
                  <a:pt x="16" y="0"/>
                </a:lnTo>
                <a:lnTo>
                  <a:pt x="12" y="6"/>
                </a:lnTo>
                <a:lnTo>
                  <a:pt x="12" y="16"/>
                </a:lnTo>
                <a:lnTo>
                  <a:pt x="2" y="20"/>
                </a:lnTo>
                <a:lnTo>
                  <a:pt x="2" y="36"/>
                </a:lnTo>
                <a:lnTo>
                  <a:pt x="2" y="50"/>
                </a:lnTo>
                <a:lnTo>
                  <a:pt x="2" y="62"/>
                </a:lnTo>
                <a:lnTo>
                  <a:pt x="8" y="70"/>
                </a:lnTo>
                <a:lnTo>
                  <a:pt x="6" y="82"/>
                </a:lnTo>
                <a:lnTo>
                  <a:pt x="6" y="102"/>
                </a:lnTo>
                <a:lnTo>
                  <a:pt x="6" y="126"/>
                </a:lnTo>
                <a:lnTo>
                  <a:pt x="6" y="146"/>
                </a:lnTo>
                <a:lnTo>
                  <a:pt x="6" y="158"/>
                </a:lnTo>
                <a:lnTo>
                  <a:pt x="0" y="16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16" name="Freeform 196">
            <a:extLst>
              <a:ext uri="{FF2B5EF4-FFF2-40B4-BE49-F238E27FC236}">
                <a16:creationId xmlns:a16="http://schemas.microsoft.com/office/drawing/2014/main" id="{54178CA1-B1BD-7C25-C171-447F22FAD744}"/>
              </a:ext>
            </a:extLst>
          </p:cNvPr>
          <p:cNvSpPr>
            <a:spLocks/>
          </p:cNvSpPr>
          <p:nvPr/>
        </p:nvSpPr>
        <p:spPr bwMode="auto">
          <a:xfrm>
            <a:off x="6612467" y="3611034"/>
            <a:ext cx="48684" cy="38100"/>
          </a:xfrm>
          <a:custGeom>
            <a:avLst/>
            <a:gdLst>
              <a:gd name="T0" fmla="*/ 2147483647 w 24"/>
              <a:gd name="T1" fmla="*/ 2147483647 h 20"/>
              <a:gd name="T2" fmla="*/ 2147483647 w 24"/>
              <a:gd name="T3" fmla="*/ 2147483647 h 20"/>
              <a:gd name="T4" fmla="*/ 2147483647 w 24"/>
              <a:gd name="T5" fmla="*/ 2147483647 h 20"/>
              <a:gd name="T6" fmla="*/ 0 w 24"/>
              <a:gd name="T7" fmla="*/ 2147483647 h 20"/>
              <a:gd name="T8" fmla="*/ 2147483647 w 24"/>
              <a:gd name="T9" fmla="*/ 0 h 20"/>
              <a:gd name="T10" fmla="*/ 2147483647 w 24"/>
              <a:gd name="T11" fmla="*/ 0 h 20"/>
              <a:gd name="T12" fmla="*/ 2147483647 w 24"/>
              <a:gd name="T13" fmla="*/ 2147483647 h 20"/>
              <a:gd name="T14" fmla="*/ 2147483647 w 24"/>
              <a:gd name="T15" fmla="*/ 2147483647 h 20"/>
              <a:gd name="T16" fmla="*/ 2147483647 w 24"/>
              <a:gd name="T17" fmla="*/ 2147483647 h 20"/>
              <a:gd name="T18" fmla="*/ 2147483647 w 24"/>
              <a:gd name="T19" fmla="*/ 2147483647 h 2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4"/>
              <a:gd name="T31" fmla="*/ 0 h 20"/>
              <a:gd name="T32" fmla="*/ 24 w 24"/>
              <a:gd name="T33" fmla="*/ 20 h 2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4" h="20">
                <a:moveTo>
                  <a:pt x="22" y="20"/>
                </a:moveTo>
                <a:lnTo>
                  <a:pt x="14" y="16"/>
                </a:lnTo>
                <a:lnTo>
                  <a:pt x="8" y="12"/>
                </a:lnTo>
                <a:lnTo>
                  <a:pt x="0" y="4"/>
                </a:lnTo>
                <a:lnTo>
                  <a:pt x="2" y="0"/>
                </a:lnTo>
                <a:lnTo>
                  <a:pt x="10" y="0"/>
                </a:lnTo>
                <a:lnTo>
                  <a:pt x="16" y="4"/>
                </a:lnTo>
                <a:lnTo>
                  <a:pt x="22" y="6"/>
                </a:lnTo>
                <a:lnTo>
                  <a:pt x="24" y="14"/>
                </a:lnTo>
                <a:lnTo>
                  <a:pt x="22" y="2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17" name="Freeform 197">
            <a:extLst>
              <a:ext uri="{FF2B5EF4-FFF2-40B4-BE49-F238E27FC236}">
                <a16:creationId xmlns:a16="http://schemas.microsoft.com/office/drawing/2014/main" id="{DD0EE2EA-134D-0E3C-4FA4-0E2606C85689}"/>
              </a:ext>
            </a:extLst>
          </p:cNvPr>
          <p:cNvSpPr>
            <a:spLocks/>
          </p:cNvSpPr>
          <p:nvPr/>
        </p:nvSpPr>
        <p:spPr bwMode="auto">
          <a:xfrm>
            <a:off x="6227234" y="3765551"/>
            <a:ext cx="57151" cy="38100"/>
          </a:xfrm>
          <a:custGeom>
            <a:avLst/>
            <a:gdLst>
              <a:gd name="T0" fmla="*/ 2147483647 w 30"/>
              <a:gd name="T1" fmla="*/ 2147483647 h 16"/>
              <a:gd name="T2" fmla="*/ 2147483647 w 30"/>
              <a:gd name="T3" fmla="*/ 2147483647 h 16"/>
              <a:gd name="T4" fmla="*/ 2147483647 w 30"/>
              <a:gd name="T5" fmla="*/ 2147483647 h 16"/>
              <a:gd name="T6" fmla="*/ 2147483647 w 30"/>
              <a:gd name="T7" fmla="*/ 0 h 16"/>
              <a:gd name="T8" fmla="*/ 2147483647 w 30"/>
              <a:gd name="T9" fmla="*/ 2147483647 h 16"/>
              <a:gd name="T10" fmla="*/ 2147483647 w 30"/>
              <a:gd name="T11" fmla="*/ 2147483647 h 16"/>
              <a:gd name="T12" fmla="*/ 2147483647 w 30"/>
              <a:gd name="T13" fmla="*/ 2147483647 h 16"/>
              <a:gd name="T14" fmla="*/ 2147483647 w 30"/>
              <a:gd name="T15" fmla="*/ 2147483647 h 16"/>
              <a:gd name="T16" fmla="*/ 0 w 30"/>
              <a:gd name="T17" fmla="*/ 2147483647 h 16"/>
              <a:gd name="T18" fmla="*/ 0 w 30"/>
              <a:gd name="T19" fmla="*/ 2147483647 h 16"/>
              <a:gd name="T20" fmla="*/ 2147483647 w 30"/>
              <a:gd name="T21" fmla="*/ 2147483647 h 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0"/>
              <a:gd name="T34" fmla="*/ 0 h 16"/>
              <a:gd name="T35" fmla="*/ 30 w 30"/>
              <a:gd name="T36" fmla="*/ 16 h 1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0" h="16">
                <a:moveTo>
                  <a:pt x="8" y="6"/>
                </a:moveTo>
                <a:lnTo>
                  <a:pt x="16" y="4"/>
                </a:lnTo>
                <a:lnTo>
                  <a:pt x="24" y="4"/>
                </a:lnTo>
                <a:lnTo>
                  <a:pt x="30" y="0"/>
                </a:lnTo>
                <a:lnTo>
                  <a:pt x="22" y="8"/>
                </a:lnTo>
                <a:lnTo>
                  <a:pt x="18" y="12"/>
                </a:lnTo>
                <a:lnTo>
                  <a:pt x="12" y="16"/>
                </a:lnTo>
                <a:lnTo>
                  <a:pt x="4" y="16"/>
                </a:lnTo>
                <a:lnTo>
                  <a:pt x="0" y="12"/>
                </a:lnTo>
                <a:lnTo>
                  <a:pt x="0" y="6"/>
                </a:lnTo>
                <a:lnTo>
                  <a:pt x="8" y="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18" name="Freeform 198">
            <a:extLst>
              <a:ext uri="{FF2B5EF4-FFF2-40B4-BE49-F238E27FC236}">
                <a16:creationId xmlns:a16="http://schemas.microsoft.com/office/drawing/2014/main" id="{3781FBEA-C16D-59D8-C405-56021C8AB331}"/>
              </a:ext>
            </a:extLst>
          </p:cNvPr>
          <p:cNvSpPr>
            <a:spLocks/>
          </p:cNvSpPr>
          <p:nvPr/>
        </p:nvSpPr>
        <p:spPr bwMode="auto">
          <a:xfrm>
            <a:off x="6032501" y="3524251"/>
            <a:ext cx="579967" cy="222251"/>
          </a:xfrm>
          <a:custGeom>
            <a:avLst/>
            <a:gdLst>
              <a:gd name="T0" fmla="*/ 0 w 292"/>
              <a:gd name="T1" fmla="*/ 2147483647 h 112"/>
              <a:gd name="T2" fmla="*/ 2147483647 w 292"/>
              <a:gd name="T3" fmla="*/ 2147483647 h 112"/>
              <a:gd name="T4" fmla="*/ 2147483647 w 292"/>
              <a:gd name="T5" fmla="*/ 2147483647 h 112"/>
              <a:gd name="T6" fmla="*/ 2147483647 w 292"/>
              <a:gd name="T7" fmla="*/ 2147483647 h 112"/>
              <a:gd name="T8" fmla="*/ 2147483647 w 292"/>
              <a:gd name="T9" fmla="*/ 2147483647 h 112"/>
              <a:gd name="T10" fmla="*/ 2147483647 w 292"/>
              <a:gd name="T11" fmla="*/ 2147483647 h 112"/>
              <a:gd name="T12" fmla="*/ 2147483647 w 292"/>
              <a:gd name="T13" fmla="*/ 2147483647 h 112"/>
              <a:gd name="T14" fmla="*/ 2147483647 w 292"/>
              <a:gd name="T15" fmla="*/ 2147483647 h 112"/>
              <a:gd name="T16" fmla="*/ 2147483647 w 292"/>
              <a:gd name="T17" fmla="*/ 0 h 112"/>
              <a:gd name="T18" fmla="*/ 2147483647 w 292"/>
              <a:gd name="T19" fmla="*/ 2147483647 h 112"/>
              <a:gd name="T20" fmla="*/ 2147483647 w 292"/>
              <a:gd name="T21" fmla="*/ 2147483647 h 112"/>
              <a:gd name="T22" fmla="*/ 2147483647 w 292"/>
              <a:gd name="T23" fmla="*/ 2147483647 h 112"/>
              <a:gd name="T24" fmla="*/ 2147483647 w 292"/>
              <a:gd name="T25" fmla="*/ 2147483647 h 112"/>
              <a:gd name="T26" fmla="*/ 2147483647 w 292"/>
              <a:gd name="T27" fmla="*/ 2147483647 h 112"/>
              <a:gd name="T28" fmla="*/ 2147483647 w 292"/>
              <a:gd name="T29" fmla="*/ 2147483647 h 112"/>
              <a:gd name="T30" fmla="*/ 2147483647 w 292"/>
              <a:gd name="T31" fmla="*/ 2147483647 h 112"/>
              <a:gd name="T32" fmla="*/ 2147483647 w 292"/>
              <a:gd name="T33" fmla="*/ 2147483647 h 112"/>
              <a:gd name="T34" fmla="*/ 2147483647 w 292"/>
              <a:gd name="T35" fmla="*/ 2147483647 h 112"/>
              <a:gd name="T36" fmla="*/ 2147483647 w 292"/>
              <a:gd name="T37" fmla="*/ 2147483647 h 112"/>
              <a:gd name="T38" fmla="*/ 2147483647 w 292"/>
              <a:gd name="T39" fmla="*/ 2147483647 h 112"/>
              <a:gd name="T40" fmla="*/ 2147483647 w 292"/>
              <a:gd name="T41" fmla="*/ 2147483647 h 112"/>
              <a:gd name="T42" fmla="*/ 2147483647 w 292"/>
              <a:gd name="T43" fmla="*/ 2147483647 h 112"/>
              <a:gd name="T44" fmla="*/ 2147483647 w 292"/>
              <a:gd name="T45" fmla="*/ 2147483647 h 112"/>
              <a:gd name="T46" fmla="*/ 2147483647 w 292"/>
              <a:gd name="T47" fmla="*/ 2147483647 h 112"/>
              <a:gd name="T48" fmla="*/ 2147483647 w 292"/>
              <a:gd name="T49" fmla="*/ 2147483647 h 112"/>
              <a:gd name="T50" fmla="*/ 2147483647 w 292"/>
              <a:gd name="T51" fmla="*/ 2147483647 h 112"/>
              <a:gd name="T52" fmla="*/ 2147483647 w 292"/>
              <a:gd name="T53" fmla="*/ 2147483647 h 112"/>
              <a:gd name="T54" fmla="*/ 2147483647 w 292"/>
              <a:gd name="T55" fmla="*/ 2147483647 h 112"/>
              <a:gd name="T56" fmla="*/ 2147483647 w 292"/>
              <a:gd name="T57" fmla="*/ 2147483647 h 112"/>
              <a:gd name="T58" fmla="*/ 2147483647 w 292"/>
              <a:gd name="T59" fmla="*/ 2147483647 h 112"/>
              <a:gd name="T60" fmla="*/ 2147483647 w 292"/>
              <a:gd name="T61" fmla="*/ 2147483647 h 112"/>
              <a:gd name="T62" fmla="*/ 2147483647 w 292"/>
              <a:gd name="T63" fmla="*/ 2147483647 h 112"/>
              <a:gd name="T64" fmla="*/ 2147483647 w 292"/>
              <a:gd name="T65" fmla="*/ 2147483647 h 112"/>
              <a:gd name="T66" fmla="*/ 2147483647 w 292"/>
              <a:gd name="T67" fmla="*/ 2147483647 h 112"/>
              <a:gd name="T68" fmla="*/ 2147483647 w 292"/>
              <a:gd name="T69" fmla="*/ 2147483647 h 112"/>
              <a:gd name="T70" fmla="*/ 2147483647 w 292"/>
              <a:gd name="T71" fmla="*/ 2147483647 h 112"/>
              <a:gd name="T72" fmla="*/ 2147483647 w 292"/>
              <a:gd name="T73" fmla="*/ 2147483647 h 112"/>
              <a:gd name="T74" fmla="*/ 2147483647 w 292"/>
              <a:gd name="T75" fmla="*/ 2147483647 h 112"/>
              <a:gd name="T76" fmla="*/ 2147483647 w 292"/>
              <a:gd name="T77" fmla="*/ 2147483647 h 112"/>
              <a:gd name="T78" fmla="*/ 2147483647 w 292"/>
              <a:gd name="T79" fmla="*/ 2147483647 h 112"/>
              <a:gd name="T80" fmla="*/ 2147483647 w 292"/>
              <a:gd name="T81" fmla="*/ 2147483647 h 112"/>
              <a:gd name="T82" fmla="*/ 2147483647 w 292"/>
              <a:gd name="T83" fmla="*/ 2147483647 h 11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92"/>
              <a:gd name="T127" fmla="*/ 0 h 112"/>
              <a:gd name="T128" fmla="*/ 292 w 292"/>
              <a:gd name="T129" fmla="*/ 112 h 11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92" h="112">
                <a:moveTo>
                  <a:pt x="10" y="48"/>
                </a:moveTo>
                <a:lnTo>
                  <a:pt x="0" y="46"/>
                </a:lnTo>
                <a:lnTo>
                  <a:pt x="0" y="42"/>
                </a:lnTo>
                <a:lnTo>
                  <a:pt x="6" y="34"/>
                </a:lnTo>
                <a:lnTo>
                  <a:pt x="12" y="32"/>
                </a:lnTo>
                <a:lnTo>
                  <a:pt x="26" y="34"/>
                </a:lnTo>
                <a:lnTo>
                  <a:pt x="38" y="34"/>
                </a:lnTo>
                <a:lnTo>
                  <a:pt x="46" y="34"/>
                </a:lnTo>
                <a:lnTo>
                  <a:pt x="46" y="28"/>
                </a:lnTo>
                <a:lnTo>
                  <a:pt x="52" y="26"/>
                </a:lnTo>
                <a:lnTo>
                  <a:pt x="58" y="26"/>
                </a:lnTo>
                <a:lnTo>
                  <a:pt x="52" y="22"/>
                </a:lnTo>
                <a:lnTo>
                  <a:pt x="46" y="22"/>
                </a:lnTo>
                <a:lnTo>
                  <a:pt x="46" y="16"/>
                </a:lnTo>
                <a:lnTo>
                  <a:pt x="68" y="18"/>
                </a:lnTo>
                <a:lnTo>
                  <a:pt x="82" y="18"/>
                </a:lnTo>
                <a:lnTo>
                  <a:pt x="90" y="10"/>
                </a:lnTo>
                <a:lnTo>
                  <a:pt x="110" y="0"/>
                </a:lnTo>
                <a:lnTo>
                  <a:pt x="140" y="0"/>
                </a:lnTo>
                <a:lnTo>
                  <a:pt x="146" y="12"/>
                </a:lnTo>
                <a:lnTo>
                  <a:pt x="154" y="10"/>
                </a:lnTo>
                <a:lnTo>
                  <a:pt x="160" y="16"/>
                </a:lnTo>
                <a:lnTo>
                  <a:pt x="168" y="18"/>
                </a:lnTo>
                <a:lnTo>
                  <a:pt x="182" y="22"/>
                </a:lnTo>
                <a:lnTo>
                  <a:pt x="200" y="22"/>
                </a:lnTo>
                <a:lnTo>
                  <a:pt x="218" y="22"/>
                </a:lnTo>
                <a:lnTo>
                  <a:pt x="234" y="18"/>
                </a:lnTo>
                <a:lnTo>
                  <a:pt x="242" y="10"/>
                </a:lnTo>
                <a:lnTo>
                  <a:pt x="248" y="12"/>
                </a:lnTo>
                <a:lnTo>
                  <a:pt x="252" y="14"/>
                </a:lnTo>
                <a:lnTo>
                  <a:pt x="254" y="8"/>
                </a:lnTo>
                <a:lnTo>
                  <a:pt x="262" y="10"/>
                </a:lnTo>
                <a:lnTo>
                  <a:pt x="268" y="16"/>
                </a:lnTo>
                <a:lnTo>
                  <a:pt x="274" y="20"/>
                </a:lnTo>
                <a:lnTo>
                  <a:pt x="274" y="30"/>
                </a:lnTo>
                <a:lnTo>
                  <a:pt x="274" y="42"/>
                </a:lnTo>
                <a:lnTo>
                  <a:pt x="286" y="42"/>
                </a:lnTo>
                <a:lnTo>
                  <a:pt x="292" y="46"/>
                </a:lnTo>
                <a:lnTo>
                  <a:pt x="284" y="48"/>
                </a:lnTo>
                <a:lnTo>
                  <a:pt x="282" y="52"/>
                </a:lnTo>
                <a:lnTo>
                  <a:pt x="284" y="60"/>
                </a:lnTo>
                <a:lnTo>
                  <a:pt x="286" y="68"/>
                </a:lnTo>
                <a:lnTo>
                  <a:pt x="288" y="78"/>
                </a:lnTo>
                <a:lnTo>
                  <a:pt x="292" y="88"/>
                </a:lnTo>
                <a:lnTo>
                  <a:pt x="290" y="92"/>
                </a:lnTo>
                <a:lnTo>
                  <a:pt x="282" y="90"/>
                </a:lnTo>
                <a:lnTo>
                  <a:pt x="262" y="86"/>
                </a:lnTo>
                <a:lnTo>
                  <a:pt x="252" y="92"/>
                </a:lnTo>
                <a:lnTo>
                  <a:pt x="226" y="92"/>
                </a:lnTo>
                <a:lnTo>
                  <a:pt x="214" y="100"/>
                </a:lnTo>
                <a:lnTo>
                  <a:pt x="196" y="102"/>
                </a:lnTo>
                <a:lnTo>
                  <a:pt x="190" y="96"/>
                </a:lnTo>
                <a:lnTo>
                  <a:pt x="184" y="96"/>
                </a:lnTo>
                <a:lnTo>
                  <a:pt x="182" y="100"/>
                </a:lnTo>
                <a:lnTo>
                  <a:pt x="170" y="100"/>
                </a:lnTo>
                <a:lnTo>
                  <a:pt x="164" y="96"/>
                </a:lnTo>
                <a:lnTo>
                  <a:pt x="162" y="104"/>
                </a:lnTo>
                <a:lnTo>
                  <a:pt x="154" y="112"/>
                </a:lnTo>
                <a:lnTo>
                  <a:pt x="152" y="104"/>
                </a:lnTo>
                <a:lnTo>
                  <a:pt x="156" y="96"/>
                </a:lnTo>
                <a:lnTo>
                  <a:pt x="150" y="96"/>
                </a:lnTo>
                <a:lnTo>
                  <a:pt x="146" y="100"/>
                </a:lnTo>
                <a:lnTo>
                  <a:pt x="132" y="98"/>
                </a:lnTo>
                <a:lnTo>
                  <a:pt x="128" y="100"/>
                </a:lnTo>
                <a:lnTo>
                  <a:pt x="120" y="108"/>
                </a:lnTo>
                <a:lnTo>
                  <a:pt x="110" y="110"/>
                </a:lnTo>
                <a:lnTo>
                  <a:pt x="100" y="110"/>
                </a:lnTo>
                <a:lnTo>
                  <a:pt x="92" y="104"/>
                </a:lnTo>
                <a:lnTo>
                  <a:pt x="80" y="100"/>
                </a:lnTo>
                <a:lnTo>
                  <a:pt x="72" y="96"/>
                </a:lnTo>
                <a:lnTo>
                  <a:pt x="66" y="98"/>
                </a:lnTo>
                <a:lnTo>
                  <a:pt x="68" y="104"/>
                </a:lnTo>
                <a:lnTo>
                  <a:pt x="66" y="108"/>
                </a:lnTo>
                <a:lnTo>
                  <a:pt x="50" y="108"/>
                </a:lnTo>
                <a:lnTo>
                  <a:pt x="40" y="100"/>
                </a:lnTo>
                <a:lnTo>
                  <a:pt x="34" y="96"/>
                </a:lnTo>
                <a:lnTo>
                  <a:pt x="20" y="92"/>
                </a:lnTo>
                <a:lnTo>
                  <a:pt x="16" y="84"/>
                </a:lnTo>
                <a:lnTo>
                  <a:pt x="16" y="78"/>
                </a:lnTo>
                <a:lnTo>
                  <a:pt x="6" y="74"/>
                </a:lnTo>
                <a:lnTo>
                  <a:pt x="10" y="68"/>
                </a:lnTo>
                <a:lnTo>
                  <a:pt x="14" y="62"/>
                </a:lnTo>
                <a:lnTo>
                  <a:pt x="12" y="54"/>
                </a:lnTo>
                <a:lnTo>
                  <a:pt x="10" y="4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19" name="Freeform 199">
            <a:extLst>
              <a:ext uri="{FF2B5EF4-FFF2-40B4-BE49-F238E27FC236}">
                <a16:creationId xmlns:a16="http://schemas.microsoft.com/office/drawing/2014/main" id="{2463A270-6E87-C510-5B03-C4F3D9ED5718}"/>
              </a:ext>
            </a:extLst>
          </p:cNvPr>
          <p:cNvSpPr>
            <a:spLocks/>
          </p:cNvSpPr>
          <p:nvPr/>
        </p:nvSpPr>
        <p:spPr bwMode="auto">
          <a:xfrm>
            <a:off x="6303433" y="3803651"/>
            <a:ext cx="59267" cy="48684"/>
          </a:xfrm>
          <a:custGeom>
            <a:avLst/>
            <a:gdLst>
              <a:gd name="T0" fmla="*/ 2147483647 w 28"/>
              <a:gd name="T1" fmla="*/ 2147483647 h 28"/>
              <a:gd name="T2" fmla="*/ 2147483647 w 28"/>
              <a:gd name="T3" fmla="*/ 0 h 28"/>
              <a:gd name="T4" fmla="*/ 2147483647 w 28"/>
              <a:gd name="T5" fmla="*/ 2147483647 h 28"/>
              <a:gd name="T6" fmla="*/ 2147483647 w 28"/>
              <a:gd name="T7" fmla="*/ 2147483647 h 28"/>
              <a:gd name="T8" fmla="*/ 2147483647 w 28"/>
              <a:gd name="T9" fmla="*/ 2147483647 h 28"/>
              <a:gd name="T10" fmla="*/ 2147483647 w 28"/>
              <a:gd name="T11" fmla="*/ 2147483647 h 28"/>
              <a:gd name="T12" fmla="*/ 2147483647 w 28"/>
              <a:gd name="T13" fmla="*/ 2147483647 h 28"/>
              <a:gd name="T14" fmla="*/ 2147483647 w 28"/>
              <a:gd name="T15" fmla="*/ 2147483647 h 28"/>
              <a:gd name="T16" fmla="*/ 0 w 28"/>
              <a:gd name="T17" fmla="*/ 2147483647 h 28"/>
              <a:gd name="T18" fmla="*/ 2147483647 w 28"/>
              <a:gd name="T19" fmla="*/ 2147483647 h 28"/>
              <a:gd name="T20" fmla="*/ 2147483647 w 28"/>
              <a:gd name="T21" fmla="*/ 2147483647 h 28"/>
              <a:gd name="T22" fmla="*/ 2147483647 w 28"/>
              <a:gd name="T23" fmla="*/ 2147483647 h 2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8"/>
              <a:gd name="T37" fmla="*/ 0 h 28"/>
              <a:gd name="T38" fmla="*/ 28 w 28"/>
              <a:gd name="T39" fmla="*/ 28 h 2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8" h="28">
                <a:moveTo>
                  <a:pt x="16" y="2"/>
                </a:moveTo>
                <a:lnTo>
                  <a:pt x="24" y="0"/>
                </a:lnTo>
                <a:lnTo>
                  <a:pt x="28" y="4"/>
                </a:lnTo>
                <a:lnTo>
                  <a:pt x="24" y="10"/>
                </a:lnTo>
                <a:lnTo>
                  <a:pt x="18" y="14"/>
                </a:lnTo>
                <a:lnTo>
                  <a:pt x="16" y="20"/>
                </a:lnTo>
                <a:lnTo>
                  <a:pt x="10" y="24"/>
                </a:lnTo>
                <a:lnTo>
                  <a:pt x="6" y="28"/>
                </a:lnTo>
                <a:lnTo>
                  <a:pt x="0" y="26"/>
                </a:lnTo>
                <a:lnTo>
                  <a:pt x="6" y="18"/>
                </a:lnTo>
                <a:lnTo>
                  <a:pt x="12" y="8"/>
                </a:lnTo>
                <a:lnTo>
                  <a:pt x="16" y="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20" name="Freeform 200">
            <a:extLst>
              <a:ext uri="{FF2B5EF4-FFF2-40B4-BE49-F238E27FC236}">
                <a16:creationId xmlns:a16="http://schemas.microsoft.com/office/drawing/2014/main" id="{6DF8C4C6-3611-4405-BC1D-A07B52B6F53D}"/>
              </a:ext>
            </a:extLst>
          </p:cNvPr>
          <p:cNvSpPr>
            <a:spLocks/>
          </p:cNvSpPr>
          <p:nvPr/>
        </p:nvSpPr>
        <p:spPr bwMode="auto">
          <a:xfrm>
            <a:off x="6324600" y="3706285"/>
            <a:ext cx="211667" cy="167217"/>
          </a:xfrm>
          <a:custGeom>
            <a:avLst/>
            <a:gdLst>
              <a:gd name="T0" fmla="*/ 2147483647 w 108"/>
              <a:gd name="T1" fmla="*/ 2147483647 h 86"/>
              <a:gd name="T2" fmla="*/ 2147483647 w 108"/>
              <a:gd name="T3" fmla="*/ 2147483647 h 86"/>
              <a:gd name="T4" fmla="*/ 2147483647 w 108"/>
              <a:gd name="T5" fmla="*/ 2147483647 h 86"/>
              <a:gd name="T6" fmla="*/ 2147483647 w 108"/>
              <a:gd name="T7" fmla="*/ 2147483647 h 86"/>
              <a:gd name="T8" fmla="*/ 2147483647 w 108"/>
              <a:gd name="T9" fmla="*/ 2147483647 h 86"/>
              <a:gd name="T10" fmla="*/ 2147483647 w 108"/>
              <a:gd name="T11" fmla="*/ 2147483647 h 86"/>
              <a:gd name="T12" fmla="*/ 2147483647 w 108"/>
              <a:gd name="T13" fmla="*/ 2147483647 h 86"/>
              <a:gd name="T14" fmla="*/ 2147483647 w 108"/>
              <a:gd name="T15" fmla="*/ 2147483647 h 86"/>
              <a:gd name="T16" fmla="*/ 2147483647 w 108"/>
              <a:gd name="T17" fmla="*/ 2147483647 h 86"/>
              <a:gd name="T18" fmla="*/ 2147483647 w 108"/>
              <a:gd name="T19" fmla="*/ 2147483647 h 86"/>
              <a:gd name="T20" fmla="*/ 2147483647 w 108"/>
              <a:gd name="T21" fmla="*/ 2147483647 h 86"/>
              <a:gd name="T22" fmla="*/ 2147483647 w 108"/>
              <a:gd name="T23" fmla="*/ 2147483647 h 86"/>
              <a:gd name="T24" fmla="*/ 2147483647 w 108"/>
              <a:gd name="T25" fmla="*/ 0 h 86"/>
              <a:gd name="T26" fmla="*/ 2147483647 w 108"/>
              <a:gd name="T27" fmla="*/ 0 h 86"/>
              <a:gd name="T28" fmla="*/ 2147483647 w 108"/>
              <a:gd name="T29" fmla="*/ 2147483647 h 86"/>
              <a:gd name="T30" fmla="*/ 2147483647 w 108"/>
              <a:gd name="T31" fmla="*/ 2147483647 h 86"/>
              <a:gd name="T32" fmla="*/ 2147483647 w 108"/>
              <a:gd name="T33" fmla="*/ 2147483647 h 86"/>
              <a:gd name="T34" fmla="*/ 2147483647 w 108"/>
              <a:gd name="T35" fmla="*/ 2147483647 h 86"/>
              <a:gd name="T36" fmla="*/ 2147483647 w 108"/>
              <a:gd name="T37" fmla="*/ 2147483647 h 86"/>
              <a:gd name="T38" fmla="*/ 2147483647 w 108"/>
              <a:gd name="T39" fmla="*/ 2147483647 h 86"/>
              <a:gd name="T40" fmla="*/ 2147483647 w 108"/>
              <a:gd name="T41" fmla="*/ 2147483647 h 86"/>
              <a:gd name="T42" fmla="*/ 2147483647 w 108"/>
              <a:gd name="T43" fmla="*/ 2147483647 h 86"/>
              <a:gd name="T44" fmla="*/ 2147483647 w 108"/>
              <a:gd name="T45" fmla="*/ 2147483647 h 86"/>
              <a:gd name="T46" fmla="*/ 0 w 108"/>
              <a:gd name="T47" fmla="*/ 2147483647 h 86"/>
              <a:gd name="T48" fmla="*/ 2147483647 w 108"/>
              <a:gd name="T49" fmla="*/ 2147483647 h 86"/>
              <a:gd name="T50" fmla="*/ 2147483647 w 108"/>
              <a:gd name="T51" fmla="*/ 2147483647 h 86"/>
              <a:gd name="T52" fmla="*/ 2147483647 w 108"/>
              <a:gd name="T53" fmla="*/ 2147483647 h 86"/>
              <a:gd name="T54" fmla="*/ 2147483647 w 108"/>
              <a:gd name="T55" fmla="*/ 2147483647 h 86"/>
              <a:gd name="T56" fmla="*/ 2147483647 w 108"/>
              <a:gd name="T57" fmla="*/ 2147483647 h 86"/>
              <a:gd name="T58" fmla="*/ 2147483647 w 108"/>
              <a:gd name="T59" fmla="*/ 2147483647 h 8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08"/>
              <a:gd name="T91" fmla="*/ 0 h 86"/>
              <a:gd name="T92" fmla="*/ 108 w 108"/>
              <a:gd name="T93" fmla="*/ 86 h 8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08" h="86">
                <a:moveTo>
                  <a:pt x="10" y="48"/>
                </a:moveTo>
                <a:lnTo>
                  <a:pt x="8" y="32"/>
                </a:lnTo>
                <a:lnTo>
                  <a:pt x="8" y="24"/>
                </a:lnTo>
                <a:lnTo>
                  <a:pt x="10" y="20"/>
                </a:lnTo>
                <a:lnTo>
                  <a:pt x="18" y="12"/>
                </a:lnTo>
                <a:lnTo>
                  <a:pt x="20" y="4"/>
                </a:lnTo>
                <a:lnTo>
                  <a:pt x="26" y="8"/>
                </a:lnTo>
                <a:lnTo>
                  <a:pt x="38" y="8"/>
                </a:lnTo>
                <a:lnTo>
                  <a:pt x="40" y="4"/>
                </a:lnTo>
                <a:lnTo>
                  <a:pt x="46" y="4"/>
                </a:lnTo>
                <a:lnTo>
                  <a:pt x="52" y="10"/>
                </a:lnTo>
                <a:lnTo>
                  <a:pt x="70" y="8"/>
                </a:lnTo>
                <a:lnTo>
                  <a:pt x="82" y="0"/>
                </a:lnTo>
                <a:lnTo>
                  <a:pt x="108" y="0"/>
                </a:lnTo>
                <a:lnTo>
                  <a:pt x="108" y="4"/>
                </a:lnTo>
                <a:lnTo>
                  <a:pt x="94" y="14"/>
                </a:lnTo>
                <a:lnTo>
                  <a:pt x="90" y="46"/>
                </a:lnTo>
                <a:lnTo>
                  <a:pt x="54" y="68"/>
                </a:lnTo>
                <a:lnTo>
                  <a:pt x="28" y="84"/>
                </a:lnTo>
                <a:lnTo>
                  <a:pt x="20" y="86"/>
                </a:lnTo>
                <a:lnTo>
                  <a:pt x="12" y="82"/>
                </a:lnTo>
                <a:lnTo>
                  <a:pt x="6" y="80"/>
                </a:lnTo>
                <a:lnTo>
                  <a:pt x="2" y="78"/>
                </a:lnTo>
                <a:lnTo>
                  <a:pt x="0" y="74"/>
                </a:lnTo>
                <a:lnTo>
                  <a:pt x="10" y="66"/>
                </a:lnTo>
                <a:lnTo>
                  <a:pt x="12" y="60"/>
                </a:lnTo>
                <a:lnTo>
                  <a:pt x="18" y="56"/>
                </a:lnTo>
                <a:lnTo>
                  <a:pt x="22" y="50"/>
                </a:lnTo>
                <a:lnTo>
                  <a:pt x="18" y="46"/>
                </a:lnTo>
                <a:lnTo>
                  <a:pt x="10" y="4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21" name="Freeform 201">
            <a:extLst>
              <a:ext uri="{FF2B5EF4-FFF2-40B4-BE49-F238E27FC236}">
                <a16:creationId xmlns:a16="http://schemas.microsoft.com/office/drawing/2014/main" id="{14284D87-40DE-39CD-0019-2CA7CA0B8A7B}"/>
              </a:ext>
            </a:extLst>
          </p:cNvPr>
          <p:cNvSpPr>
            <a:spLocks/>
          </p:cNvSpPr>
          <p:nvPr/>
        </p:nvSpPr>
        <p:spPr bwMode="auto">
          <a:xfrm>
            <a:off x="6284385" y="3843867"/>
            <a:ext cx="48684" cy="133351"/>
          </a:xfrm>
          <a:custGeom>
            <a:avLst/>
            <a:gdLst>
              <a:gd name="T0" fmla="*/ 2147483647 w 24"/>
              <a:gd name="T1" fmla="*/ 2147483647 h 64"/>
              <a:gd name="T2" fmla="*/ 2147483647 w 24"/>
              <a:gd name="T3" fmla="*/ 2147483647 h 64"/>
              <a:gd name="T4" fmla="*/ 2147483647 w 24"/>
              <a:gd name="T5" fmla="*/ 2147483647 h 64"/>
              <a:gd name="T6" fmla="*/ 2147483647 w 24"/>
              <a:gd name="T7" fmla="*/ 2147483647 h 64"/>
              <a:gd name="T8" fmla="*/ 2147483647 w 24"/>
              <a:gd name="T9" fmla="*/ 2147483647 h 64"/>
              <a:gd name="T10" fmla="*/ 2147483647 w 24"/>
              <a:gd name="T11" fmla="*/ 0 h 64"/>
              <a:gd name="T12" fmla="*/ 2147483647 w 24"/>
              <a:gd name="T13" fmla="*/ 2147483647 h 64"/>
              <a:gd name="T14" fmla="*/ 2147483647 w 24"/>
              <a:gd name="T15" fmla="*/ 2147483647 h 64"/>
              <a:gd name="T16" fmla="*/ 2147483647 w 24"/>
              <a:gd name="T17" fmla="*/ 2147483647 h 64"/>
              <a:gd name="T18" fmla="*/ 2147483647 w 24"/>
              <a:gd name="T19" fmla="*/ 2147483647 h 64"/>
              <a:gd name="T20" fmla="*/ 2147483647 w 24"/>
              <a:gd name="T21" fmla="*/ 2147483647 h 64"/>
              <a:gd name="T22" fmla="*/ 0 w 24"/>
              <a:gd name="T23" fmla="*/ 2147483647 h 64"/>
              <a:gd name="T24" fmla="*/ 2147483647 w 24"/>
              <a:gd name="T25" fmla="*/ 2147483647 h 64"/>
              <a:gd name="T26" fmla="*/ 2147483647 w 24"/>
              <a:gd name="T27" fmla="*/ 2147483647 h 64"/>
              <a:gd name="T28" fmla="*/ 2147483647 w 24"/>
              <a:gd name="T29" fmla="*/ 2147483647 h 64"/>
              <a:gd name="T30" fmla="*/ 2147483647 w 24"/>
              <a:gd name="T31" fmla="*/ 2147483647 h 64"/>
              <a:gd name="T32" fmla="*/ 2147483647 w 24"/>
              <a:gd name="T33" fmla="*/ 2147483647 h 64"/>
              <a:gd name="T34" fmla="*/ 2147483647 w 24"/>
              <a:gd name="T35" fmla="*/ 2147483647 h 64"/>
              <a:gd name="T36" fmla="*/ 2147483647 w 24"/>
              <a:gd name="T37" fmla="*/ 2147483647 h 64"/>
              <a:gd name="T38" fmla="*/ 2147483647 w 24"/>
              <a:gd name="T39" fmla="*/ 2147483647 h 64"/>
              <a:gd name="T40" fmla="*/ 2147483647 w 24"/>
              <a:gd name="T41" fmla="*/ 2147483647 h 64"/>
              <a:gd name="T42" fmla="*/ 2147483647 w 24"/>
              <a:gd name="T43" fmla="*/ 2147483647 h 64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24"/>
              <a:gd name="T67" fmla="*/ 0 h 64"/>
              <a:gd name="T68" fmla="*/ 24 w 24"/>
              <a:gd name="T69" fmla="*/ 64 h 64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24" h="64">
                <a:moveTo>
                  <a:pt x="16" y="14"/>
                </a:moveTo>
                <a:lnTo>
                  <a:pt x="22" y="14"/>
                </a:lnTo>
                <a:lnTo>
                  <a:pt x="24" y="8"/>
                </a:lnTo>
                <a:lnTo>
                  <a:pt x="22" y="6"/>
                </a:lnTo>
                <a:lnTo>
                  <a:pt x="20" y="2"/>
                </a:lnTo>
                <a:lnTo>
                  <a:pt x="14" y="0"/>
                </a:lnTo>
                <a:lnTo>
                  <a:pt x="14" y="6"/>
                </a:lnTo>
                <a:lnTo>
                  <a:pt x="12" y="14"/>
                </a:lnTo>
                <a:lnTo>
                  <a:pt x="10" y="20"/>
                </a:lnTo>
                <a:lnTo>
                  <a:pt x="6" y="26"/>
                </a:lnTo>
                <a:lnTo>
                  <a:pt x="4" y="30"/>
                </a:lnTo>
                <a:lnTo>
                  <a:pt x="0" y="36"/>
                </a:lnTo>
                <a:lnTo>
                  <a:pt x="2" y="40"/>
                </a:lnTo>
                <a:lnTo>
                  <a:pt x="6" y="48"/>
                </a:lnTo>
                <a:lnTo>
                  <a:pt x="10" y="58"/>
                </a:lnTo>
                <a:lnTo>
                  <a:pt x="12" y="64"/>
                </a:lnTo>
                <a:lnTo>
                  <a:pt x="18" y="52"/>
                </a:lnTo>
                <a:lnTo>
                  <a:pt x="20" y="42"/>
                </a:lnTo>
                <a:lnTo>
                  <a:pt x="20" y="30"/>
                </a:lnTo>
                <a:lnTo>
                  <a:pt x="16" y="30"/>
                </a:lnTo>
                <a:lnTo>
                  <a:pt x="14" y="18"/>
                </a:lnTo>
                <a:lnTo>
                  <a:pt x="16" y="1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22" name="Freeform 202">
            <a:extLst>
              <a:ext uri="{FF2B5EF4-FFF2-40B4-BE49-F238E27FC236}">
                <a16:creationId xmlns:a16="http://schemas.microsoft.com/office/drawing/2014/main" id="{8C21C711-4153-6832-FC4E-53497C7F528A}"/>
              </a:ext>
            </a:extLst>
          </p:cNvPr>
          <p:cNvSpPr>
            <a:spLocks/>
          </p:cNvSpPr>
          <p:nvPr/>
        </p:nvSpPr>
        <p:spPr bwMode="auto">
          <a:xfrm>
            <a:off x="6428318" y="3697817"/>
            <a:ext cx="281517" cy="289984"/>
          </a:xfrm>
          <a:custGeom>
            <a:avLst/>
            <a:gdLst>
              <a:gd name="T0" fmla="*/ 2147483647 w 142"/>
              <a:gd name="T1" fmla="*/ 2147483647 h 148"/>
              <a:gd name="T2" fmla="*/ 2147483647 w 142"/>
              <a:gd name="T3" fmla="*/ 2147483647 h 148"/>
              <a:gd name="T4" fmla="*/ 2147483647 w 142"/>
              <a:gd name="T5" fmla="*/ 2147483647 h 148"/>
              <a:gd name="T6" fmla="*/ 2147483647 w 142"/>
              <a:gd name="T7" fmla="*/ 2147483647 h 148"/>
              <a:gd name="T8" fmla="*/ 2147483647 w 142"/>
              <a:gd name="T9" fmla="*/ 2147483647 h 148"/>
              <a:gd name="T10" fmla="*/ 2147483647 w 142"/>
              <a:gd name="T11" fmla="*/ 2147483647 h 148"/>
              <a:gd name="T12" fmla="*/ 2147483647 w 142"/>
              <a:gd name="T13" fmla="*/ 2147483647 h 148"/>
              <a:gd name="T14" fmla="*/ 2147483647 w 142"/>
              <a:gd name="T15" fmla="*/ 2147483647 h 148"/>
              <a:gd name="T16" fmla="*/ 2147483647 w 142"/>
              <a:gd name="T17" fmla="*/ 2147483647 h 148"/>
              <a:gd name="T18" fmla="*/ 2147483647 w 142"/>
              <a:gd name="T19" fmla="*/ 2147483647 h 148"/>
              <a:gd name="T20" fmla="*/ 2147483647 w 142"/>
              <a:gd name="T21" fmla="*/ 2147483647 h 148"/>
              <a:gd name="T22" fmla="*/ 2147483647 w 142"/>
              <a:gd name="T23" fmla="*/ 2147483647 h 148"/>
              <a:gd name="T24" fmla="*/ 2147483647 w 142"/>
              <a:gd name="T25" fmla="*/ 2147483647 h 148"/>
              <a:gd name="T26" fmla="*/ 2147483647 w 142"/>
              <a:gd name="T27" fmla="*/ 2147483647 h 148"/>
              <a:gd name="T28" fmla="*/ 2147483647 w 142"/>
              <a:gd name="T29" fmla="*/ 2147483647 h 148"/>
              <a:gd name="T30" fmla="*/ 2147483647 w 142"/>
              <a:gd name="T31" fmla="*/ 2147483647 h 148"/>
              <a:gd name="T32" fmla="*/ 2147483647 w 142"/>
              <a:gd name="T33" fmla="*/ 2147483647 h 148"/>
              <a:gd name="T34" fmla="*/ 2147483647 w 142"/>
              <a:gd name="T35" fmla="*/ 2147483647 h 148"/>
              <a:gd name="T36" fmla="*/ 2147483647 w 142"/>
              <a:gd name="T37" fmla="*/ 2147483647 h 148"/>
              <a:gd name="T38" fmla="*/ 2147483647 w 142"/>
              <a:gd name="T39" fmla="*/ 2147483647 h 148"/>
              <a:gd name="T40" fmla="*/ 2147483647 w 142"/>
              <a:gd name="T41" fmla="*/ 2147483647 h 148"/>
              <a:gd name="T42" fmla="*/ 2147483647 w 142"/>
              <a:gd name="T43" fmla="*/ 2147483647 h 148"/>
              <a:gd name="T44" fmla="*/ 2147483647 w 142"/>
              <a:gd name="T45" fmla="*/ 2147483647 h 148"/>
              <a:gd name="T46" fmla="*/ 2147483647 w 142"/>
              <a:gd name="T47" fmla="*/ 2147483647 h 148"/>
              <a:gd name="T48" fmla="*/ 0 w 142"/>
              <a:gd name="T49" fmla="*/ 2147483647 h 148"/>
              <a:gd name="T50" fmla="*/ 2147483647 w 142"/>
              <a:gd name="T51" fmla="*/ 2147483647 h 148"/>
              <a:gd name="T52" fmla="*/ 2147483647 w 142"/>
              <a:gd name="T53" fmla="*/ 2147483647 h 148"/>
              <a:gd name="T54" fmla="*/ 2147483647 w 142"/>
              <a:gd name="T55" fmla="*/ 2147483647 h 148"/>
              <a:gd name="T56" fmla="*/ 2147483647 w 142"/>
              <a:gd name="T57" fmla="*/ 2147483647 h 148"/>
              <a:gd name="T58" fmla="*/ 2147483647 w 142"/>
              <a:gd name="T59" fmla="*/ 0 h 148"/>
              <a:gd name="T60" fmla="*/ 2147483647 w 142"/>
              <a:gd name="T61" fmla="*/ 2147483647 h 148"/>
              <a:gd name="T62" fmla="*/ 2147483647 w 142"/>
              <a:gd name="T63" fmla="*/ 2147483647 h 14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42"/>
              <a:gd name="T97" fmla="*/ 0 h 148"/>
              <a:gd name="T98" fmla="*/ 142 w 142"/>
              <a:gd name="T99" fmla="*/ 148 h 14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42" h="148">
                <a:moveTo>
                  <a:pt x="90" y="2"/>
                </a:moveTo>
                <a:lnTo>
                  <a:pt x="94" y="10"/>
                </a:lnTo>
                <a:lnTo>
                  <a:pt x="106" y="28"/>
                </a:lnTo>
                <a:lnTo>
                  <a:pt x="114" y="30"/>
                </a:lnTo>
                <a:lnTo>
                  <a:pt x="110" y="36"/>
                </a:lnTo>
                <a:lnTo>
                  <a:pt x="112" y="44"/>
                </a:lnTo>
                <a:lnTo>
                  <a:pt x="106" y="48"/>
                </a:lnTo>
                <a:lnTo>
                  <a:pt x="100" y="62"/>
                </a:lnTo>
                <a:lnTo>
                  <a:pt x="112" y="74"/>
                </a:lnTo>
                <a:lnTo>
                  <a:pt x="118" y="84"/>
                </a:lnTo>
                <a:lnTo>
                  <a:pt x="132" y="90"/>
                </a:lnTo>
                <a:lnTo>
                  <a:pt x="140" y="98"/>
                </a:lnTo>
                <a:lnTo>
                  <a:pt x="136" y="112"/>
                </a:lnTo>
                <a:lnTo>
                  <a:pt x="142" y="124"/>
                </a:lnTo>
                <a:lnTo>
                  <a:pt x="140" y="130"/>
                </a:lnTo>
                <a:lnTo>
                  <a:pt x="132" y="132"/>
                </a:lnTo>
                <a:lnTo>
                  <a:pt x="122" y="140"/>
                </a:lnTo>
                <a:lnTo>
                  <a:pt x="122" y="148"/>
                </a:lnTo>
                <a:lnTo>
                  <a:pt x="90" y="148"/>
                </a:lnTo>
                <a:lnTo>
                  <a:pt x="76" y="136"/>
                </a:lnTo>
                <a:lnTo>
                  <a:pt x="68" y="136"/>
                </a:lnTo>
                <a:lnTo>
                  <a:pt x="58" y="120"/>
                </a:lnTo>
                <a:lnTo>
                  <a:pt x="22" y="100"/>
                </a:lnTo>
                <a:lnTo>
                  <a:pt x="2" y="96"/>
                </a:lnTo>
                <a:lnTo>
                  <a:pt x="0" y="72"/>
                </a:lnTo>
                <a:lnTo>
                  <a:pt x="32" y="52"/>
                </a:lnTo>
                <a:lnTo>
                  <a:pt x="36" y="20"/>
                </a:lnTo>
                <a:lnTo>
                  <a:pt x="50" y="10"/>
                </a:lnTo>
                <a:lnTo>
                  <a:pt x="50" y="6"/>
                </a:lnTo>
                <a:lnTo>
                  <a:pt x="60" y="0"/>
                </a:lnTo>
                <a:lnTo>
                  <a:pt x="88" y="6"/>
                </a:lnTo>
                <a:lnTo>
                  <a:pt x="90" y="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23" name="Freeform 203">
            <a:extLst>
              <a:ext uri="{FF2B5EF4-FFF2-40B4-BE49-F238E27FC236}">
                <a16:creationId xmlns:a16="http://schemas.microsoft.com/office/drawing/2014/main" id="{8454A329-2489-3DBF-D295-4ACAFA482A54}"/>
              </a:ext>
            </a:extLst>
          </p:cNvPr>
          <p:cNvSpPr>
            <a:spLocks/>
          </p:cNvSpPr>
          <p:nvPr/>
        </p:nvSpPr>
        <p:spPr bwMode="auto">
          <a:xfrm>
            <a:off x="6671734" y="3947584"/>
            <a:ext cx="57151" cy="59267"/>
          </a:xfrm>
          <a:custGeom>
            <a:avLst/>
            <a:gdLst>
              <a:gd name="T0" fmla="*/ 2147483647 w 28"/>
              <a:gd name="T1" fmla="*/ 2147483647 h 28"/>
              <a:gd name="T2" fmla="*/ 2147483647 w 28"/>
              <a:gd name="T3" fmla="*/ 0 h 28"/>
              <a:gd name="T4" fmla="*/ 2147483647 w 28"/>
              <a:gd name="T5" fmla="*/ 0 h 28"/>
              <a:gd name="T6" fmla="*/ 2147483647 w 28"/>
              <a:gd name="T7" fmla="*/ 2147483647 h 28"/>
              <a:gd name="T8" fmla="*/ 0 w 28"/>
              <a:gd name="T9" fmla="*/ 2147483647 h 28"/>
              <a:gd name="T10" fmla="*/ 0 w 28"/>
              <a:gd name="T11" fmla="*/ 2147483647 h 28"/>
              <a:gd name="T12" fmla="*/ 2147483647 w 28"/>
              <a:gd name="T13" fmla="*/ 2147483647 h 28"/>
              <a:gd name="T14" fmla="*/ 2147483647 w 28"/>
              <a:gd name="T15" fmla="*/ 2147483647 h 28"/>
              <a:gd name="T16" fmla="*/ 2147483647 w 28"/>
              <a:gd name="T17" fmla="*/ 2147483647 h 28"/>
              <a:gd name="T18" fmla="*/ 2147483647 w 28"/>
              <a:gd name="T19" fmla="*/ 2147483647 h 28"/>
              <a:gd name="T20" fmla="*/ 2147483647 w 28"/>
              <a:gd name="T21" fmla="*/ 2147483647 h 28"/>
              <a:gd name="T22" fmla="*/ 2147483647 w 28"/>
              <a:gd name="T23" fmla="*/ 2147483647 h 2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8"/>
              <a:gd name="T37" fmla="*/ 0 h 28"/>
              <a:gd name="T38" fmla="*/ 28 w 28"/>
              <a:gd name="T39" fmla="*/ 28 h 2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8" h="28">
                <a:moveTo>
                  <a:pt x="28" y="4"/>
                </a:moveTo>
                <a:lnTo>
                  <a:pt x="18" y="0"/>
                </a:lnTo>
                <a:lnTo>
                  <a:pt x="14" y="0"/>
                </a:lnTo>
                <a:lnTo>
                  <a:pt x="10" y="2"/>
                </a:lnTo>
                <a:lnTo>
                  <a:pt x="0" y="10"/>
                </a:lnTo>
                <a:lnTo>
                  <a:pt x="0" y="18"/>
                </a:lnTo>
                <a:lnTo>
                  <a:pt x="10" y="20"/>
                </a:lnTo>
                <a:lnTo>
                  <a:pt x="18" y="28"/>
                </a:lnTo>
                <a:lnTo>
                  <a:pt x="26" y="28"/>
                </a:lnTo>
                <a:lnTo>
                  <a:pt x="22" y="18"/>
                </a:lnTo>
                <a:lnTo>
                  <a:pt x="22" y="12"/>
                </a:lnTo>
                <a:lnTo>
                  <a:pt x="28" y="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24" name="Freeform 204">
            <a:extLst>
              <a:ext uri="{FF2B5EF4-FFF2-40B4-BE49-F238E27FC236}">
                <a16:creationId xmlns:a16="http://schemas.microsoft.com/office/drawing/2014/main" id="{8DDE0C97-95A0-CEB6-C6D5-75E89DD6D896}"/>
              </a:ext>
            </a:extLst>
          </p:cNvPr>
          <p:cNvSpPr>
            <a:spLocks/>
          </p:cNvSpPr>
          <p:nvPr/>
        </p:nvSpPr>
        <p:spPr bwMode="auto">
          <a:xfrm>
            <a:off x="6815666" y="4093634"/>
            <a:ext cx="154517" cy="116417"/>
          </a:xfrm>
          <a:custGeom>
            <a:avLst/>
            <a:gdLst>
              <a:gd name="T0" fmla="*/ 0 w 84"/>
              <a:gd name="T1" fmla="*/ 2147483647 h 56"/>
              <a:gd name="T2" fmla="*/ 2147483647 w 84"/>
              <a:gd name="T3" fmla="*/ 2147483647 h 56"/>
              <a:gd name="T4" fmla="*/ 2147483647 w 84"/>
              <a:gd name="T5" fmla="*/ 2147483647 h 56"/>
              <a:gd name="T6" fmla="*/ 2147483647 w 84"/>
              <a:gd name="T7" fmla="*/ 2147483647 h 56"/>
              <a:gd name="T8" fmla="*/ 2147483647 w 84"/>
              <a:gd name="T9" fmla="*/ 2147483647 h 56"/>
              <a:gd name="T10" fmla="*/ 2147483647 w 84"/>
              <a:gd name="T11" fmla="*/ 2147483647 h 56"/>
              <a:gd name="T12" fmla="*/ 2147483647 w 84"/>
              <a:gd name="T13" fmla="*/ 2147483647 h 56"/>
              <a:gd name="T14" fmla="*/ 2147483647 w 84"/>
              <a:gd name="T15" fmla="*/ 2147483647 h 56"/>
              <a:gd name="T16" fmla="*/ 2147483647 w 84"/>
              <a:gd name="T17" fmla="*/ 0 h 56"/>
              <a:gd name="T18" fmla="*/ 2147483647 w 84"/>
              <a:gd name="T19" fmla="*/ 2147483647 h 56"/>
              <a:gd name="T20" fmla="*/ 2147483647 w 84"/>
              <a:gd name="T21" fmla="*/ 2147483647 h 56"/>
              <a:gd name="T22" fmla="*/ 2147483647 w 84"/>
              <a:gd name="T23" fmla="*/ 2147483647 h 56"/>
              <a:gd name="T24" fmla="*/ 2147483647 w 84"/>
              <a:gd name="T25" fmla="*/ 2147483647 h 56"/>
              <a:gd name="T26" fmla="*/ 2147483647 w 84"/>
              <a:gd name="T27" fmla="*/ 2147483647 h 56"/>
              <a:gd name="T28" fmla="*/ 2147483647 w 84"/>
              <a:gd name="T29" fmla="*/ 2147483647 h 56"/>
              <a:gd name="T30" fmla="*/ 2147483647 w 84"/>
              <a:gd name="T31" fmla="*/ 2147483647 h 56"/>
              <a:gd name="T32" fmla="*/ 2147483647 w 84"/>
              <a:gd name="T33" fmla="*/ 2147483647 h 56"/>
              <a:gd name="T34" fmla="*/ 2147483647 w 84"/>
              <a:gd name="T35" fmla="*/ 2147483647 h 56"/>
              <a:gd name="T36" fmla="*/ 2147483647 w 84"/>
              <a:gd name="T37" fmla="*/ 2147483647 h 56"/>
              <a:gd name="T38" fmla="*/ 0 w 84"/>
              <a:gd name="T39" fmla="*/ 2147483647 h 5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84"/>
              <a:gd name="T61" fmla="*/ 0 h 56"/>
              <a:gd name="T62" fmla="*/ 84 w 84"/>
              <a:gd name="T63" fmla="*/ 56 h 5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84" h="56">
                <a:moveTo>
                  <a:pt x="0" y="24"/>
                </a:moveTo>
                <a:lnTo>
                  <a:pt x="8" y="34"/>
                </a:lnTo>
                <a:lnTo>
                  <a:pt x="22" y="50"/>
                </a:lnTo>
                <a:lnTo>
                  <a:pt x="48" y="56"/>
                </a:lnTo>
                <a:lnTo>
                  <a:pt x="66" y="56"/>
                </a:lnTo>
                <a:lnTo>
                  <a:pt x="84" y="24"/>
                </a:lnTo>
                <a:lnTo>
                  <a:pt x="82" y="10"/>
                </a:lnTo>
                <a:lnTo>
                  <a:pt x="80" y="2"/>
                </a:lnTo>
                <a:lnTo>
                  <a:pt x="76" y="0"/>
                </a:lnTo>
                <a:lnTo>
                  <a:pt x="68" y="10"/>
                </a:lnTo>
                <a:lnTo>
                  <a:pt x="58" y="18"/>
                </a:lnTo>
                <a:lnTo>
                  <a:pt x="50" y="28"/>
                </a:lnTo>
                <a:lnTo>
                  <a:pt x="42" y="30"/>
                </a:lnTo>
                <a:lnTo>
                  <a:pt x="32" y="26"/>
                </a:lnTo>
                <a:lnTo>
                  <a:pt x="26" y="30"/>
                </a:lnTo>
                <a:lnTo>
                  <a:pt x="22" y="32"/>
                </a:lnTo>
                <a:lnTo>
                  <a:pt x="14" y="30"/>
                </a:lnTo>
                <a:lnTo>
                  <a:pt x="8" y="24"/>
                </a:lnTo>
                <a:lnTo>
                  <a:pt x="4" y="20"/>
                </a:lnTo>
                <a:lnTo>
                  <a:pt x="0" y="2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25" name="Freeform 205">
            <a:extLst>
              <a:ext uri="{FF2B5EF4-FFF2-40B4-BE49-F238E27FC236}">
                <a16:creationId xmlns:a16="http://schemas.microsoft.com/office/drawing/2014/main" id="{5DA44D53-67FA-4060-ED28-FC7BC0AFAD81}"/>
              </a:ext>
            </a:extLst>
          </p:cNvPr>
          <p:cNvSpPr>
            <a:spLocks/>
          </p:cNvSpPr>
          <p:nvPr/>
        </p:nvSpPr>
        <p:spPr bwMode="auto">
          <a:xfrm>
            <a:off x="6834718" y="4142318"/>
            <a:ext cx="243417" cy="249767"/>
          </a:xfrm>
          <a:custGeom>
            <a:avLst/>
            <a:gdLst>
              <a:gd name="T0" fmla="*/ 2147483647 w 124"/>
              <a:gd name="T1" fmla="*/ 2147483647 h 130"/>
              <a:gd name="T2" fmla="*/ 2147483647 w 124"/>
              <a:gd name="T3" fmla="*/ 0 h 130"/>
              <a:gd name="T4" fmla="*/ 2147483647 w 124"/>
              <a:gd name="T5" fmla="*/ 2147483647 h 130"/>
              <a:gd name="T6" fmla="*/ 2147483647 w 124"/>
              <a:gd name="T7" fmla="*/ 2147483647 h 130"/>
              <a:gd name="T8" fmla="*/ 2147483647 w 124"/>
              <a:gd name="T9" fmla="*/ 2147483647 h 130"/>
              <a:gd name="T10" fmla="*/ 2147483647 w 124"/>
              <a:gd name="T11" fmla="*/ 2147483647 h 130"/>
              <a:gd name="T12" fmla="*/ 2147483647 w 124"/>
              <a:gd name="T13" fmla="*/ 2147483647 h 130"/>
              <a:gd name="T14" fmla="*/ 2147483647 w 124"/>
              <a:gd name="T15" fmla="*/ 2147483647 h 130"/>
              <a:gd name="T16" fmla="*/ 2147483647 w 124"/>
              <a:gd name="T17" fmla="*/ 2147483647 h 130"/>
              <a:gd name="T18" fmla="*/ 2147483647 w 124"/>
              <a:gd name="T19" fmla="*/ 2147483647 h 130"/>
              <a:gd name="T20" fmla="*/ 2147483647 w 124"/>
              <a:gd name="T21" fmla="*/ 2147483647 h 130"/>
              <a:gd name="T22" fmla="*/ 2147483647 w 124"/>
              <a:gd name="T23" fmla="*/ 2147483647 h 130"/>
              <a:gd name="T24" fmla="*/ 2147483647 w 124"/>
              <a:gd name="T25" fmla="*/ 2147483647 h 130"/>
              <a:gd name="T26" fmla="*/ 2147483647 w 124"/>
              <a:gd name="T27" fmla="*/ 2147483647 h 130"/>
              <a:gd name="T28" fmla="*/ 2147483647 w 124"/>
              <a:gd name="T29" fmla="*/ 2147483647 h 130"/>
              <a:gd name="T30" fmla="*/ 2147483647 w 124"/>
              <a:gd name="T31" fmla="*/ 2147483647 h 130"/>
              <a:gd name="T32" fmla="*/ 2147483647 w 124"/>
              <a:gd name="T33" fmla="*/ 2147483647 h 130"/>
              <a:gd name="T34" fmla="*/ 2147483647 w 124"/>
              <a:gd name="T35" fmla="*/ 2147483647 h 130"/>
              <a:gd name="T36" fmla="*/ 2147483647 w 124"/>
              <a:gd name="T37" fmla="*/ 2147483647 h 130"/>
              <a:gd name="T38" fmla="*/ 2147483647 w 124"/>
              <a:gd name="T39" fmla="*/ 2147483647 h 130"/>
              <a:gd name="T40" fmla="*/ 2147483647 w 124"/>
              <a:gd name="T41" fmla="*/ 2147483647 h 130"/>
              <a:gd name="T42" fmla="*/ 0 w 124"/>
              <a:gd name="T43" fmla="*/ 2147483647 h 130"/>
              <a:gd name="T44" fmla="*/ 2147483647 w 124"/>
              <a:gd name="T45" fmla="*/ 2147483647 h 130"/>
              <a:gd name="T46" fmla="*/ 2147483647 w 124"/>
              <a:gd name="T47" fmla="*/ 2147483647 h 130"/>
              <a:gd name="T48" fmla="*/ 2147483647 w 124"/>
              <a:gd name="T49" fmla="*/ 2147483647 h 130"/>
              <a:gd name="T50" fmla="*/ 2147483647 w 124"/>
              <a:gd name="T51" fmla="*/ 2147483647 h 130"/>
              <a:gd name="T52" fmla="*/ 2147483647 w 124"/>
              <a:gd name="T53" fmla="*/ 2147483647 h 130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24"/>
              <a:gd name="T82" fmla="*/ 0 h 130"/>
              <a:gd name="T83" fmla="*/ 124 w 124"/>
              <a:gd name="T84" fmla="*/ 130 h 130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24" h="130">
                <a:moveTo>
                  <a:pt x="52" y="30"/>
                </a:moveTo>
                <a:lnTo>
                  <a:pt x="70" y="0"/>
                </a:lnTo>
                <a:lnTo>
                  <a:pt x="82" y="8"/>
                </a:lnTo>
                <a:lnTo>
                  <a:pt x="90" y="14"/>
                </a:lnTo>
                <a:lnTo>
                  <a:pt x="102" y="16"/>
                </a:lnTo>
                <a:lnTo>
                  <a:pt x="124" y="36"/>
                </a:lnTo>
                <a:lnTo>
                  <a:pt x="116" y="50"/>
                </a:lnTo>
                <a:lnTo>
                  <a:pt x="104" y="64"/>
                </a:lnTo>
                <a:lnTo>
                  <a:pt x="98" y="66"/>
                </a:lnTo>
                <a:lnTo>
                  <a:pt x="86" y="70"/>
                </a:lnTo>
                <a:lnTo>
                  <a:pt x="88" y="80"/>
                </a:lnTo>
                <a:lnTo>
                  <a:pt x="90" y="90"/>
                </a:lnTo>
                <a:lnTo>
                  <a:pt x="80" y="92"/>
                </a:lnTo>
                <a:lnTo>
                  <a:pt x="72" y="98"/>
                </a:lnTo>
                <a:lnTo>
                  <a:pt x="68" y="104"/>
                </a:lnTo>
                <a:lnTo>
                  <a:pt x="68" y="110"/>
                </a:lnTo>
                <a:lnTo>
                  <a:pt x="54" y="112"/>
                </a:lnTo>
                <a:lnTo>
                  <a:pt x="52" y="118"/>
                </a:lnTo>
                <a:lnTo>
                  <a:pt x="46" y="128"/>
                </a:lnTo>
                <a:lnTo>
                  <a:pt x="26" y="126"/>
                </a:lnTo>
                <a:lnTo>
                  <a:pt x="16" y="130"/>
                </a:lnTo>
                <a:lnTo>
                  <a:pt x="0" y="94"/>
                </a:lnTo>
                <a:lnTo>
                  <a:pt x="12" y="84"/>
                </a:lnTo>
                <a:lnTo>
                  <a:pt x="48" y="72"/>
                </a:lnTo>
                <a:lnTo>
                  <a:pt x="56" y="54"/>
                </a:lnTo>
                <a:lnTo>
                  <a:pt x="56" y="40"/>
                </a:lnTo>
                <a:lnTo>
                  <a:pt x="52" y="3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26" name="Freeform 206">
            <a:extLst>
              <a:ext uri="{FF2B5EF4-FFF2-40B4-BE49-F238E27FC236}">
                <a16:creationId xmlns:a16="http://schemas.microsoft.com/office/drawing/2014/main" id="{1D82A98F-1963-BC44-19C9-6F75BE1B3E55}"/>
              </a:ext>
            </a:extLst>
          </p:cNvPr>
          <p:cNvSpPr>
            <a:spLocks/>
          </p:cNvSpPr>
          <p:nvPr/>
        </p:nvSpPr>
        <p:spPr bwMode="auto">
          <a:xfrm>
            <a:off x="6555318" y="4324351"/>
            <a:ext cx="309033" cy="194733"/>
          </a:xfrm>
          <a:custGeom>
            <a:avLst/>
            <a:gdLst>
              <a:gd name="T0" fmla="*/ 2147483647 w 162"/>
              <a:gd name="T1" fmla="*/ 2147483647 h 100"/>
              <a:gd name="T2" fmla="*/ 2147483647 w 162"/>
              <a:gd name="T3" fmla="*/ 2147483647 h 100"/>
              <a:gd name="T4" fmla="*/ 2147483647 w 162"/>
              <a:gd name="T5" fmla="*/ 2147483647 h 100"/>
              <a:gd name="T6" fmla="*/ 2147483647 w 162"/>
              <a:gd name="T7" fmla="*/ 2147483647 h 100"/>
              <a:gd name="T8" fmla="*/ 2147483647 w 162"/>
              <a:gd name="T9" fmla="*/ 2147483647 h 100"/>
              <a:gd name="T10" fmla="*/ 0 w 162"/>
              <a:gd name="T11" fmla="*/ 2147483647 h 100"/>
              <a:gd name="T12" fmla="*/ 0 w 162"/>
              <a:gd name="T13" fmla="*/ 2147483647 h 100"/>
              <a:gd name="T14" fmla="*/ 2147483647 w 162"/>
              <a:gd name="T15" fmla="*/ 2147483647 h 100"/>
              <a:gd name="T16" fmla="*/ 2147483647 w 162"/>
              <a:gd name="T17" fmla="*/ 2147483647 h 100"/>
              <a:gd name="T18" fmla="*/ 2147483647 w 162"/>
              <a:gd name="T19" fmla="*/ 2147483647 h 100"/>
              <a:gd name="T20" fmla="*/ 2147483647 w 162"/>
              <a:gd name="T21" fmla="*/ 2147483647 h 100"/>
              <a:gd name="T22" fmla="*/ 2147483647 w 162"/>
              <a:gd name="T23" fmla="*/ 0 h 100"/>
              <a:gd name="T24" fmla="*/ 2147483647 w 162"/>
              <a:gd name="T25" fmla="*/ 0 h 100"/>
              <a:gd name="T26" fmla="*/ 2147483647 w 162"/>
              <a:gd name="T27" fmla="*/ 2147483647 h 100"/>
              <a:gd name="T28" fmla="*/ 2147483647 w 162"/>
              <a:gd name="T29" fmla="*/ 2147483647 h 100"/>
              <a:gd name="T30" fmla="*/ 2147483647 w 162"/>
              <a:gd name="T31" fmla="*/ 2147483647 h 100"/>
              <a:gd name="T32" fmla="*/ 2147483647 w 162"/>
              <a:gd name="T33" fmla="*/ 2147483647 h 100"/>
              <a:gd name="T34" fmla="*/ 2147483647 w 162"/>
              <a:gd name="T35" fmla="*/ 2147483647 h 100"/>
              <a:gd name="T36" fmla="*/ 2147483647 w 162"/>
              <a:gd name="T37" fmla="*/ 2147483647 h 100"/>
              <a:gd name="T38" fmla="*/ 2147483647 w 162"/>
              <a:gd name="T39" fmla="*/ 2147483647 h 100"/>
              <a:gd name="T40" fmla="*/ 2147483647 w 162"/>
              <a:gd name="T41" fmla="*/ 2147483647 h 100"/>
              <a:gd name="T42" fmla="*/ 2147483647 w 162"/>
              <a:gd name="T43" fmla="*/ 2147483647 h 100"/>
              <a:gd name="T44" fmla="*/ 2147483647 w 162"/>
              <a:gd name="T45" fmla="*/ 2147483647 h 100"/>
              <a:gd name="T46" fmla="*/ 2147483647 w 162"/>
              <a:gd name="T47" fmla="*/ 2147483647 h 100"/>
              <a:gd name="T48" fmla="*/ 2147483647 w 162"/>
              <a:gd name="T49" fmla="*/ 2147483647 h 100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62"/>
              <a:gd name="T76" fmla="*/ 0 h 100"/>
              <a:gd name="T77" fmla="*/ 162 w 162"/>
              <a:gd name="T78" fmla="*/ 100 h 100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62" h="100">
                <a:moveTo>
                  <a:pt x="50" y="86"/>
                </a:moveTo>
                <a:lnTo>
                  <a:pt x="42" y="92"/>
                </a:lnTo>
                <a:lnTo>
                  <a:pt x="36" y="100"/>
                </a:lnTo>
                <a:lnTo>
                  <a:pt x="16" y="100"/>
                </a:lnTo>
                <a:lnTo>
                  <a:pt x="8" y="96"/>
                </a:lnTo>
                <a:lnTo>
                  <a:pt x="0" y="66"/>
                </a:lnTo>
                <a:lnTo>
                  <a:pt x="0" y="42"/>
                </a:lnTo>
                <a:lnTo>
                  <a:pt x="8" y="24"/>
                </a:lnTo>
                <a:lnTo>
                  <a:pt x="42" y="22"/>
                </a:lnTo>
                <a:lnTo>
                  <a:pt x="72" y="28"/>
                </a:lnTo>
                <a:lnTo>
                  <a:pt x="98" y="4"/>
                </a:lnTo>
                <a:lnTo>
                  <a:pt x="128" y="0"/>
                </a:lnTo>
                <a:lnTo>
                  <a:pt x="146" y="0"/>
                </a:lnTo>
                <a:lnTo>
                  <a:pt x="162" y="36"/>
                </a:lnTo>
                <a:lnTo>
                  <a:pt x="150" y="42"/>
                </a:lnTo>
                <a:lnTo>
                  <a:pt x="142" y="48"/>
                </a:lnTo>
                <a:lnTo>
                  <a:pt x="142" y="56"/>
                </a:lnTo>
                <a:lnTo>
                  <a:pt x="136" y="60"/>
                </a:lnTo>
                <a:lnTo>
                  <a:pt x="114" y="66"/>
                </a:lnTo>
                <a:lnTo>
                  <a:pt x="104" y="68"/>
                </a:lnTo>
                <a:lnTo>
                  <a:pt x="96" y="80"/>
                </a:lnTo>
                <a:lnTo>
                  <a:pt x="78" y="78"/>
                </a:lnTo>
                <a:lnTo>
                  <a:pt x="70" y="88"/>
                </a:lnTo>
                <a:lnTo>
                  <a:pt x="56" y="88"/>
                </a:lnTo>
                <a:lnTo>
                  <a:pt x="50" y="8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27" name="Freeform 207">
            <a:extLst>
              <a:ext uri="{FF2B5EF4-FFF2-40B4-BE49-F238E27FC236}">
                <a16:creationId xmlns:a16="http://schemas.microsoft.com/office/drawing/2014/main" id="{52627781-5783-738E-3A85-4804230F44F1}"/>
              </a:ext>
            </a:extLst>
          </p:cNvPr>
          <p:cNvSpPr>
            <a:spLocks/>
          </p:cNvSpPr>
          <p:nvPr/>
        </p:nvSpPr>
        <p:spPr bwMode="auto">
          <a:xfrm>
            <a:off x="6593418" y="3611034"/>
            <a:ext cx="601133" cy="512233"/>
          </a:xfrm>
          <a:custGeom>
            <a:avLst/>
            <a:gdLst>
              <a:gd name="T0" fmla="*/ 2147483647 w 306"/>
              <a:gd name="T1" fmla="*/ 2147483647 h 258"/>
              <a:gd name="T2" fmla="*/ 2147483647 w 306"/>
              <a:gd name="T3" fmla="*/ 2147483647 h 258"/>
              <a:gd name="T4" fmla="*/ 2147483647 w 306"/>
              <a:gd name="T5" fmla="*/ 2147483647 h 258"/>
              <a:gd name="T6" fmla="*/ 2147483647 w 306"/>
              <a:gd name="T7" fmla="*/ 2147483647 h 258"/>
              <a:gd name="T8" fmla="*/ 2147483647 w 306"/>
              <a:gd name="T9" fmla="*/ 2147483647 h 258"/>
              <a:gd name="T10" fmla="*/ 2147483647 w 306"/>
              <a:gd name="T11" fmla="*/ 2147483647 h 258"/>
              <a:gd name="T12" fmla="*/ 2147483647 w 306"/>
              <a:gd name="T13" fmla="*/ 2147483647 h 258"/>
              <a:gd name="T14" fmla="*/ 2147483647 w 306"/>
              <a:gd name="T15" fmla="*/ 2147483647 h 258"/>
              <a:gd name="T16" fmla="*/ 2147483647 w 306"/>
              <a:gd name="T17" fmla="*/ 2147483647 h 258"/>
              <a:gd name="T18" fmla="*/ 2147483647 w 306"/>
              <a:gd name="T19" fmla="*/ 2147483647 h 258"/>
              <a:gd name="T20" fmla="*/ 2147483647 w 306"/>
              <a:gd name="T21" fmla="*/ 2147483647 h 258"/>
              <a:gd name="T22" fmla="*/ 2147483647 w 306"/>
              <a:gd name="T23" fmla="*/ 2147483647 h 258"/>
              <a:gd name="T24" fmla="*/ 2147483647 w 306"/>
              <a:gd name="T25" fmla="*/ 2147483647 h 258"/>
              <a:gd name="T26" fmla="*/ 2147483647 w 306"/>
              <a:gd name="T27" fmla="*/ 2147483647 h 258"/>
              <a:gd name="T28" fmla="*/ 2147483647 w 306"/>
              <a:gd name="T29" fmla="*/ 2147483647 h 258"/>
              <a:gd name="T30" fmla="*/ 2147483647 w 306"/>
              <a:gd name="T31" fmla="*/ 2147483647 h 258"/>
              <a:gd name="T32" fmla="*/ 2147483647 w 306"/>
              <a:gd name="T33" fmla="*/ 2147483647 h 258"/>
              <a:gd name="T34" fmla="*/ 2147483647 w 306"/>
              <a:gd name="T35" fmla="*/ 2147483647 h 258"/>
              <a:gd name="T36" fmla="*/ 2147483647 w 306"/>
              <a:gd name="T37" fmla="*/ 2147483647 h 258"/>
              <a:gd name="T38" fmla="*/ 2147483647 w 306"/>
              <a:gd name="T39" fmla="*/ 2147483647 h 258"/>
              <a:gd name="T40" fmla="*/ 2147483647 w 306"/>
              <a:gd name="T41" fmla="*/ 2147483647 h 258"/>
              <a:gd name="T42" fmla="*/ 2147483647 w 306"/>
              <a:gd name="T43" fmla="*/ 2147483647 h 258"/>
              <a:gd name="T44" fmla="*/ 2147483647 w 306"/>
              <a:gd name="T45" fmla="*/ 2147483647 h 258"/>
              <a:gd name="T46" fmla="*/ 2147483647 w 306"/>
              <a:gd name="T47" fmla="*/ 2147483647 h 258"/>
              <a:gd name="T48" fmla="*/ 2147483647 w 306"/>
              <a:gd name="T49" fmla="*/ 2147483647 h 258"/>
              <a:gd name="T50" fmla="*/ 2147483647 w 306"/>
              <a:gd name="T51" fmla="*/ 2147483647 h 258"/>
              <a:gd name="T52" fmla="*/ 2147483647 w 306"/>
              <a:gd name="T53" fmla="*/ 2147483647 h 258"/>
              <a:gd name="T54" fmla="*/ 2147483647 w 306"/>
              <a:gd name="T55" fmla="*/ 2147483647 h 258"/>
              <a:gd name="T56" fmla="*/ 0 w 306"/>
              <a:gd name="T57" fmla="*/ 2147483647 h 258"/>
              <a:gd name="T58" fmla="*/ 2147483647 w 306"/>
              <a:gd name="T59" fmla="*/ 2147483647 h 258"/>
              <a:gd name="T60" fmla="*/ 2147483647 w 306"/>
              <a:gd name="T61" fmla="*/ 2147483647 h 258"/>
              <a:gd name="T62" fmla="*/ 2147483647 w 306"/>
              <a:gd name="T63" fmla="*/ 2147483647 h 258"/>
              <a:gd name="T64" fmla="*/ 2147483647 w 306"/>
              <a:gd name="T65" fmla="*/ 0 h 258"/>
              <a:gd name="T66" fmla="*/ 2147483647 w 306"/>
              <a:gd name="T67" fmla="*/ 2147483647 h 258"/>
              <a:gd name="T68" fmla="*/ 2147483647 w 306"/>
              <a:gd name="T69" fmla="*/ 2147483647 h 258"/>
              <a:gd name="T70" fmla="*/ 2147483647 w 306"/>
              <a:gd name="T71" fmla="*/ 2147483647 h 25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06"/>
              <a:gd name="T109" fmla="*/ 0 h 258"/>
              <a:gd name="T110" fmla="*/ 306 w 306"/>
              <a:gd name="T111" fmla="*/ 258 h 258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06" h="258">
                <a:moveTo>
                  <a:pt x="76" y="24"/>
                </a:moveTo>
                <a:lnTo>
                  <a:pt x="80" y="38"/>
                </a:lnTo>
                <a:lnTo>
                  <a:pt x="100" y="48"/>
                </a:lnTo>
                <a:lnTo>
                  <a:pt x="112" y="56"/>
                </a:lnTo>
                <a:lnTo>
                  <a:pt x="142" y="56"/>
                </a:lnTo>
                <a:lnTo>
                  <a:pt x="156" y="48"/>
                </a:lnTo>
                <a:lnTo>
                  <a:pt x="178" y="32"/>
                </a:lnTo>
                <a:lnTo>
                  <a:pt x="204" y="28"/>
                </a:lnTo>
                <a:lnTo>
                  <a:pt x="226" y="36"/>
                </a:lnTo>
                <a:lnTo>
                  <a:pt x="256" y="52"/>
                </a:lnTo>
                <a:lnTo>
                  <a:pt x="272" y="56"/>
                </a:lnTo>
                <a:lnTo>
                  <a:pt x="274" y="78"/>
                </a:lnTo>
                <a:lnTo>
                  <a:pt x="264" y="98"/>
                </a:lnTo>
                <a:lnTo>
                  <a:pt x="262" y="126"/>
                </a:lnTo>
                <a:lnTo>
                  <a:pt x="268" y="150"/>
                </a:lnTo>
                <a:lnTo>
                  <a:pt x="282" y="150"/>
                </a:lnTo>
                <a:lnTo>
                  <a:pt x="280" y="162"/>
                </a:lnTo>
                <a:lnTo>
                  <a:pt x="266" y="176"/>
                </a:lnTo>
                <a:lnTo>
                  <a:pt x="272" y="186"/>
                </a:lnTo>
                <a:lnTo>
                  <a:pt x="286" y="202"/>
                </a:lnTo>
                <a:lnTo>
                  <a:pt x="298" y="212"/>
                </a:lnTo>
                <a:lnTo>
                  <a:pt x="298" y="224"/>
                </a:lnTo>
                <a:lnTo>
                  <a:pt x="306" y="224"/>
                </a:lnTo>
                <a:lnTo>
                  <a:pt x="306" y="232"/>
                </a:lnTo>
                <a:lnTo>
                  <a:pt x="292" y="234"/>
                </a:lnTo>
                <a:lnTo>
                  <a:pt x="278" y="242"/>
                </a:lnTo>
                <a:lnTo>
                  <a:pt x="278" y="258"/>
                </a:lnTo>
                <a:lnTo>
                  <a:pt x="236" y="254"/>
                </a:lnTo>
                <a:lnTo>
                  <a:pt x="208" y="246"/>
                </a:lnTo>
                <a:lnTo>
                  <a:pt x="206" y="230"/>
                </a:lnTo>
                <a:lnTo>
                  <a:pt x="196" y="222"/>
                </a:lnTo>
                <a:lnTo>
                  <a:pt x="188" y="224"/>
                </a:lnTo>
                <a:lnTo>
                  <a:pt x="178" y="232"/>
                </a:lnTo>
                <a:lnTo>
                  <a:pt x="164" y="234"/>
                </a:lnTo>
                <a:lnTo>
                  <a:pt x="138" y="224"/>
                </a:lnTo>
                <a:lnTo>
                  <a:pt x="118" y="206"/>
                </a:lnTo>
                <a:lnTo>
                  <a:pt x="104" y="188"/>
                </a:lnTo>
                <a:lnTo>
                  <a:pt x="98" y="176"/>
                </a:lnTo>
                <a:lnTo>
                  <a:pt x="80" y="172"/>
                </a:lnTo>
                <a:lnTo>
                  <a:pt x="70" y="176"/>
                </a:lnTo>
                <a:lnTo>
                  <a:pt x="60" y="172"/>
                </a:lnTo>
                <a:lnTo>
                  <a:pt x="62" y="166"/>
                </a:lnTo>
                <a:lnTo>
                  <a:pt x="56" y="154"/>
                </a:lnTo>
                <a:lnTo>
                  <a:pt x="60" y="140"/>
                </a:lnTo>
                <a:lnTo>
                  <a:pt x="48" y="130"/>
                </a:lnTo>
                <a:lnTo>
                  <a:pt x="38" y="126"/>
                </a:lnTo>
                <a:lnTo>
                  <a:pt x="20" y="104"/>
                </a:lnTo>
                <a:lnTo>
                  <a:pt x="26" y="90"/>
                </a:lnTo>
                <a:lnTo>
                  <a:pt x="32" y="86"/>
                </a:lnTo>
                <a:lnTo>
                  <a:pt x="30" y="78"/>
                </a:lnTo>
                <a:lnTo>
                  <a:pt x="34" y="72"/>
                </a:lnTo>
                <a:lnTo>
                  <a:pt x="26" y="70"/>
                </a:lnTo>
                <a:lnTo>
                  <a:pt x="16" y="54"/>
                </a:lnTo>
                <a:lnTo>
                  <a:pt x="10" y="44"/>
                </a:lnTo>
                <a:lnTo>
                  <a:pt x="6" y="34"/>
                </a:lnTo>
                <a:lnTo>
                  <a:pt x="4" y="24"/>
                </a:lnTo>
                <a:lnTo>
                  <a:pt x="2" y="16"/>
                </a:lnTo>
                <a:lnTo>
                  <a:pt x="0" y="8"/>
                </a:lnTo>
                <a:lnTo>
                  <a:pt x="2" y="4"/>
                </a:lnTo>
                <a:lnTo>
                  <a:pt x="10" y="2"/>
                </a:lnTo>
                <a:lnTo>
                  <a:pt x="24" y="14"/>
                </a:lnTo>
                <a:lnTo>
                  <a:pt x="32" y="18"/>
                </a:lnTo>
                <a:lnTo>
                  <a:pt x="34" y="12"/>
                </a:lnTo>
                <a:lnTo>
                  <a:pt x="42" y="14"/>
                </a:lnTo>
                <a:lnTo>
                  <a:pt x="48" y="10"/>
                </a:lnTo>
                <a:lnTo>
                  <a:pt x="60" y="0"/>
                </a:lnTo>
                <a:lnTo>
                  <a:pt x="64" y="2"/>
                </a:lnTo>
                <a:lnTo>
                  <a:pt x="64" y="10"/>
                </a:lnTo>
                <a:lnTo>
                  <a:pt x="68" y="16"/>
                </a:lnTo>
                <a:lnTo>
                  <a:pt x="62" y="18"/>
                </a:lnTo>
                <a:lnTo>
                  <a:pt x="68" y="24"/>
                </a:lnTo>
                <a:lnTo>
                  <a:pt x="76" y="24"/>
                </a:lnTo>
                <a:close/>
              </a:path>
            </a:pathLst>
          </a:custGeom>
          <a:solidFill>
            <a:schemeClr val="hlink">
              <a:alpha val="50195"/>
            </a:scheme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28" name="Freeform 208">
            <a:extLst>
              <a:ext uri="{FF2B5EF4-FFF2-40B4-BE49-F238E27FC236}">
                <a16:creationId xmlns:a16="http://schemas.microsoft.com/office/drawing/2014/main" id="{0E9D9936-9A40-3251-F85A-371F9BAD268D}"/>
              </a:ext>
            </a:extLst>
          </p:cNvPr>
          <p:cNvSpPr>
            <a:spLocks/>
          </p:cNvSpPr>
          <p:nvPr/>
        </p:nvSpPr>
        <p:spPr bwMode="auto">
          <a:xfrm>
            <a:off x="7105652" y="3659718"/>
            <a:ext cx="446617" cy="317500"/>
          </a:xfrm>
          <a:custGeom>
            <a:avLst/>
            <a:gdLst>
              <a:gd name="T0" fmla="*/ 2147483647 w 226"/>
              <a:gd name="T1" fmla="*/ 2147483647 h 162"/>
              <a:gd name="T2" fmla="*/ 2147483647 w 226"/>
              <a:gd name="T3" fmla="*/ 2147483647 h 162"/>
              <a:gd name="T4" fmla="*/ 2147483647 w 226"/>
              <a:gd name="T5" fmla="*/ 2147483647 h 162"/>
              <a:gd name="T6" fmla="*/ 2147483647 w 226"/>
              <a:gd name="T7" fmla="*/ 2147483647 h 162"/>
              <a:gd name="T8" fmla="*/ 2147483647 w 226"/>
              <a:gd name="T9" fmla="*/ 2147483647 h 162"/>
              <a:gd name="T10" fmla="*/ 2147483647 w 226"/>
              <a:gd name="T11" fmla="*/ 2147483647 h 162"/>
              <a:gd name="T12" fmla="*/ 2147483647 w 226"/>
              <a:gd name="T13" fmla="*/ 2147483647 h 162"/>
              <a:gd name="T14" fmla="*/ 2147483647 w 226"/>
              <a:gd name="T15" fmla="*/ 2147483647 h 162"/>
              <a:gd name="T16" fmla="*/ 2147483647 w 226"/>
              <a:gd name="T17" fmla="*/ 2147483647 h 162"/>
              <a:gd name="T18" fmla="*/ 2147483647 w 226"/>
              <a:gd name="T19" fmla="*/ 2147483647 h 162"/>
              <a:gd name="T20" fmla="*/ 2147483647 w 226"/>
              <a:gd name="T21" fmla="*/ 2147483647 h 162"/>
              <a:gd name="T22" fmla="*/ 2147483647 w 226"/>
              <a:gd name="T23" fmla="*/ 2147483647 h 162"/>
              <a:gd name="T24" fmla="*/ 2147483647 w 226"/>
              <a:gd name="T25" fmla="*/ 0 h 162"/>
              <a:gd name="T26" fmla="*/ 2147483647 w 226"/>
              <a:gd name="T27" fmla="*/ 2147483647 h 162"/>
              <a:gd name="T28" fmla="*/ 2147483647 w 226"/>
              <a:gd name="T29" fmla="*/ 2147483647 h 162"/>
              <a:gd name="T30" fmla="*/ 2147483647 w 226"/>
              <a:gd name="T31" fmla="*/ 2147483647 h 162"/>
              <a:gd name="T32" fmla="*/ 2147483647 w 226"/>
              <a:gd name="T33" fmla="*/ 2147483647 h 162"/>
              <a:gd name="T34" fmla="*/ 2147483647 w 226"/>
              <a:gd name="T35" fmla="*/ 2147483647 h 162"/>
              <a:gd name="T36" fmla="*/ 2147483647 w 226"/>
              <a:gd name="T37" fmla="*/ 2147483647 h 162"/>
              <a:gd name="T38" fmla="*/ 2147483647 w 226"/>
              <a:gd name="T39" fmla="*/ 2147483647 h 162"/>
              <a:gd name="T40" fmla="*/ 2147483647 w 226"/>
              <a:gd name="T41" fmla="*/ 2147483647 h 162"/>
              <a:gd name="T42" fmla="*/ 2147483647 w 226"/>
              <a:gd name="T43" fmla="*/ 2147483647 h 162"/>
              <a:gd name="T44" fmla="*/ 2147483647 w 226"/>
              <a:gd name="T45" fmla="*/ 2147483647 h 162"/>
              <a:gd name="T46" fmla="*/ 2147483647 w 226"/>
              <a:gd name="T47" fmla="*/ 2147483647 h 162"/>
              <a:gd name="T48" fmla="*/ 2147483647 w 226"/>
              <a:gd name="T49" fmla="*/ 2147483647 h 162"/>
              <a:gd name="T50" fmla="*/ 2147483647 w 226"/>
              <a:gd name="T51" fmla="*/ 2147483647 h 162"/>
              <a:gd name="T52" fmla="*/ 2147483647 w 226"/>
              <a:gd name="T53" fmla="*/ 2147483647 h 162"/>
              <a:gd name="T54" fmla="*/ 2147483647 w 226"/>
              <a:gd name="T55" fmla="*/ 2147483647 h 162"/>
              <a:gd name="T56" fmla="*/ 2147483647 w 226"/>
              <a:gd name="T57" fmla="*/ 2147483647 h 162"/>
              <a:gd name="T58" fmla="*/ 2147483647 w 226"/>
              <a:gd name="T59" fmla="*/ 2147483647 h 162"/>
              <a:gd name="T60" fmla="*/ 2147483647 w 226"/>
              <a:gd name="T61" fmla="*/ 2147483647 h 162"/>
              <a:gd name="T62" fmla="*/ 2147483647 w 226"/>
              <a:gd name="T63" fmla="*/ 2147483647 h 162"/>
              <a:gd name="T64" fmla="*/ 2147483647 w 226"/>
              <a:gd name="T65" fmla="*/ 2147483647 h 162"/>
              <a:gd name="T66" fmla="*/ 2147483647 w 226"/>
              <a:gd name="T67" fmla="*/ 2147483647 h 162"/>
              <a:gd name="T68" fmla="*/ 2147483647 w 226"/>
              <a:gd name="T69" fmla="*/ 2147483647 h 162"/>
              <a:gd name="T70" fmla="*/ 2147483647 w 226"/>
              <a:gd name="T71" fmla="*/ 2147483647 h 162"/>
              <a:gd name="T72" fmla="*/ 2147483647 w 226"/>
              <a:gd name="T73" fmla="*/ 2147483647 h 162"/>
              <a:gd name="T74" fmla="*/ 2147483647 w 226"/>
              <a:gd name="T75" fmla="*/ 2147483647 h 162"/>
              <a:gd name="T76" fmla="*/ 2147483647 w 226"/>
              <a:gd name="T77" fmla="*/ 2147483647 h 162"/>
              <a:gd name="T78" fmla="*/ 2147483647 w 226"/>
              <a:gd name="T79" fmla="*/ 2147483647 h 162"/>
              <a:gd name="T80" fmla="*/ 2147483647 w 226"/>
              <a:gd name="T81" fmla="*/ 2147483647 h 162"/>
              <a:gd name="T82" fmla="*/ 2147483647 w 226"/>
              <a:gd name="T83" fmla="*/ 2147483647 h 162"/>
              <a:gd name="T84" fmla="*/ 2147483647 w 226"/>
              <a:gd name="T85" fmla="*/ 2147483647 h 162"/>
              <a:gd name="T86" fmla="*/ 2147483647 w 226"/>
              <a:gd name="T87" fmla="*/ 2147483647 h 162"/>
              <a:gd name="T88" fmla="*/ 2147483647 w 226"/>
              <a:gd name="T89" fmla="*/ 2147483647 h 162"/>
              <a:gd name="T90" fmla="*/ 2147483647 w 226"/>
              <a:gd name="T91" fmla="*/ 2147483647 h 162"/>
              <a:gd name="T92" fmla="*/ 2147483647 w 226"/>
              <a:gd name="T93" fmla="*/ 2147483647 h 162"/>
              <a:gd name="T94" fmla="*/ 2147483647 w 226"/>
              <a:gd name="T95" fmla="*/ 2147483647 h 162"/>
              <a:gd name="T96" fmla="*/ 2147483647 w 226"/>
              <a:gd name="T97" fmla="*/ 2147483647 h 162"/>
              <a:gd name="T98" fmla="*/ 2147483647 w 226"/>
              <a:gd name="T99" fmla="*/ 2147483647 h 162"/>
              <a:gd name="T100" fmla="*/ 2147483647 w 226"/>
              <a:gd name="T101" fmla="*/ 2147483647 h 162"/>
              <a:gd name="T102" fmla="*/ 2147483647 w 226"/>
              <a:gd name="T103" fmla="*/ 2147483647 h 162"/>
              <a:gd name="T104" fmla="*/ 0 w 226"/>
              <a:gd name="T105" fmla="*/ 2147483647 h 162"/>
              <a:gd name="T106" fmla="*/ 2147483647 w 226"/>
              <a:gd name="T107" fmla="*/ 2147483647 h 162"/>
              <a:gd name="T108" fmla="*/ 2147483647 w 226"/>
              <a:gd name="T109" fmla="*/ 2147483647 h 162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26"/>
              <a:gd name="T166" fmla="*/ 0 h 162"/>
              <a:gd name="T167" fmla="*/ 226 w 226"/>
              <a:gd name="T168" fmla="*/ 162 h 162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26" h="162">
                <a:moveTo>
                  <a:pt x="12" y="56"/>
                </a:moveTo>
                <a:lnTo>
                  <a:pt x="24" y="56"/>
                </a:lnTo>
                <a:lnTo>
                  <a:pt x="34" y="60"/>
                </a:lnTo>
                <a:lnTo>
                  <a:pt x="44" y="48"/>
                </a:lnTo>
                <a:lnTo>
                  <a:pt x="56" y="44"/>
                </a:lnTo>
                <a:lnTo>
                  <a:pt x="68" y="26"/>
                </a:lnTo>
                <a:lnTo>
                  <a:pt x="84" y="20"/>
                </a:lnTo>
                <a:lnTo>
                  <a:pt x="96" y="20"/>
                </a:lnTo>
                <a:lnTo>
                  <a:pt x="116" y="26"/>
                </a:lnTo>
                <a:lnTo>
                  <a:pt x="126" y="30"/>
                </a:lnTo>
                <a:lnTo>
                  <a:pt x="146" y="18"/>
                </a:lnTo>
                <a:lnTo>
                  <a:pt x="154" y="16"/>
                </a:lnTo>
                <a:lnTo>
                  <a:pt x="164" y="0"/>
                </a:lnTo>
                <a:lnTo>
                  <a:pt x="172" y="6"/>
                </a:lnTo>
                <a:lnTo>
                  <a:pt x="174" y="18"/>
                </a:lnTo>
                <a:lnTo>
                  <a:pt x="172" y="26"/>
                </a:lnTo>
                <a:lnTo>
                  <a:pt x="172" y="32"/>
                </a:lnTo>
                <a:lnTo>
                  <a:pt x="182" y="30"/>
                </a:lnTo>
                <a:lnTo>
                  <a:pt x="190" y="26"/>
                </a:lnTo>
                <a:lnTo>
                  <a:pt x="198" y="20"/>
                </a:lnTo>
                <a:lnTo>
                  <a:pt x="226" y="20"/>
                </a:lnTo>
                <a:lnTo>
                  <a:pt x="226" y="28"/>
                </a:lnTo>
                <a:lnTo>
                  <a:pt x="214" y="30"/>
                </a:lnTo>
                <a:lnTo>
                  <a:pt x="198" y="30"/>
                </a:lnTo>
                <a:lnTo>
                  <a:pt x="190" y="30"/>
                </a:lnTo>
                <a:lnTo>
                  <a:pt x="186" y="32"/>
                </a:lnTo>
                <a:lnTo>
                  <a:pt x="174" y="40"/>
                </a:lnTo>
                <a:lnTo>
                  <a:pt x="168" y="46"/>
                </a:lnTo>
                <a:lnTo>
                  <a:pt x="172" y="52"/>
                </a:lnTo>
                <a:lnTo>
                  <a:pt x="174" y="58"/>
                </a:lnTo>
                <a:lnTo>
                  <a:pt x="172" y="68"/>
                </a:lnTo>
                <a:lnTo>
                  <a:pt x="168" y="78"/>
                </a:lnTo>
                <a:lnTo>
                  <a:pt x="152" y="84"/>
                </a:lnTo>
                <a:lnTo>
                  <a:pt x="148" y="96"/>
                </a:lnTo>
                <a:lnTo>
                  <a:pt x="142" y="100"/>
                </a:lnTo>
                <a:lnTo>
                  <a:pt x="138" y="110"/>
                </a:lnTo>
                <a:lnTo>
                  <a:pt x="138" y="124"/>
                </a:lnTo>
                <a:lnTo>
                  <a:pt x="114" y="124"/>
                </a:lnTo>
                <a:lnTo>
                  <a:pt x="110" y="132"/>
                </a:lnTo>
                <a:lnTo>
                  <a:pt x="94" y="132"/>
                </a:lnTo>
                <a:lnTo>
                  <a:pt x="90" y="138"/>
                </a:lnTo>
                <a:lnTo>
                  <a:pt x="88" y="156"/>
                </a:lnTo>
                <a:lnTo>
                  <a:pt x="78" y="158"/>
                </a:lnTo>
                <a:lnTo>
                  <a:pt x="42" y="162"/>
                </a:lnTo>
                <a:lnTo>
                  <a:pt x="24" y="162"/>
                </a:lnTo>
                <a:lnTo>
                  <a:pt x="18" y="156"/>
                </a:lnTo>
                <a:lnTo>
                  <a:pt x="8" y="160"/>
                </a:lnTo>
                <a:lnTo>
                  <a:pt x="4" y="154"/>
                </a:lnTo>
                <a:lnTo>
                  <a:pt x="18" y="140"/>
                </a:lnTo>
                <a:lnTo>
                  <a:pt x="20" y="128"/>
                </a:lnTo>
                <a:lnTo>
                  <a:pt x="6" y="128"/>
                </a:lnTo>
                <a:lnTo>
                  <a:pt x="4" y="114"/>
                </a:lnTo>
                <a:lnTo>
                  <a:pt x="0" y="104"/>
                </a:lnTo>
                <a:lnTo>
                  <a:pt x="2" y="76"/>
                </a:lnTo>
                <a:lnTo>
                  <a:pt x="12" y="5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29" name="Freeform 209">
            <a:extLst>
              <a:ext uri="{FF2B5EF4-FFF2-40B4-BE49-F238E27FC236}">
                <a16:creationId xmlns:a16="http://schemas.microsoft.com/office/drawing/2014/main" id="{4F523EFD-D464-B221-BF27-FC5501F783B2}"/>
              </a:ext>
            </a:extLst>
          </p:cNvPr>
          <p:cNvSpPr>
            <a:spLocks/>
          </p:cNvSpPr>
          <p:nvPr/>
        </p:nvSpPr>
        <p:spPr bwMode="auto">
          <a:xfrm>
            <a:off x="7126817" y="3716867"/>
            <a:ext cx="493184" cy="455084"/>
          </a:xfrm>
          <a:custGeom>
            <a:avLst/>
            <a:gdLst>
              <a:gd name="T0" fmla="*/ 2147483647 w 256"/>
              <a:gd name="T1" fmla="*/ 2147483647 h 232"/>
              <a:gd name="T2" fmla="*/ 2147483647 w 256"/>
              <a:gd name="T3" fmla="*/ 2147483647 h 232"/>
              <a:gd name="T4" fmla="*/ 2147483647 w 256"/>
              <a:gd name="T5" fmla="*/ 2147483647 h 232"/>
              <a:gd name="T6" fmla="*/ 2147483647 w 256"/>
              <a:gd name="T7" fmla="*/ 2147483647 h 232"/>
              <a:gd name="T8" fmla="*/ 2147483647 w 256"/>
              <a:gd name="T9" fmla="*/ 2147483647 h 232"/>
              <a:gd name="T10" fmla="*/ 2147483647 w 256"/>
              <a:gd name="T11" fmla="*/ 2147483647 h 232"/>
              <a:gd name="T12" fmla="*/ 2147483647 w 256"/>
              <a:gd name="T13" fmla="*/ 2147483647 h 232"/>
              <a:gd name="T14" fmla="*/ 2147483647 w 256"/>
              <a:gd name="T15" fmla="*/ 2147483647 h 232"/>
              <a:gd name="T16" fmla="*/ 2147483647 w 256"/>
              <a:gd name="T17" fmla="*/ 2147483647 h 232"/>
              <a:gd name="T18" fmla="*/ 2147483647 w 256"/>
              <a:gd name="T19" fmla="*/ 2147483647 h 232"/>
              <a:gd name="T20" fmla="*/ 2147483647 w 256"/>
              <a:gd name="T21" fmla="*/ 2147483647 h 232"/>
              <a:gd name="T22" fmla="*/ 2147483647 w 256"/>
              <a:gd name="T23" fmla="*/ 2147483647 h 232"/>
              <a:gd name="T24" fmla="*/ 2147483647 w 256"/>
              <a:gd name="T25" fmla="*/ 2147483647 h 232"/>
              <a:gd name="T26" fmla="*/ 2147483647 w 256"/>
              <a:gd name="T27" fmla="*/ 2147483647 h 232"/>
              <a:gd name="T28" fmla="*/ 2147483647 w 256"/>
              <a:gd name="T29" fmla="*/ 2147483647 h 232"/>
              <a:gd name="T30" fmla="*/ 2147483647 w 256"/>
              <a:gd name="T31" fmla="*/ 0 h 232"/>
              <a:gd name="T32" fmla="*/ 2147483647 w 256"/>
              <a:gd name="T33" fmla="*/ 2147483647 h 232"/>
              <a:gd name="T34" fmla="*/ 2147483647 w 256"/>
              <a:gd name="T35" fmla="*/ 2147483647 h 232"/>
              <a:gd name="T36" fmla="*/ 2147483647 w 256"/>
              <a:gd name="T37" fmla="*/ 2147483647 h 232"/>
              <a:gd name="T38" fmla="*/ 2147483647 w 256"/>
              <a:gd name="T39" fmla="*/ 2147483647 h 232"/>
              <a:gd name="T40" fmla="*/ 2147483647 w 256"/>
              <a:gd name="T41" fmla="*/ 2147483647 h 232"/>
              <a:gd name="T42" fmla="*/ 2147483647 w 256"/>
              <a:gd name="T43" fmla="*/ 2147483647 h 232"/>
              <a:gd name="T44" fmla="*/ 2147483647 w 256"/>
              <a:gd name="T45" fmla="*/ 2147483647 h 232"/>
              <a:gd name="T46" fmla="*/ 2147483647 w 256"/>
              <a:gd name="T47" fmla="*/ 2147483647 h 232"/>
              <a:gd name="T48" fmla="*/ 2147483647 w 256"/>
              <a:gd name="T49" fmla="*/ 2147483647 h 232"/>
              <a:gd name="T50" fmla="*/ 2147483647 w 256"/>
              <a:gd name="T51" fmla="*/ 2147483647 h 232"/>
              <a:gd name="T52" fmla="*/ 2147483647 w 256"/>
              <a:gd name="T53" fmla="*/ 2147483647 h 232"/>
              <a:gd name="T54" fmla="*/ 2147483647 w 256"/>
              <a:gd name="T55" fmla="*/ 2147483647 h 232"/>
              <a:gd name="T56" fmla="*/ 2147483647 w 256"/>
              <a:gd name="T57" fmla="*/ 2147483647 h 232"/>
              <a:gd name="T58" fmla="*/ 2147483647 w 256"/>
              <a:gd name="T59" fmla="*/ 2147483647 h 232"/>
              <a:gd name="T60" fmla="*/ 2147483647 w 256"/>
              <a:gd name="T61" fmla="*/ 2147483647 h 232"/>
              <a:gd name="T62" fmla="*/ 2147483647 w 256"/>
              <a:gd name="T63" fmla="*/ 2147483647 h 232"/>
              <a:gd name="T64" fmla="*/ 2147483647 w 256"/>
              <a:gd name="T65" fmla="*/ 2147483647 h 232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56"/>
              <a:gd name="T100" fmla="*/ 0 h 232"/>
              <a:gd name="T101" fmla="*/ 256 w 256"/>
              <a:gd name="T102" fmla="*/ 232 h 232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56" h="232">
                <a:moveTo>
                  <a:pt x="8" y="208"/>
                </a:moveTo>
                <a:lnTo>
                  <a:pt x="8" y="192"/>
                </a:lnTo>
                <a:lnTo>
                  <a:pt x="22" y="184"/>
                </a:lnTo>
                <a:lnTo>
                  <a:pt x="36" y="182"/>
                </a:lnTo>
                <a:lnTo>
                  <a:pt x="36" y="174"/>
                </a:lnTo>
                <a:lnTo>
                  <a:pt x="28" y="174"/>
                </a:lnTo>
                <a:lnTo>
                  <a:pt x="28" y="162"/>
                </a:lnTo>
                <a:lnTo>
                  <a:pt x="16" y="152"/>
                </a:lnTo>
                <a:lnTo>
                  <a:pt x="0" y="132"/>
                </a:lnTo>
                <a:lnTo>
                  <a:pt x="10" y="128"/>
                </a:lnTo>
                <a:lnTo>
                  <a:pt x="16" y="134"/>
                </a:lnTo>
                <a:lnTo>
                  <a:pt x="34" y="134"/>
                </a:lnTo>
                <a:lnTo>
                  <a:pt x="54" y="132"/>
                </a:lnTo>
                <a:lnTo>
                  <a:pt x="70" y="130"/>
                </a:lnTo>
                <a:lnTo>
                  <a:pt x="80" y="128"/>
                </a:lnTo>
                <a:lnTo>
                  <a:pt x="82" y="110"/>
                </a:lnTo>
                <a:lnTo>
                  <a:pt x="86" y="104"/>
                </a:lnTo>
                <a:lnTo>
                  <a:pt x="102" y="104"/>
                </a:lnTo>
                <a:lnTo>
                  <a:pt x="106" y="96"/>
                </a:lnTo>
                <a:lnTo>
                  <a:pt x="130" y="96"/>
                </a:lnTo>
                <a:lnTo>
                  <a:pt x="130" y="82"/>
                </a:lnTo>
                <a:lnTo>
                  <a:pt x="134" y="72"/>
                </a:lnTo>
                <a:lnTo>
                  <a:pt x="140" y="68"/>
                </a:lnTo>
                <a:lnTo>
                  <a:pt x="144" y="56"/>
                </a:lnTo>
                <a:lnTo>
                  <a:pt x="160" y="50"/>
                </a:lnTo>
                <a:lnTo>
                  <a:pt x="166" y="30"/>
                </a:lnTo>
                <a:lnTo>
                  <a:pt x="160" y="18"/>
                </a:lnTo>
                <a:lnTo>
                  <a:pt x="166" y="12"/>
                </a:lnTo>
                <a:lnTo>
                  <a:pt x="182" y="2"/>
                </a:lnTo>
                <a:lnTo>
                  <a:pt x="190" y="2"/>
                </a:lnTo>
                <a:lnTo>
                  <a:pt x="206" y="2"/>
                </a:lnTo>
                <a:lnTo>
                  <a:pt x="218" y="0"/>
                </a:lnTo>
                <a:lnTo>
                  <a:pt x="224" y="2"/>
                </a:lnTo>
                <a:lnTo>
                  <a:pt x="236" y="6"/>
                </a:lnTo>
                <a:lnTo>
                  <a:pt x="236" y="16"/>
                </a:lnTo>
                <a:lnTo>
                  <a:pt x="256" y="24"/>
                </a:lnTo>
                <a:lnTo>
                  <a:pt x="254" y="30"/>
                </a:lnTo>
                <a:lnTo>
                  <a:pt x="250" y="42"/>
                </a:lnTo>
                <a:lnTo>
                  <a:pt x="234" y="46"/>
                </a:lnTo>
                <a:lnTo>
                  <a:pt x="204" y="42"/>
                </a:lnTo>
                <a:lnTo>
                  <a:pt x="206" y="72"/>
                </a:lnTo>
                <a:lnTo>
                  <a:pt x="214" y="78"/>
                </a:lnTo>
                <a:lnTo>
                  <a:pt x="222" y="86"/>
                </a:lnTo>
                <a:lnTo>
                  <a:pt x="216" y="92"/>
                </a:lnTo>
                <a:lnTo>
                  <a:pt x="214" y="106"/>
                </a:lnTo>
                <a:lnTo>
                  <a:pt x="172" y="160"/>
                </a:lnTo>
                <a:lnTo>
                  <a:pt x="158" y="164"/>
                </a:lnTo>
                <a:lnTo>
                  <a:pt x="150" y="160"/>
                </a:lnTo>
                <a:lnTo>
                  <a:pt x="142" y="160"/>
                </a:lnTo>
                <a:lnTo>
                  <a:pt x="132" y="172"/>
                </a:lnTo>
                <a:lnTo>
                  <a:pt x="132" y="182"/>
                </a:lnTo>
                <a:lnTo>
                  <a:pt x="140" y="182"/>
                </a:lnTo>
                <a:lnTo>
                  <a:pt x="144" y="196"/>
                </a:lnTo>
                <a:lnTo>
                  <a:pt x="150" y="202"/>
                </a:lnTo>
                <a:lnTo>
                  <a:pt x="156" y="210"/>
                </a:lnTo>
                <a:lnTo>
                  <a:pt x="156" y="220"/>
                </a:lnTo>
                <a:lnTo>
                  <a:pt x="142" y="220"/>
                </a:lnTo>
                <a:lnTo>
                  <a:pt x="138" y="226"/>
                </a:lnTo>
                <a:lnTo>
                  <a:pt x="130" y="220"/>
                </a:lnTo>
                <a:lnTo>
                  <a:pt x="122" y="220"/>
                </a:lnTo>
                <a:lnTo>
                  <a:pt x="116" y="232"/>
                </a:lnTo>
                <a:lnTo>
                  <a:pt x="104" y="228"/>
                </a:lnTo>
                <a:lnTo>
                  <a:pt x="86" y="204"/>
                </a:lnTo>
                <a:lnTo>
                  <a:pt x="86" y="200"/>
                </a:lnTo>
                <a:lnTo>
                  <a:pt x="38" y="204"/>
                </a:lnTo>
                <a:lnTo>
                  <a:pt x="34" y="210"/>
                </a:lnTo>
                <a:lnTo>
                  <a:pt x="8" y="20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30" name="Freeform 210">
            <a:extLst>
              <a:ext uri="{FF2B5EF4-FFF2-40B4-BE49-F238E27FC236}">
                <a16:creationId xmlns:a16="http://schemas.microsoft.com/office/drawing/2014/main" id="{C4C263D5-B10B-3FA1-DD35-C46AEF1AB59E}"/>
              </a:ext>
            </a:extLst>
          </p:cNvPr>
          <p:cNvSpPr>
            <a:spLocks/>
          </p:cNvSpPr>
          <p:nvPr/>
        </p:nvSpPr>
        <p:spPr bwMode="auto">
          <a:xfrm>
            <a:off x="6303433" y="3843867"/>
            <a:ext cx="135467" cy="143933"/>
          </a:xfrm>
          <a:custGeom>
            <a:avLst/>
            <a:gdLst>
              <a:gd name="T0" fmla="*/ 2147483647 w 68"/>
              <a:gd name="T1" fmla="*/ 0 h 76"/>
              <a:gd name="T2" fmla="*/ 2147483647 w 68"/>
              <a:gd name="T3" fmla="*/ 2147483647 h 76"/>
              <a:gd name="T4" fmla="*/ 2147483647 w 68"/>
              <a:gd name="T5" fmla="*/ 2147483647 h 76"/>
              <a:gd name="T6" fmla="*/ 2147483647 w 68"/>
              <a:gd name="T7" fmla="*/ 2147483647 h 76"/>
              <a:gd name="T8" fmla="*/ 2147483647 w 68"/>
              <a:gd name="T9" fmla="*/ 2147483647 h 76"/>
              <a:gd name="T10" fmla="*/ 2147483647 w 68"/>
              <a:gd name="T11" fmla="*/ 2147483647 h 76"/>
              <a:gd name="T12" fmla="*/ 2147483647 w 68"/>
              <a:gd name="T13" fmla="*/ 2147483647 h 76"/>
              <a:gd name="T14" fmla="*/ 2147483647 w 68"/>
              <a:gd name="T15" fmla="*/ 2147483647 h 76"/>
              <a:gd name="T16" fmla="*/ 2147483647 w 68"/>
              <a:gd name="T17" fmla="*/ 2147483647 h 76"/>
              <a:gd name="T18" fmla="*/ 2147483647 w 68"/>
              <a:gd name="T19" fmla="*/ 2147483647 h 76"/>
              <a:gd name="T20" fmla="*/ 0 w 68"/>
              <a:gd name="T21" fmla="*/ 2147483647 h 76"/>
              <a:gd name="T22" fmla="*/ 2147483647 w 68"/>
              <a:gd name="T23" fmla="*/ 2147483647 h 76"/>
              <a:gd name="T24" fmla="*/ 2147483647 w 68"/>
              <a:gd name="T25" fmla="*/ 2147483647 h 76"/>
              <a:gd name="T26" fmla="*/ 2147483647 w 68"/>
              <a:gd name="T27" fmla="*/ 2147483647 h 76"/>
              <a:gd name="T28" fmla="*/ 2147483647 w 68"/>
              <a:gd name="T29" fmla="*/ 2147483647 h 76"/>
              <a:gd name="T30" fmla="*/ 2147483647 w 68"/>
              <a:gd name="T31" fmla="*/ 2147483647 h 76"/>
              <a:gd name="T32" fmla="*/ 2147483647 w 68"/>
              <a:gd name="T33" fmla="*/ 2147483647 h 76"/>
              <a:gd name="T34" fmla="*/ 2147483647 w 68"/>
              <a:gd name="T35" fmla="*/ 2147483647 h 76"/>
              <a:gd name="T36" fmla="*/ 2147483647 w 68"/>
              <a:gd name="T37" fmla="*/ 2147483647 h 76"/>
              <a:gd name="T38" fmla="*/ 2147483647 w 68"/>
              <a:gd name="T39" fmla="*/ 2147483647 h 76"/>
              <a:gd name="T40" fmla="*/ 2147483647 w 68"/>
              <a:gd name="T41" fmla="*/ 2147483647 h 76"/>
              <a:gd name="T42" fmla="*/ 2147483647 w 68"/>
              <a:gd name="T43" fmla="*/ 0 h 7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68"/>
              <a:gd name="T67" fmla="*/ 0 h 76"/>
              <a:gd name="T68" fmla="*/ 68 w 68"/>
              <a:gd name="T69" fmla="*/ 76 h 7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68" h="76">
                <a:moveTo>
                  <a:pt x="66" y="0"/>
                </a:moveTo>
                <a:lnTo>
                  <a:pt x="68" y="24"/>
                </a:lnTo>
                <a:lnTo>
                  <a:pt x="66" y="30"/>
                </a:lnTo>
                <a:lnTo>
                  <a:pt x="38" y="34"/>
                </a:lnTo>
                <a:lnTo>
                  <a:pt x="50" y="50"/>
                </a:lnTo>
                <a:lnTo>
                  <a:pt x="44" y="56"/>
                </a:lnTo>
                <a:lnTo>
                  <a:pt x="42" y="62"/>
                </a:lnTo>
                <a:lnTo>
                  <a:pt x="30" y="64"/>
                </a:lnTo>
                <a:lnTo>
                  <a:pt x="24" y="72"/>
                </a:lnTo>
                <a:lnTo>
                  <a:pt x="20" y="76"/>
                </a:lnTo>
                <a:lnTo>
                  <a:pt x="0" y="70"/>
                </a:lnTo>
                <a:lnTo>
                  <a:pt x="6" y="58"/>
                </a:lnTo>
                <a:lnTo>
                  <a:pt x="8" y="48"/>
                </a:lnTo>
                <a:lnTo>
                  <a:pt x="8" y="36"/>
                </a:lnTo>
                <a:lnTo>
                  <a:pt x="10" y="28"/>
                </a:lnTo>
                <a:lnTo>
                  <a:pt x="10" y="20"/>
                </a:lnTo>
                <a:lnTo>
                  <a:pt x="12" y="14"/>
                </a:lnTo>
                <a:lnTo>
                  <a:pt x="16" y="16"/>
                </a:lnTo>
                <a:lnTo>
                  <a:pt x="20" y="16"/>
                </a:lnTo>
                <a:lnTo>
                  <a:pt x="28" y="20"/>
                </a:lnTo>
                <a:lnTo>
                  <a:pt x="36" y="18"/>
                </a:lnTo>
                <a:lnTo>
                  <a:pt x="66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31" name="Freeform 211">
            <a:extLst>
              <a:ext uri="{FF2B5EF4-FFF2-40B4-BE49-F238E27FC236}">
                <a16:creationId xmlns:a16="http://schemas.microsoft.com/office/drawing/2014/main" id="{B3BBDB1E-11F4-0100-0881-E99811659988}"/>
              </a:ext>
            </a:extLst>
          </p:cNvPr>
          <p:cNvSpPr>
            <a:spLocks/>
          </p:cNvSpPr>
          <p:nvPr/>
        </p:nvSpPr>
        <p:spPr bwMode="auto">
          <a:xfrm>
            <a:off x="6303434" y="3881967"/>
            <a:ext cx="647700" cy="531284"/>
          </a:xfrm>
          <a:custGeom>
            <a:avLst/>
            <a:gdLst>
              <a:gd name="T0" fmla="*/ 0 w 330"/>
              <a:gd name="T1" fmla="*/ 2147483647 h 268"/>
              <a:gd name="T2" fmla="*/ 2147483647 w 330"/>
              <a:gd name="T3" fmla="*/ 2147483647 h 268"/>
              <a:gd name="T4" fmla="*/ 2147483647 w 330"/>
              <a:gd name="T5" fmla="*/ 2147483647 h 268"/>
              <a:gd name="T6" fmla="*/ 2147483647 w 330"/>
              <a:gd name="T7" fmla="*/ 2147483647 h 268"/>
              <a:gd name="T8" fmla="*/ 2147483647 w 330"/>
              <a:gd name="T9" fmla="*/ 2147483647 h 268"/>
              <a:gd name="T10" fmla="*/ 2147483647 w 330"/>
              <a:gd name="T11" fmla="*/ 2147483647 h 268"/>
              <a:gd name="T12" fmla="*/ 2147483647 w 330"/>
              <a:gd name="T13" fmla="*/ 2147483647 h 268"/>
              <a:gd name="T14" fmla="*/ 2147483647 w 330"/>
              <a:gd name="T15" fmla="*/ 2147483647 h 268"/>
              <a:gd name="T16" fmla="*/ 2147483647 w 330"/>
              <a:gd name="T17" fmla="*/ 2147483647 h 268"/>
              <a:gd name="T18" fmla="*/ 2147483647 w 330"/>
              <a:gd name="T19" fmla="*/ 2147483647 h 268"/>
              <a:gd name="T20" fmla="*/ 2147483647 w 330"/>
              <a:gd name="T21" fmla="*/ 0 h 268"/>
              <a:gd name="T22" fmla="*/ 2147483647 w 330"/>
              <a:gd name="T23" fmla="*/ 2147483647 h 268"/>
              <a:gd name="T24" fmla="*/ 2147483647 w 330"/>
              <a:gd name="T25" fmla="*/ 2147483647 h 268"/>
              <a:gd name="T26" fmla="*/ 2147483647 w 330"/>
              <a:gd name="T27" fmla="*/ 2147483647 h 268"/>
              <a:gd name="T28" fmla="*/ 2147483647 w 330"/>
              <a:gd name="T29" fmla="*/ 2147483647 h 268"/>
              <a:gd name="T30" fmla="*/ 2147483647 w 330"/>
              <a:gd name="T31" fmla="*/ 2147483647 h 268"/>
              <a:gd name="T32" fmla="*/ 2147483647 w 330"/>
              <a:gd name="T33" fmla="*/ 2147483647 h 268"/>
              <a:gd name="T34" fmla="*/ 2147483647 w 330"/>
              <a:gd name="T35" fmla="*/ 2147483647 h 268"/>
              <a:gd name="T36" fmla="*/ 2147483647 w 330"/>
              <a:gd name="T37" fmla="*/ 2147483647 h 268"/>
              <a:gd name="T38" fmla="*/ 2147483647 w 330"/>
              <a:gd name="T39" fmla="*/ 2147483647 h 268"/>
              <a:gd name="T40" fmla="*/ 2147483647 w 330"/>
              <a:gd name="T41" fmla="*/ 2147483647 h 268"/>
              <a:gd name="T42" fmla="*/ 2147483647 w 330"/>
              <a:gd name="T43" fmla="*/ 2147483647 h 268"/>
              <a:gd name="T44" fmla="*/ 2147483647 w 330"/>
              <a:gd name="T45" fmla="*/ 2147483647 h 268"/>
              <a:gd name="T46" fmla="*/ 2147483647 w 330"/>
              <a:gd name="T47" fmla="*/ 2147483647 h 268"/>
              <a:gd name="T48" fmla="*/ 2147483647 w 330"/>
              <a:gd name="T49" fmla="*/ 2147483647 h 268"/>
              <a:gd name="T50" fmla="*/ 2147483647 w 330"/>
              <a:gd name="T51" fmla="*/ 2147483647 h 268"/>
              <a:gd name="T52" fmla="*/ 2147483647 w 330"/>
              <a:gd name="T53" fmla="*/ 2147483647 h 268"/>
              <a:gd name="T54" fmla="*/ 2147483647 w 330"/>
              <a:gd name="T55" fmla="*/ 2147483647 h 268"/>
              <a:gd name="T56" fmla="*/ 2147483647 w 330"/>
              <a:gd name="T57" fmla="*/ 2147483647 h 268"/>
              <a:gd name="T58" fmla="*/ 2147483647 w 330"/>
              <a:gd name="T59" fmla="*/ 2147483647 h 268"/>
              <a:gd name="T60" fmla="*/ 2147483647 w 330"/>
              <a:gd name="T61" fmla="*/ 2147483647 h 268"/>
              <a:gd name="T62" fmla="*/ 2147483647 w 330"/>
              <a:gd name="T63" fmla="*/ 2147483647 h 268"/>
              <a:gd name="T64" fmla="*/ 2147483647 w 330"/>
              <a:gd name="T65" fmla="*/ 2147483647 h 268"/>
              <a:gd name="T66" fmla="*/ 2147483647 w 330"/>
              <a:gd name="T67" fmla="*/ 2147483647 h 268"/>
              <a:gd name="T68" fmla="*/ 2147483647 w 330"/>
              <a:gd name="T69" fmla="*/ 2147483647 h 268"/>
              <a:gd name="T70" fmla="*/ 2147483647 w 330"/>
              <a:gd name="T71" fmla="*/ 2147483647 h 268"/>
              <a:gd name="T72" fmla="*/ 2147483647 w 330"/>
              <a:gd name="T73" fmla="*/ 2147483647 h 268"/>
              <a:gd name="T74" fmla="*/ 2147483647 w 330"/>
              <a:gd name="T75" fmla="*/ 2147483647 h 268"/>
              <a:gd name="T76" fmla="*/ 2147483647 w 330"/>
              <a:gd name="T77" fmla="*/ 2147483647 h 268"/>
              <a:gd name="T78" fmla="*/ 2147483647 w 330"/>
              <a:gd name="T79" fmla="*/ 2147483647 h 268"/>
              <a:gd name="T80" fmla="*/ 2147483647 w 330"/>
              <a:gd name="T81" fmla="*/ 2147483647 h 268"/>
              <a:gd name="T82" fmla="*/ 2147483647 w 330"/>
              <a:gd name="T83" fmla="*/ 2147483647 h 268"/>
              <a:gd name="T84" fmla="*/ 2147483647 w 330"/>
              <a:gd name="T85" fmla="*/ 2147483647 h 268"/>
              <a:gd name="T86" fmla="*/ 2147483647 w 330"/>
              <a:gd name="T87" fmla="*/ 2147483647 h 268"/>
              <a:gd name="T88" fmla="*/ 2147483647 w 330"/>
              <a:gd name="T89" fmla="*/ 2147483647 h 268"/>
              <a:gd name="T90" fmla="*/ 2147483647 w 330"/>
              <a:gd name="T91" fmla="*/ 2147483647 h 268"/>
              <a:gd name="T92" fmla="*/ 2147483647 w 330"/>
              <a:gd name="T93" fmla="*/ 2147483647 h 268"/>
              <a:gd name="T94" fmla="*/ 2147483647 w 330"/>
              <a:gd name="T95" fmla="*/ 2147483647 h 268"/>
              <a:gd name="T96" fmla="*/ 2147483647 w 330"/>
              <a:gd name="T97" fmla="*/ 2147483647 h 268"/>
              <a:gd name="T98" fmla="*/ 2147483647 w 330"/>
              <a:gd name="T99" fmla="*/ 2147483647 h 268"/>
              <a:gd name="T100" fmla="*/ 2147483647 w 330"/>
              <a:gd name="T101" fmla="*/ 2147483647 h 268"/>
              <a:gd name="T102" fmla="*/ 2147483647 w 330"/>
              <a:gd name="T103" fmla="*/ 2147483647 h 268"/>
              <a:gd name="T104" fmla="*/ 2147483647 w 330"/>
              <a:gd name="T105" fmla="*/ 2147483647 h 268"/>
              <a:gd name="T106" fmla="*/ 2147483647 w 330"/>
              <a:gd name="T107" fmla="*/ 2147483647 h 268"/>
              <a:gd name="T108" fmla="*/ 2147483647 w 330"/>
              <a:gd name="T109" fmla="*/ 2147483647 h 268"/>
              <a:gd name="T110" fmla="*/ 2147483647 w 330"/>
              <a:gd name="T111" fmla="*/ 2147483647 h 268"/>
              <a:gd name="T112" fmla="*/ 2147483647 w 330"/>
              <a:gd name="T113" fmla="*/ 2147483647 h 268"/>
              <a:gd name="T114" fmla="*/ 2147483647 w 330"/>
              <a:gd name="T115" fmla="*/ 2147483647 h 268"/>
              <a:gd name="T116" fmla="*/ 2147483647 w 330"/>
              <a:gd name="T117" fmla="*/ 2147483647 h 268"/>
              <a:gd name="T118" fmla="*/ 0 w 330"/>
              <a:gd name="T119" fmla="*/ 2147483647 h 26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30"/>
              <a:gd name="T181" fmla="*/ 0 h 268"/>
              <a:gd name="T182" fmla="*/ 330 w 330"/>
              <a:gd name="T183" fmla="*/ 268 h 26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30" h="268">
                <a:moveTo>
                  <a:pt x="0" y="68"/>
                </a:moveTo>
                <a:lnTo>
                  <a:pt x="4" y="46"/>
                </a:lnTo>
                <a:lnTo>
                  <a:pt x="22" y="52"/>
                </a:lnTo>
                <a:lnTo>
                  <a:pt x="26" y="48"/>
                </a:lnTo>
                <a:lnTo>
                  <a:pt x="32" y="40"/>
                </a:lnTo>
                <a:lnTo>
                  <a:pt x="44" y="38"/>
                </a:lnTo>
                <a:lnTo>
                  <a:pt x="46" y="32"/>
                </a:lnTo>
                <a:lnTo>
                  <a:pt x="52" y="26"/>
                </a:lnTo>
                <a:lnTo>
                  <a:pt x="40" y="10"/>
                </a:lnTo>
                <a:lnTo>
                  <a:pt x="68" y="6"/>
                </a:lnTo>
                <a:lnTo>
                  <a:pt x="70" y="0"/>
                </a:lnTo>
                <a:lnTo>
                  <a:pt x="90" y="4"/>
                </a:lnTo>
                <a:lnTo>
                  <a:pt x="126" y="24"/>
                </a:lnTo>
                <a:lnTo>
                  <a:pt x="134" y="36"/>
                </a:lnTo>
                <a:lnTo>
                  <a:pt x="136" y="40"/>
                </a:lnTo>
                <a:lnTo>
                  <a:pt x="144" y="42"/>
                </a:lnTo>
                <a:lnTo>
                  <a:pt x="158" y="52"/>
                </a:lnTo>
                <a:lnTo>
                  <a:pt x="174" y="52"/>
                </a:lnTo>
                <a:lnTo>
                  <a:pt x="190" y="52"/>
                </a:lnTo>
                <a:lnTo>
                  <a:pt x="200" y="54"/>
                </a:lnTo>
                <a:lnTo>
                  <a:pt x="208" y="62"/>
                </a:lnTo>
                <a:lnTo>
                  <a:pt x="216" y="62"/>
                </a:lnTo>
                <a:lnTo>
                  <a:pt x="226" y="82"/>
                </a:lnTo>
                <a:lnTo>
                  <a:pt x="234" y="88"/>
                </a:lnTo>
                <a:lnTo>
                  <a:pt x="242" y="96"/>
                </a:lnTo>
                <a:lnTo>
                  <a:pt x="244" y="110"/>
                </a:lnTo>
                <a:lnTo>
                  <a:pt x="248" y="118"/>
                </a:lnTo>
                <a:lnTo>
                  <a:pt x="256" y="128"/>
                </a:lnTo>
                <a:lnTo>
                  <a:pt x="260" y="132"/>
                </a:lnTo>
                <a:lnTo>
                  <a:pt x="282" y="158"/>
                </a:lnTo>
                <a:lnTo>
                  <a:pt x="290" y="160"/>
                </a:lnTo>
                <a:lnTo>
                  <a:pt x="302" y="164"/>
                </a:lnTo>
                <a:lnTo>
                  <a:pt x="308" y="166"/>
                </a:lnTo>
                <a:lnTo>
                  <a:pt x="326" y="164"/>
                </a:lnTo>
                <a:lnTo>
                  <a:pt x="330" y="172"/>
                </a:lnTo>
                <a:lnTo>
                  <a:pt x="330" y="186"/>
                </a:lnTo>
                <a:lnTo>
                  <a:pt x="322" y="204"/>
                </a:lnTo>
                <a:lnTo>
                  <a:pt x="306" y="208"/>
                </a:lnTo>
                <a:lnTo>
                  <a:pt x="290" y="216"/>
                </a:lnTo>
                <a:lnTo>
                  <a:pt x="274" y="226"/>
                </a:lnTo>
                <a:lnTo>
                  <a:pt x="258" y="224"/>
                </a:lnTo>
                <a:lnTo>
                  <a:pt x="226" y="230"/>
                </a:lnTo>
                <a:lnTo>
                  <a:pt x="200" y="254"/>
                </a:lnTo>
                <a:lnTo>
                  <a:pt x="170" y="248"/>
                </a:lnTo>
                <a:lnTo>
                  <a:pt x="136" y="250"/>
                </a:lnTo>
                <a:lnTo>
                  <a:pt x="128" y="268"/>
                </a:lnTo>
                <a:lnTo>
                  <a:pt x="120" y="250"/>
                </a:lnTo>
                <a:lnTo>
                  <a:pt x="106" y="232"/>
                </a:lnTo>
                <a:lnTo>
                  <a:pt x="96" y="212"/>
                </a:lnTo>
                <a:lnTo>
                  <a:pt x="88" y="202"/>
                </a:lnTo>
                <a:lnTo>
                  <a:pt x="76" y="200"/>
                </a:lnTo>
                <a:lnTo>
                  <a:pt x="68" y="184"/>
                </a:lnTo>
                <a:lnTo>
                  <a:pt x="68" y="160"/>
                </a:lnTo>
                <a:lnTo>
                  <a:pt x="56" y="142"/>
                </a:lnTo>
                <a:lnTo>
                  <a:pt x="42" y="136"/>
                </a:lnTo>
                <a:lnTo>
                  <a:pt x="38" y="126"/>
                </a:lnTo>
                <a:lnTo>
                  <a:pt x="38" y="114"/>
                </a:lnTo>
                <a:lnTo>
                  <a:pt x="18" y="90"/>
                </a:lnTo>
                <a:lnTo>
                  <a:pt x="8" y="70"/>
                </a:lnTo>
                <a:lnTo>
                  <a:pt x="0" y="6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32" name="Freeform 212">
            <a:extLst>
              <a:ext uri="{FF2B5EF4-FFF2-40B4-BE49-F238E27FC236}">
                <a16:creationId xmlns:a16="http://schemas.microsoft.com/office/drawing/2014/main" id="{6C7CFE81-D40A-480C-170A-32C8F0792AC9}"/>
              </a:ext>
            </a:extLst>
          </p:cNvPr>
          <p:cNvSpPr>
            <a:spLocks/>
          </p:cNvSpPr>
          <p:nvPr/>
        </p:nvSpPr>
        <p:spPr bwMode="auto">
          <a:xfrm>
            <a:off x="6303434" y="3873501"/>
            <a:ext cx="21167" cy="38100"/>
          </a:xfrm>
          <a:custGeom>
            <a:avLst/>
            <a:gdLst>
              <a:gd name="T0" fmla="*/ 2147483647 w 8"/>
              <a:gd name="T1" fmla="*/ 0 h 16"/>
              <a:gd name="T2" fmla="*/ 2147483647 w 8"/>
              <a:gd name="T3" fmla="*/ 0 h 16"/>
              <a:gd name="T4" fmla="*/ 0 w 8"/>
              <a:gd name="T5" fmla="*/ 2147483647 h 16"/>
              <a:gd name="T6" fmla="*/ 0 w 8"/>
              <a:gd name="T7" fmla="*/ 2147483647 h 16"/>
              <a:gd name="T8" fmla="*/ 2147483647 w 8"/>
              <a:gd name="T9" fmla="*/ 2147483647 h 16"/>
              <a:gd name="T10" fmla="*/ 2147483647 w 8"/>
              <a:gd name="T11" fmla="*/ 2147483647 h 16"/>
              <a:gd name="T12" fmla="*/ 2147483647 w 8"/>
              <a:gd name="T13" fmla="*/ 2147483647 h 16"/>
              <a:gd name="T14" fmla="*/ 2147483647 w 8"/>
              <a:gd name="T15" fmla="*/ 2147483647 h 16"/>
              <a:gd name="T16" fmla="*/ 2147483647 w 8"/>
              <a:gd name="T17" fmla="*/ 0 h 1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8"/>
              <a:gd name="T28" fmla="*/ 0 h 16"/>
              <a:gd name="T29" fmla="*/ 8 w 8"/>
              <a:gd name="T30" fmla="*/ 16 h 1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8" h="16">
                <a:moveTo>
                  <a:pt x="8" y="0"/>
                </a:moveTo>
                <a:lnTo>
                  <a:pt x="2" y="0"/>
                </a:lnTo>
                <a:lnTo>
                  <a:pt x="0" y="4"/>
                </a:lnTo>
                <a:lnTo>
                  <a:pt x="0" y="10"/>
                </a:lnTo>
                <a:lnTo>
                  <a:pt x="2" y="16"/>
                </a:lnTo>
                <a:lnTo>
                  <a:pt x="6" y="16"/>
                </a:lnTo>
                <a:lnTo>
                  <a:pt x="8" y="8"/>
                </a:lnTo>
                <a:lnTo>
                  <a:pt x="8" y="2"/>
                </a:lnTo>
                <a:lnTo>
                  <a:pt x="8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33" name="Freeform 213">
            <a:extLst>
              <a:ext uri="{FF2B5EF4-FFF2-40B4-BE49-F238E27FC236}">
                <a16:creationId xmlns:a16="http://schemas.microsoft.com/office/drawing/2014/main" id="{3D160AB8-D682-507F-5D84-62AE91CB7CBD}"/>
              </a:ext>
            </a:extLst>
          </p:cNvPr>
          <p:cNvSpPr>
            <a:spLocks/>
          </p:cNvSpPr>
          <p:nvPr/>
        </p:nvSpPr>
        <p:spPr bwMode="auto">
          <a:xfrm>
            <a:off x="6807200" y="4093634"/>
            <a:ext cx="16933" cy="48684"/>
          </a:xfrm>
          <a:custGeom>
            <a:avLst/>
            <a:gdLst>
              <a:gd name="T0" fmla="*/ 0 w 10"/>
              <a:gd name="T1" fmla="*/ 2147483647 h 26"/>
              <a:gd name="T2" fmla="*/ 0 w 10"/>
              <a:gd name="T3" fmla="*/ 2147483647 h 26"/>
              <a:gd name="T4" fmla="*/ 2147483647 w 10"/>
              <a:gd name="T5" fmla="*/ 0 h 26"/>
              <a:gd name="T6" fmla="*/ 2147483647 w 10"/>
              <a:gd name="T7" fmla="*/ 0 h 26"/>
              <a:gd name="T8" fmla="*/ 2147483647 w 10"/>
              <a:gd name="T9" fmla="*/ 2147483647 h 26"/>
              <a:gd name="T10" fmla="*/ 2147483647 w 10"/>
              <a:gd name="T11" fmla="*/ 2147483647 h 26"/>
              <a:gd name="T12" fmla="*/ 2147483647 w 10"/>
              <a:gd name="T13" fmla="*/ 2147483647 h 26"/>
              <a:gd name="T14" fmla="*/ 2147483647 w 10"/>
              <a:gd name="T15" fmla="*/ 2147483647 h 26"/>
              <a:gd name="T16" fmla="*/ 0 w 10"/>
              <a:gd name="T17" fmla="*/ 2147483647 h 2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"/>
              <a:gd name="T28" fmla="*/ 0 h 26"/>
              <a:gd name="T29" fmla="*/ 10 w 10"/>
              <a:gd name="T30" fmla="*/ 26 h 2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" h="26">
                <a:moveTo>
                  <a:pt x="0" y="22"/>
                </a:moveTo>
                <a:lnTo>
                  <a:pt x="0" y="10"/>
                </a:lnTo>
                <a:lnTo>
                  <a:pt x="4" y="0"/>
                </a:lnTo>
                <a:lnTo>
                  <a:pt x="8" y="0"/>
                </a:lnTo>
                <a:lnTo>
                  <a:pt x="10" y="8"/>
                </a:lnTo>
                <a:lnTo>
                  <a:pt x="10" y="14"/>
                </a:lnTo>
                <a:lnTo>
                  <a:pt x="8" y="22"/>
                </a:lnTo>
                <a:lnTo>
                  <a:pt x="4" y="26"/>
                </a:lnTo>
                <a:lnTo>
                  <a:pt x="0" y="2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34" name="Freeform 214">
            <a:extLst>
              <a:ext uri="{FF2B5EF4-FFF2-40B4-BE49-F238E27FC236}">
                <a16:creationId xmlns:a16="http://schemas.microsoft.com/office/drawing/2014/main" id="{E4967F3D-E5B1-297F-1BBC-44539D4A9BC5}"/>
              </a:ext>
            </a:extLst>
          </p:cNvPr>
          <p:cNvSpPr>
            <a:spLocks/>
          </p:cNvSpPr>
          <p:nvPr/>
        </p:nvSpPr>
        <p:spPr bwMode="auto">
          <a:xfrm>
            <a:off x="6788151" y="4074585"/>
            <a:ext cx="19051" cy="29633"/>
          </a:xfrm>
          <a:custGeom>
            <a:avLst/>
            <a:gdLst>
              <a:gd name="T0" fmla="*/ 0 w 8"/>
              <a:gd name="T1" fmla="*/ 0 h 12"/>
              <a:gd name="T2" fmla="*/ 2147483647 w 8"/>
              <a:gd name="T3" fmla="*/ 2147483647 h 12"/>
              <a:gd name="T4" fmla="*/ 2147483647 w 8"/>
              <a:gd name="T5" fmla="*/ 2147483647 h 12"/>
              <a:gd name="T6" fmla="*/ 0 w 8"/>
              <a:gd name="T7" fmla="*/ 0 h 12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12"/>
              <a:gd name="T14" fmla="*/ 8 w 8"/>
              <a:gd name="T15" fmla="*/ 12 h 1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12">
                <a:moveTo>
                  <a:pt x="0" y="0"/>
                </a:moveTo>
                <a:lnTo>
                  <a:pt x="8" y="2"/>
                </a:lnTo>
                <a:lnTo>
                  <a:pt x="4" y="12"/>
                </a:lnTo>
                <a:lnTo>
                  <a:pt x="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35" name="Freeform 215">
            <a:extLst>
              <a:ext uri="{FF2B5EF4-FFF2-40B4-BE49-F238E27FC236}">
                <a16:creationId xmlns:a16="http://schemas.microsoft.com/office/drawing/2014/main" id="{FE10E637-EC5D-2A58-9ECE-C87463597EC2}"/>
              </a:ext>
            </a:extLst>
          </p:cNvPr>
          <p:cNvSpPr>
            <a:spLocks/>
          </p:cNvSpPr>
          <p:nvPr/>
        </p:nvSpPr>
        <p:spPr bwMode="auto">
          <a:xfrm>
            <a:off x="8411632" y="4461933"/>
            <a:ext cx="154517" cy="135467"/>
          </a:xfrm>
          <a:custGeom>
            <a:avLst/>
            <a:gdLst>
              <a:gd name="T0" fmla="*/ 2147483647 w 80"/>
              <a:gd name="T1" fmla="*/ 2147483647 h 68"/>
              <a:gd name="T2" fmla="*/ 2147483647 w 80"/>
              <a:gd name="T3" fmla="*/ 2147483647 h 68"/>
              <a:gd name="T4" fmla="*/ 2147483647 w 80"/>
              <a:gd name="T5" fmla="*/ 2147483647 h 68"/>
              <a:gd name="T6" fmla="*/ 2147483647 w 80"/>
              <a:gd name="T7" fmla="*/ 2147483647 h 68"/>
              <a:gd name="T8" fmla="*/ 2147483647 w 80"/>
              <a:gd name="T9" fmla="*/ 2147483647 h 68"/>
              <a:gd name="T10" fmla="*/ 2147483647 w 80"/>
              <a:gd name="T11" fmla="*/ 2147483647 h 68"/>
              <a:gd name="T12" fmla="*/ 0 w 80"/>
              <a:gd name="T13" fmla="*/ 2147483647 h 68"/>
              <a:gd name="T14" fmla="*/ 0 w 80"/>
              <a:gd name="T15" fmla="*/ 2147483647 h 68"/>
              <a:gd name="T16" fmla="*/ 2147483647 w 80"/>
              <a:gd name="T17" fmla="*/ 2147483647 h 68"/>
              <a:gd name="T18" fmla="*/ 2147483647 w 80"/>
              <a:gd name="T19" fmla="*/ 2147483647 h 68"/>
              <a:gd name="T20" fmla="*/ 2147483647 w 80"/>
              <a:gd name="T21" fmla="*/ 2147483647 h 68"/>
              <a:gd name="T22" fmla="*/ 2147483647 w 80"/>
              <a:gd name="T23" fmla="*/ 2147483647 h 68"/>
              <a:gd name="T24" fmla="*/ 2147483647 w 80"/>
              <a:gd name="T25" fmla="*/ 0 h 68"/>
              <a:gd name="T26" fmla="*/ 2147483647 w 80"/>
              <a:gd name="T27" fmla="*/ 2147483647 h 68"/>
              <a:gd name="T28" fmla="*/ 2147483647 w 80"/>
              <a:gd name="T29" fmla="*/ 2147483647 h 68"/>
              <a:gd name="T30" fmla="*/ 2147483647 w 80"/>
              <a:gd name="T31" fmla="*/ 2147483647 h 68"/>
              <a:gd name="T32" fmla="*/ 2147483647 w 80"/>
              <a:gd name="T33" fmla="*/ 2147483647 h 68"/>
              <a:gd name="T34" fmla="*/ 2147483647 w 80"/>
              <a:gd name="T35" fmla="*/ 2147483647 h 68"/>
              <a:gd name="T36" fmla="*/ 2147483647 w 80"/>
              <a:gd name="T37" fmla="*/ 2147483647 h 68"/>
              <a:gd name="T38" fmla="*/ 2147483647 w 80"/>
              <a:gd name="T39" fmla="*/ 2147483647 h 68"/>
              <a:gd name="T40" fmla="*/ 2147483647 w 80"/>
              <a:gd name="T41" fmla="*/ 2147483647 h 68"/>
              <a:gd name="T42" fmla="*/ 2147483647 w 80"/>
              <a:gd name="T43" fmla="*/ 2147483647 h 68"/>
              <a:gd name="T44" fmla="*/ 2147483647 w 80"/>
              <a:gd name="T45" fmla="*/ 2147483647 h 68"/>
              <a:gd name="T46" fmla="*/ 2147483647 w 80"/>
              <a:gd name="T47" fmla="*/ 2147483647 h 68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80"/>
              <a:gd name="T73" fmla="*/ 0 h 68"/>
              <a:gd name="T74" fmla="*/ 80 w 80"/>
              <a:gd name="T75" fmla="*/ 68 h 68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80" h="68">
                <a:moveTo>
                  <a:pt x="40" y="66"/>
                </a:moveTo>
                <a:lnTo>
                  <a:pt x="34" y="66"/>
                </a:lnTo>
                <a:lnTo>
                  <a:pt x="32" y="68"/>
                </a:lnTo>
                <a:lnTo>
                  <a:pt x="18" y="64"/>
                </a:lnTo>
                <a:lnTo>
                  <a:pt x="12" y="54"/>
                </a:lnTo>
                <a:lnTo>
                  <a:pt x="8" y="44"/>
                </a:lnTo>
                <a:lnTo>
                  <a:pt x="0" y="24"/>
                </a:lnTo>
                <a:lnTo>
                  <a:pt x="0" y="18"/>
                </a:lnTo>
                <a:lnTo>
                  <a:pt x="8" y="4"/>
                </a:lnTo>
                <a:lnTo>
                  <a:pt x="48" y="2"/>
                </a:lnTo>
                <a:lnTo>
                  <a:pt x="48" y="8"/>
                </a:lnTo>
                <a:lnTo>
                  <a:pt x="58" y="8"/>
                </a:lnTo>
                <a:lnTo>
                  <a:pt x="62" y="0"/>
                </a:lnTo>
                <a:lnTo>
                  <a:pt x="66" y="2"/>
                </a:lnTo>
                <a:lnTo>
                  <a:pt x="68" y="6"/>
                </a:lnTo>
                <a:lnTo>
                  <a:pt x="80" y="6"/>
                </a:lnTo>
                <a:lnTo>
                  <a:pt x="80" y="16"/>
                </a:lnTo>
                <a:lnTo>
                  <a:pt x="76" y="26"/>
                </a:lnTo>
                <a:lnTo>
                  <a:pt x="70" y="38"/>
                </a:lnTo>
                <a:lnTo>
                  <a:pt x="64" y="46"/>
                </a:lnTo>
                <a:lnTo>
                  <a:pt x="54" y="50"/>
                </a:lnTo>
                <a:lnTo>
                  <a:pt x="54" y="58"/>
                </a:lnTo>
                <a:lnTo>
                  <a:pt x="44" y="62"/>
                </a:lnTo>
                <a:lnTo>
                  <a:pt x="40" y="6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36" name="Freeform 216">
            <a:extLst>
              <a:ext uri="{FF2B5EF4-FFF2-40B4-BE49-F238E27FC236}">
                <a16:creationId xmlns:a16="http://schemas.microsoft.com/office/drawing/2014/main" id="{6A7D088D-9993-85E1-5E78-89F234EAA853}"/>
              </a:ext>
            </a:extLst>
          </p:cNvPr>
          <p:cNvSpPr>
            <a:spLocks/>
          </p:cNvSpPr>
          <p:nvPr/>
        </p:nvSpPr>
        <p:spPr bwMode="auto">
          <a:xfrm>
            <a:off x="8403167" y="4191001"/>
            <a:ext cx="220133" cy="455084"/>
          </a:xfrm>
          <a:custGeom>
            <a:avLst/>
            <a:gdLst>
              <a:gd name="T0" fmla="*/ 2147483647 w 112"/>
              <a:gd name="T1" fmla="*/ 2147483647 h 234"/>
              <a:gd name="T2" fmla="*/ 2147483647 w 112"/>
              <a:gd name="T3" fmla="*/ 2147483647 h 234"/>
              <a:gd name="T4" fmla="*/ 2147483647 w 112"/>
              <a:gd name="T5" fmla="*/ 2147483647 h 234"/>
              <a:gd name="T6" fmla="*/ 2147483647 w 112"/>
              <a:gd name="T7" fmla="*/ 2147483647 h 234"/>
              <a:gd name="T8" fmla="*/ 2147483647 w 112"/>
              <a:gd name="T9" fmla="*/ 2147483647 h 234"/>
              <a:gd name="T10" fmla="*/ 2147483647 w 112"/>
              <a:gd name="T11" fmla="*/ 2147483647 h 234"/>
              <a:gd name="T12" fmla="*/ 2147483647 w 112"/>
              <a:gd name="T13" fmla="*/ 2147483647 h 234"/>
              <a:gd name="T14" fmla="*/ 2147483647 w 112"/>
              <a:gd name="T15" fmla="*/ 2147483647 h 234"/>
              <a:gd name="T16" fmla="*/ 2147483647 w 112"/>
              <a:gd name="T17" fmla="*/ 2147483647 h 234"/>
              <a:gd name="T18" fmla="*/ 2147483647 w 112"/>
              <a:gd name="T19" fmla="*/ 2147483647 h 234"/>
              <a:gd name="T20" fmla="*/ 2147483647 w 112"/>
              <a:gd name="T21" fmla="*/ 2147483647 h 234"/>
              <a:gd name="T22" fmla="*/ 2147483647 w 112"/>
              <a:gd name="T23" fmla="*/ 2147483647 h 234"/>
              <a:gd name="T24" fmla="*/ 2147483647 w 112"/>
              <a:gd name="T25" fmla="*/ 2147483647 h 234"/>
              <a:gd name="T26" fmla="*/ 2147483647 w 112"/>
              <a:gd name="T27" fmla="*/ 2147483647 h 234"/>
              <a:gd name="T28" fmla="*/ 2147483647 w 112"/>
              <a:gd name="T29" fmla="*/ 2147483647 h 234"/>
              <a:gd name="T30" fmla="*/ 2147483647 w 112"/>
              <a:gd name="T31" fmla="*/ 2147483647 h 234"/>
              <a:gd name="T32" fmla="*/ 2147483647 w 112"/>
              <a:gd name="T33" fmla="*/ 2147483647 h 234"/>
              <a:gd name="T34" fmla="*/ 2147483647 w 112"/>
              <a:gd name="T35" fmla="*/ 2147483647 h 234"/>
              <a:gd name="T36" fmla="*/ 2147483647 w 112"/>
              <a:gd name="T37" fmla="*/ 2147483647 h 234"/>
              <a:gd name="T38" fmla="*/ 2147483647 w 112"/>
              <a:gd name="T39" fmla="*/ 2147483647 h 234"/>
              <a:gd name="T40" fmla="*/ 2147483647 w 112"/>
              <a:gd name="T41" fmla="*/ 2147483647 h 234"/>
              <a:gd name="T42" fmla="*/ 2147483647 w 112"/>
              <a:gd name="T43" fmla="*/ 2147483647 h 234"/>
              <a:gd name="T44" fmla="*/ 2147483647 w 112"/>
              <a:gd name="T45" fmla="*/ 2147483647 h 234"/>
              <a:gd name="T46" fmla="*/ 2147483647 w 112"/>
              <a:gd name="T47" fmla="*/ 2147483647 h 234"/>
              <a:gd name="T48" fmla="*/ 2147483647 w 112"/>
              <a:gd name="T49" fmla="*/ 2147483647 h 234"/>
              <a:gd name="T50" fmla="*/ 2147483647 w 112"/>
              <a:gd name="T51" fmla="*/ 2147483647 h 234"/>
              <a:gd name="T52" fmla="*/ 2147483647 w 112"/>
              <a:gd name="T53" fmla="*/ 0 h 234"/>
              <a:gd name="T54" fmla="*/ 2147483647 w 112"/>
              <a:gd name="T55" fmla="*/ 0 h 234"/>
              <a:gd name="T56" fmla="*/ 2147483647 w 112"/>
              <a:gd name="T57" fmla="*/ 2147483647 h 234"/>
              <a:gd name="T58" fmla="*/ 2147483647 w 112"/>
              <a:gd name="T59" fmla="*/ 2147483647 h 234"/>
              <a:gd name="T60" fmla="*/ 0 w 112"/>
              <a:gd name="T61" fmla="*/ 2147483647 h 234"/>
              <a:gd name="T62" fmla="*/ 2147483647 w 112"/>
              <a:gd name="T63" fmla="*/ 2147483647 h 234"/>
              <a:gd name="T64" fmla="*/ 2147483647 w 112"/>
              <a:gd name="T65" fmla="*/ 2147483647 h 234"/>
              <a:gd name="T66" fmla="*/ 2147483647 w 112"/>
              <a:gd name="T67" fmla="*/ 2147483647 h 234"/>
              <a:gd name="T68" fmla="*/ 2147483647 w 112"/>
              <a:gd name="T69" fmla="*/ 2147483647 h 234"/>
              <a:gd name="T70" fmla="*/ 2147483647 w 112"/>
              <a:gd name="T71" fmla="*/ 2147483647 h 234"/>
              <a:gd name="T72" fmla="*/ 2147483647 w 112"/>
              <a:gd name="T73" fmla="*/ 2147483647 h 234"/>
              <a:gd name="T74" fmla="*/ 2147483647 w 112"/>
              <a:gd name="T75" fmla="*/ 2147483647 h 234"/>
              <a:gd name="T76" fmla="*/ 2147483647 w 112"/>
              <a:gd name="T77" fmla="*/ 2147483647 h 234"/>
              <a:gd name="T78" fmla="*/ 2147483647 w 112"/>
              <a:gd name="T79" fmla="*/ 2147483647 h 234"/>
              <a:gd name="T80" fmla="*/ 2147483647 w 112"/>
              <a:gd name="T81" fmla="*/ 2147483647 h 234"/>
              <a:gd name="T82" fmla="*/ 2147483647 w 112"/>
              <a:gd name="T83" fmla="*/ 2147483647 h 234"/>
              <a:gd name="T84" fmla="*/ 2147483647 w 112"/>
              <a:gd name="T85" fmla="*/ 2147483647 h 234"/>
              <a:gd name="T86" fmla="*/ 2147483647 w 112"/>
              <a:gd name="T87" fmla="*/ 2147483647 h 234"/>
              <a:gd name="T88" fmla="*/ 2147483647 w 112"/>
              <a:gd name="T89" fmla="*/ 2147483647 h 234"/>
              <a:gd name="T90" fmla="*/ 2147483647 w 112"/>
              <a:gd name="T91" fmla="*/ 2147483647 h 234"/>
              <a:gd name="T92" fmla="*/ 2147483647 w 112"/>
              <a:gd name="T93" fmla="*/ 2147483647 h 234"/>
              <a:gd name="T94" fmla="*/ 2147483647 w 112"/>
              <a:gd name="T95" fmla="*/ 2147483647 h 234"/>
              <a:gd name="T96" fmla="*/ 2147483647 w 112"/>
              <a:gd name="T97" fmla="*/ 2147483647 h 234"/>
              <a:gd name="T98" fmla="*/ 2147483647 w 112"/>
              <a:gd name="T99" fmla="*/ 2147483647 h 234"/>
              <a:gd name="T100" fmla="*/ 2147483647 w 112"/>
              <a:gd name="T101" fmla="*/ 2147483647 h 23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12"/>
              <a:gd name="T154" fmla="*/ 0 h 234"/>
              <a:gd name="T155" fmla="*/ 112 w 112"/>
              <a:gd name="T156" fmla="*/ 234 h 23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12" h="234">
                <a:moveTo>
                  <a:pt x="42" y="204"/>
                </a:moveTo>
                <a:lnTo>
                  <a:pt x="44" y="206"/>
                </a:lnTo>
                <a:lnTo>
                  <a:pt x="44" y="208"/>
                </a:lnTo>
                <a:lnTo>
                  <a:pt x="44" y="214"/>
                </a:lnTo>
                <a:lnTo>
                  <a:pt x="42" y="214"/>
                </a:lnTo>
                <a:lnTo>
                  <a:pt x="40" y="234"/>
                </a:lnTo>
                <a:lnTo>
                  <a:pt x="52" y="226"/>
                </a:lnTo>
                <a:lnTo>
                  <a:pt x="66" y="218"/>
                </a:lnTo>
                <a:lnTo>
                  <a:pt x="66" y="210"/>
                </a:lnTo>
                <a:lnTo>
                  <a:pt x="70" y="204"/>
                </a:lnTo>
                <a:lnTo>
                  <a:pt x="82" y="206"/>
                </a:lnTo>
                <a:lnTo>
                  <a:pt x="94" y="202"/>
                </a:lnTo>
                <a:lnTo>
                  <a:pt x="108" y="190"/>
                </a:lnTo>
                <a:lnTo>
                  <a:pt x="112" y="172"/>
                </a:lnTo>
                <a:lnTo>
                  <a:pt x="108" y="152"/>
                </a:lnTo>
                <a:lnTo>
                  <a:pt x="104" y="138"/>
                </a:lnTo>
                <a:lnTo>
                  <a:pt x="100" y="122"/>
                </a:lnTo>
                <a:lnTo>
                  <a:pt x="60" y="78"/>
                </a:lnTo>
                <a:lnTo>
                  <a:pt x="54" y="70"/>
                </a:lnTo>
                <a:lnTo>
                  <a:pt x="62" y="50"/>
                </a:lnTo>
                <a:lnTo>
                  <a:pt x="74" y="34"/>
                </a:lnTo>
                <a:lnTo>
                  <a:pt x="82" y="32"/>
                </a:lnTo>
                <a:lnTo>
                  <a:pt x="80" y="24"/>
                </a:lnTo>
                <a:lnTo>
                  <a:pt x="70" y="20"/>
                </a:lnTo>
                <a:lnTo>
                  <a:pt x="68" y="6"/>
                </a:lnTo>
                <a:lnTo>
                  <a:pt x="58" y="4"/>
                </a:lnTo>
                <a:lnTo>
                  <a:pt x="50" y="0"/>
                </a:lnTo>
                <a:lnTo>
                  <a:pt x="44" y="0"/>
                </a:lnTo>
                <a:lnTo>
                  <a:pt x="34" y="6"/>
                </a:lnTo>
                <a:lnTo>
                  <a:pt x="2" y="8"/>
                </a:lnTo>
                <a:lnTo>
                  <a:pt x="0" y="14"/>
                </a:lnTo>
                <a:lnTo>
                  <a:pt x="10" y="24"/>
                </a:lnTo>
                <a:lnTo>
                  <a:pt x="12" y="38"/>
                </a:lnTo>
                <a:lnTo>
                  <a:pt x="34" y="36"/>
                </a:lnTo>
                <a:lnTo>
                  <a:pt x="40" y="46"/>
                </a:lnTo>
                <a:lnTo>
                  <a:pt x="42" y="56"/>
                </a:lnTo>
                <a:lnTo>
                  <a:pt x="28" y="56"/>
                </a:lnTo>
                <a:lnTo>
                  <a:pt x="26" y="66"/>
                </a:lnTo>
                <a:lnTo>
                  <a:pt x="34" y="70"/>
                </a:lnTo>
                <a:lnTo>
                  <a:pt x="62" y="96"/>
                </a:lnTo>
                <a:lnTo>
                  <a:pt x="80" y="116"/>
                </a:lnTo>
                <a:lnTo>
                  <a:pt x="84" y="130"/>
                </a:lnTo>
                <a:lnTo>
                  <a:pt x="82" y="144"/>
                </a:lnTo>
                <a:lnTo>
                  <a:pt x="82" y="152"/>
                </a:lnTo>
                <a:lnTo>
                  <a:pt x="78" y="164"/>
                </a:lnTo>
                <a:lnTo>
                  <a:pt x="72" y="176"/>
                </a:lnTo>
                <a:lnTo>
                  <a:pt x="66" y="184"/>
                </a:lnTo>
                <a:lnTo>
                  <a:pt x="56" y="188"/>
                </a:lnTo>
                <a:lnTo>
                  <a:pt x="56" y="196"/>
                </a:lnTo>
                <a:lnTo>
                  <a:pt x="46" y="200"/>
                </a:lnTo>
                <a:lnTo>
                  <a:pt x="42" y="20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37" name="Freeform 217">
            <a:extLst>
              <a:ext uri="{FF2B5EF4-FFF2-40B4-BE49-F238E27FC236}">
                <a16:creationId xmlns:a16="http://schemas.microsoft.com/office/drawing/2014/main" id="{7EC9BC1B-25F9-728A-57F7-6ADF8FC321E7}"/>
              </a:ext>
            </a:extLst>
          </p:cNvPr>
          <p:cNvSpPr>
            <a:spLocks/>
          </p:cNvSpPr>
          <p:nvPr/>
        </p:nvSpPr>
        <p:spPr bwMode="auto">
          <a:xfrm>
            <a:off x="7647518" y="3746500"/>
            <a:ext cx="67733" cy="78317"/>
          </a:xfrm>
          <a:custGeom>
            <a:avLst/>
            <a:gdLst>
              <a:gd name="T0" fmla="*/ 2147483647 w 38"/>
              <a:gd name="T1" fmla="*/ 2147483647 h 36"/>
              <a:gd name="T2" fmla="*/ 2147483647 w 38"/>
              <a:gd name="T3" fmla="*/ 2147483647 h 36"/>
              <a:gd name="T4" fmla="*/ 2147483647 w 38"/>
              <a:gd name="T5" fmla="*/ 2147483647 h 36"/>
              <a:gd name="T6" fmla="*/ 0 w 38"/>
              <a:gd name="T7" fmla="*/ 2147483647 h 36"/>
              <a:gd name="T8" fmla="*/ 2147483647 w 38"/>
              <a:gd name="T9" fmla="*/ 2147483647 h 36"/>
              <a:gd name="T10" fmla="*/ 2147483647 w 38"/>
              <a:gd name="T11" fmla="*/ 0 h 36"/>
              <a:gd name="T12" fmla="*/ 2147483647 w 38"/>
              <a:gd name="T13" fmla="*/ 2147483647 h 36"/>
              <a:gd name="T14" fmla="*/ 2147483647 w 38"/>
              <a:gd name="T15" fmla="*/ 2147483647 h 36"/>
              <a:gd name="T16" fmla="*/ 2147483647 w 38"/>
              <a:gd name="T17" fmla="*/ 2147483647 h 36"/>
              <a:gd name="T18" fmla="*/ 2147483647 w 38"/>
              <a:gd name="T19" fmla="*/ 2147483647 h 36"/>
              <a:gd name="T20" fmla="*/ 2147483647 w 38"/>
              <a:gd name="T21" fmla="*/ 2147483647 h 36"/>
              <a:gd name="T22" fmla="*/ 2147483647 w 38"/>
              <a:gd name="T23" fmla="*/ 2147483647 h 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8"/>
              <a:gd name="T37" fmla="*/ 0 h 36"/>
              <a:gd name="T38" fmla="*/ 38 w 38"/>
              <a:gd name="T39" fmla="*/ 36 h 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8" h="36">
                <a:moveTo>
                  <a:pt x="14" y="36"/>
                </a:moveTo>
                <a:lnTo>
                  <a:pt x="12" y="28"/>
                </a:lnTo>
                <a:lnTo>
                  <a:pt x="2" y="22"/>
                </a:lnTo>
                <a:lnTo>
                  <a:pt x="0" y="8"/>
                </a:lnTo>
                <a:lnTo>
                  <a:pt x="6" y="4"/>
                </a:lnTo>
                <a:lnTo>
                  <a:pt x="20" y="0"/>
                </a:lnTo>
                <a:lnTo>
                  <a:pt x="28" y="6"/>
                </a:lnTo>
                <a:lnTo>
                  <a:pt x="38" y="12"/>
                </a:lnTo>
                <a:lnTo>
                  <a:pt x="38" y="20"/>
                </a:lnTo>
                <a:lnTo>
                  <a:pt x="32" y="26"/>
                </a:lnTo>
                <a:lnTo>
                  <a:pt x="24" y="30"/>
                </a:lnTo>
                <a:lnTo>
                  <a:pt x="14" y="3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38" name="Freeform 218">
            <a:extLst>
              <a:ext uri="{FF2B5EF4-FFF2-40B4-BE49-F238E27FC236}">
                <a16:creationId xmlns:a16="http://schemas.microsoft.com/office/drawing/2014/main" id="{01113994-7546-78F4-8C33-97A4DC4769C9}"/>
              </a:ext>
            </a:extLst>
          </p:cNvPr>
          <p:cNvSpPr>
            <a:spLocks/>
          </p:cNvSpPr>
          <p:nvPr/>
        </p:nvSpPr>
        <p:spPr bwMode="auto">
          <a:xfrm>
            <a:off x="7715251" y="3939117"/>
            <a:ext cx="251884" cy="135467"/>
          </a:xfrm>
          <a:custGeom>
            <a:avLst/>
            <a:gdLst>
              <a:gd name="T0" fmla="*/ 2147483647 w 130"/>
              <a:gd name="T1" fmla="*/ 2147483647 h 72"/>
              <a:gd name="T2" fmla="*/ 2147483647 w 130"/>
              <a:gd name="T3" fmla="*/ 0 h 72"/>
              <a:gd name="T4" fmla="*/ 2147483647 w 130"/>
              <a:gd name="T5" fmla="*/ 2147483647 h 72"/>
              <a:gd name="T6" fmla="*/ 2147483647 w 130"/>
              <a:gd name="T7" fmla="*/ 2147483647 h 72"/>
              <a:gd name="T8" fmla="*/ 2147483647 w 130"/>
              <a:gd name="T9" fmla="*/ 2147483647 h 72"/>
              <a:gd name="T10" fmla="*/ 2147483647 w 130"/>
              <a:gd name="T11" fmla="*/ 2147483647 h 72"/>
              <a:gd name="T12" fmla="*/ 2147483647 w 130"/>
              <a:gd name="T13" fmla="*/ 2147483647 h 72"/>
              <a:gd name="T14" fmla="*/ 2147483647 w 130"/>
              <a:gd name="T15" fmla="*/ 2147483647 h 72"/>
              <a:gd name="T16" fmla="*/ 2147483647 w 130"/>
              <a:gd name="T17" fmla="*/ 2147483647 h 72"/>
              <a:gd name="T18" fmla="*/ 2147483647 w 130"/>
              <a:gd name="T19" fmla="*/ 2147483647 h 72"/>
              <a:gd name="T20" fmla="*/ 2147483647 w 130"/>
              <a:gd name="T21" fmla="*/ 2147483647 h 72"/>
              <a:gd name="T22" fmla="*/ 2147483647 w 130"/>
              <a:gd name="T23" fmla="*/ 2147483647 h 72"/>
              <a:gd name="T24" fmla="*/ 2147483647 w 130"/>
              <a:gd name="T25" fmla="*/ 2147483647 h 72"/>
              <a:gd name="T26" fmla="*/ 2147483647 w 130"/>
              <a:gd name="T27" fmla="*/ 2147483647 h 72"/>
              <a:gd name="T28" fmla="*/ 2147483647 w 130"/>
              <a:gd name="T29" fmla="*/ 2147483647 h 72"/>
              <a:gd name="T30" fmla="*/ 2147483647 w 130"/>
              <a:gd name="T31" fmla="*/ 2147483647 h 72"/>
              <a:gd name="T32" fmla="*/ 0 w 130"/>
              <a:gd name="T33" fmla="*/ 2147483647 h 72"/>
              <a:gd name="T34" fmla="*/ 2147483647 w 130"/>
              <a:gd name="T35" fmla="*/ 2147483647 h 72"/>
              <a:gd name="T36" fmla="*/ 2147483647 w 130"/>
              <a:gd name="T37" fmla="*/ 2147483647 h 7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30"/>
              <a:gd name="T58" fmla="*/ 0 h 72"/>
              <a:gd name="T59" fmla="*/ 130 w 130"/>
              <a:gd name="T60" fmla="*/ 72 h 72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30" h="72">
                <a:moveTo>
                  <a:pt x="16" y="6"/>
                </a:moveTo>
                <a:lnTo>
                  <a:pt x="30" y="0"/>
                </a:lnTo>
                <a:lnTo>
                  <a:pt x="44" y="14"/>
                </a:lnTo>
                <a:lnTo>
                  <a:pt x="60" y="22"/>
                </a:lnTo>
                <a:lnTo>
                  <a:pt x="72" y="30"/>
                </a:lnTo>
                <a:lnTo>
                  <a:pt x="88" y="40"/>
                </a:lnTo>
                <a:lnTo>
                  <a:pt x="104" y="44"/>
                </a:lnTo>
                <a:lnTo>
                  <a:pt x="128" y="46"/>
                </a:lnTo>
                <a:lnTo>
                  <a:pt x="128" y="58"/>
                </a:lnTo>
                <a:lnTo>
                  <a:pt x="130" y="70"/>
                </a:lnTo>
                <a:lnTo>
                  <a:pt x="102" y="72"/>
                </a:lnTo>
                <a:lnTo>
                  <a:pt x="88" y="66"/>
                </a:lnTo>
                <a:lnTo>
                  <a:pt x="72" y="54"/>
                </a:lnTo>
                <a:lnTo>
                  <a:pt x="48" y="52"/>
                </a:lnTo>
                <a:lnTo>
                  <a:pt x="34" y="46"/>
                </a:lnTo>
                <a:lnTo>
                  <a:pt x="20" y="36"/>
                </a:lnTo>
                <a:lnTo>
                  <a:pt x="0" y="30"/>
                </a:lnTo>
                <a:lnTo>
                  <a:pt x="4" y="14"/>
                </a:lnTo>
                <a:lnTo>
                  <a:pt x="16" y="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39" name="Freeform 219">
            <a:extLst>
              <a:ext uri="{FF2B5EF4-FFF2-40B4-BE49-F238E27FC236}">
                <a16:creationId xmlns:a16="http://schemas.microsoft.com/office/drawing/2014/main" id="{DC03E408-A638-0F31-17D0-8228E61D3C27}"/>
              </a:ext>
            </a:extLst>
          </p:cNvPr>
          <p:cNvSpPr>
            <a:spLocks/>
          </p:cNvSpPr>
          <p:nvPr/>
        </p:nvSpPr>
        <p:spPr bwMode="auto">
          <a:xfrm>
            <a:off x="7996765" y="4015318"/>
            <a:ext cx="95251" cy="48684"/>
          </a:xfrm>
          <a:custGeom>
            <a:avLst/>
            <a:gdLst>
              <a:gd name="T0" fmla="*/ 2147483647 w 50"/>
              <a:gd name="T1" fmla="*/ 0 h 26"/>
              <a:gd name="T2" fmla="*/ 2147483647 w 50"/>
              <a:gd name="T3" fmla="*/ 2147483647 h 26"/>
              <a:gd name="T4" fmla="*/ 2147483647 w 50"/>
              <a:gd name="T5" fmla="*/ 2147483647 h 26"/>
              <a:gd name="T6" fmla="*/ 0 w 50"/>
              <a:gd name="T7" fmla="*/ 2147483647 h 26"/>
              <a:gd name="T8" fmla="*/ 2147483647 w 50"/>
              <a:gd name="T9" fmla="*/ 2147483647 h 26"/>
              <a:gd name="T10" fmla="*/ 2147483647 w 50"/>
              <a:gd name="T11" fmla="*/ 2147483647 h 26"/>
              <a:gd name="T12" fmla="*/ 2147483647 w 50"/>
              <a:gd name="T13" fmla="*/ 2147483647 h 26"/>
              <a:gd name="T14" fmla="*/ 2147483647 w 50"/>
              <a:gd name="T15" fmla="*/ 2147483647 h 26"/>
              <a:gd name="T16" fmla="*/ 2147483647 w 50"/>
              <a:gd name="T17" fmla="*/ 2147483647 h 26"/>
              <a:gd name="T18" fmla="*/ 2147483647 w 50"/>
              <a:gd name="T19" fmla="*/ 2147483647 h 26"/>
              <a:gd name="T20" fmla="*/ 2147483647 w 50"/>
              <a:gd name="T21" fmla="*/ 2147483647 h 26"/>
              <a:gd name="T22" fmla="*/ 2147483647 w 50"/>
              <a:gd name="T23" fmla="*/ 2147483647 h 26"/>
              <a:gd name="T24" fmla="*/ 2147483647 w 50"/>
              <a:gd name="T25" fmla="*/ 0 h 26"/>
              <a:gd name="T26" fmla="*/ 2147483647 w 50"/>
              <a:gd name="T27" fmla="*/ 0 h 2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50"/>
              <a:gd name="T43" fmla="*/ 0 h 26"/>
              <a:gd name="T44" fmla="*/ 50 w 50"/>
              <a:gd name="T45" fmla="*/ 26 h 2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50" h="26">
                <a:moveTo>
                  <a:pt x="10" y="0"/>
                </a:moveTo>
                <a:lnTo>
                  <a:pt x="4" y="6"/>
                </a:lnTo>
                <a:lnTo>
                  <a:pt x="2" y="6"/>
                </a:lnTo>
                <a:lnTo>
                  <a:pt x="0" y="14"/>
                </a:lnTo>
                <a:lnTo>
                  <a:pt x="2" y="20"/>
                </a:lnTo>
                <a:lnTo>
                  <a:pt x="8" y="24"/>
                </a:lnTo>
                <a:lnTo>
                  <a:pt x="16" y="26"/>
                </a:lnTo>
                <a:lnTo>
                  <a:pt x="32" y="24"/>
                </a:lnTo>
                <a:lnTo>
                  <a:pt x="46" y="22"/>
                </a:lnTo>
                <a:lnTo>
                  <a:pt x="50" y="16"/>
                </a:lnTo>
                <a:lnTo>
                  <a:pt x="46" y="6"/>
                </a:lnTo>
                <a:lnTo>
                  <a:pt x="32" y="4"/>
                </a:lnTo>
                <a:lnTo>
                  <a:pt x="20" y="0"/>
                </a:lnTo>
                <a:lnTo>
                  <a:pt x="1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40" name="Freeform 220">
            <a:extLst>
              <a:ext uri="{FF2B5EF4-FFF2-40B4-BE49-F238E27FC236}">
                <a16:creationId xmlns:a16="http://schemas.microsoft.com/office/drawing/2014/main" id="{C5B6E908-455C-EA17-6F5D-24FCD6DF96DE}"/>
              </a:ext>
            </a:extLst>
          </p:cNvPr>
          <p:cNvSpPr>
            <a:spLocks/>
          </p:cNvSpPr>
          <p:nvPr/>
        </p:nvSpPr>
        <p:spPr bwMode="auto">
          <a:xfrm>
            <a:off x="7967134" y="4074585"/>
            <a:ext cx="133351" cy="184151"/>
          </a:xfrm>
          <a:custGeom>
            <a:avLst/>
            <a:gdLst>
              <a:gd name="T0" fmla="*/ 2147483647 w 70"/>
              <a:gd name="T1" fmla="*/ 2147483647 h 90"/>
              <a:gd name="T2" fmla="*/ 2147483647 w 70"/>
              <a:gd name="T3" fmla="*/ 2147483647 h 90"/>
              <a:gd name="T4" fmla="*/ 2147483647 w 70"/>
              <a:gd name="T5" fmla="*/ 2147483647 h 90"/>
              <a:gd name="T6" fmla="*/ 2147483647 w 70"/>
              <a:gd name="T7" fmla="*/ 2147483647 h 90"/>
              <a:gd name="T8" fmla="*/ 0 w 70"/>
              <a:gd name="T9" fmla="*/ 2147483647 h 90"/>
              <a:gd name="T10" fmla="*/ 2147483647 w 70"/>
              <a:gd name="T11" fmla="*/ 2147483647 h 90"/>
              <a:gd name="T12" fmla="*/ 2147483647 w 70"/>
              <a:gd name="T13" fmla="*/ 2147483647 h 90"/>
              <a:gd name="T14" fmla="*/ 2147483647 w 70"/>
              <a:gd name="T15" fmla="*/ 2147483647 h 90"/>
              <a:gd name="T16" fmla="*/ 2147483647 w 70"/>
              <a:gd name="T17" fmla="*/ 0 h 90"/>
              <a:gd name="T18" fmla="*/ 2147483647 w 70"/>
              <a:gd name="T19" fmla="*/ 2147483647 h 90"/>
              <a:gd name="T20" fmla="*/ 2147483647 w 70"/>
              <a:gd name="T21" fmla="*/ 2147483647 h 90"/>
              <a:gd name="T22" fmla="*/ 2147483647 w 70"/>
              <a:gd name="T23" fmla="*/ 2147483647 h 90"/>
              <a:gd name="T24" fmla="*/ 2147483647 w 70"/>
              <a:gd name="T25" fmla="*/ 2147483647 h 90"/>
              <a:gd name="T26" fmla="*/ 2147483647 w 70"/>
              <a:gd name="T27" fmla="*/ 2147483647 h 90"/>
              <a:gd name="T28" fmla="*/ 2147483647 w 70"/>
              <a:gd name="T29" fmla="*/ 2147483647 h 90"/>
              <a:gd name="T30" fmla="*/ 2147483647 w 70"/>
              <a:gd name="T31" fmla="*/ 2147483647 h 90"/>
              <a:gd name="T32" fmla="*/ 2147483647 w 70"/>
              <a:gd name="T33" fmla="*/ 2147483647 h 90"/>
              <a:gd name="T34" fmla="*/ 2147483647 w 70"/>
              <a:gd name="T35" fmla="*/ 2147483647 h 90"/>
              <a:gd name="T36" fmla="*/ 2147483647 w 70"/>
              <a:gd name="T37" fmla="*/ 2147483647 h 90"/>
              <a:gd name="T38" fmla="*/ 2147483647 w 70"/>
              <a:gd name="T39" fmla="*/ 2147483647 h 90"/>
              <a:gd name="T40" fmla="*/ 2147483647 w 70"/>
              <a:gd name="T41" fmla="*/ 2147483647 h 90"/>
              <a:gd name="T42" fmla="*/ 2147483647 w 70"/>
              <a:gd name="T43" fmla="*/ 2147483647 h 90"/>
              <a:gd name="T44" fmla="*/ 2147483647 w 70"/>
              <a:gd name="T45" fmla="*/ 2147483647 h 90"/>
              <a:gd name="T46" fmla="*/ 2147483647 w 70"/>
              <a:gd name="T47" fmla="*/ 2147483647 h 90"/>
              <a:gd name="T48" fmla="*/ 2147483647 w 70"/>
              <a:gd name="T49" fmla="*/ 2147483647 h 90"/>
              <a:gd name="T50" fmla="*/ 2147483647 w 70"/>
              <a:gd name="T51" fmla="*/ 2147483647 h 90"/>
              <a:gd name="T52" fmla="*/ 2147483647 w 70"/>
              <a:gd name="T53" fmla="*/ 2147483647 h 90"/>
              <a:gd name="T54" fmla="*/ 2147483647 w 70"/>
              <a:gd name="T55" fmla="*/ 2147483647 h 90"/>
              <a:gd name="T56" fmla="*/ 2147483647 w 70"/>
              <a:gd name="T57" fmla="*/ 2147483647 h 90"/>
              <a:gd name="T58" fmla="*/ 2147483647 w 70"/>
              <a:gd name="T59" fmla="*/ 2147483647 h 90"/>
              <a:gd name="T60" fmla="*/ 2147483647 w 70"/>
              <a:gd name="T61" fmla="*/ 2147483647 h 90"/>
              <a:gd name="T62" fmla="*/ 2147483647 w 70"/>
              <a:gd name="T63" fmla="*/ 2147483647 h 90"/>
              <a:gd name="T64" fmla="*/ 2147483647 w 70"/>
              <a:gd name="T65" fmla="*/ 2147483647 h 90"/>
              <a:gd name="T66" fmla="*/ 2147483647 w 70"/>
              <a:gd name="T67" fmla="*/ 2147483647 h 90"/>
              <a:gd name="T68" fmla="*/ 2147483647 w 70"/>
              <a:gd name="T69" fmla="*/ 2147483647 h 90"/>
              <a:gd name="T70" fmla="*/ 2147483647 w 70"/>
              <a:gd name="T71" fmla="*/ 2147483647 h 90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70"/>
              <a:gd name="T109" fmla="*/ 0 h 90"/>
              <a:gd name="T110" fmla="*/ 70 w 70"/>
              <a:gd name="T111" fmla="*/ 90 h 90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70" h="90">
                <a:moveTo>
                  <a:pt x="14" y="74"/>
                </a:moveTo>
                <a:lnTo>
                  <a:pt x="10" y="50"/>
                </a:lnTo>
                <a:lnTo>
                  <a:pt x="8" y="38"/>
                </a:lnTo>
                <a:lnTo>
                  <a:pt x="2" y="34"/>
                </a:lnTo>
                <a:lnTo>
                  <a:pt x="0" y="26"/>
                </a:lnTo>
                <a:lnTo>
                  <a:pt x="12" y="20"/>
                </a:lnTo>
                <a:lnTo>
                  <a:pt x="4" y="12"/>
                </a:lnTo>
                <a:lnTo>
                  <a:pt x="4" y="6"/>
                </a:lnTo>
                <a:lnTo>
                  <a:pt x="10" y="0"/>
                </a:lnTo>
                <a:lnTo>
                  <a:pt x="14" y="6"/>
                </a:lnTo>
                <a:lnTo>
                  <a:pt x="24" y="10"/>
                </a:lnTo>
                <a:lnTo>
                  <a:pt x="30" y="22"/>
                </a:lnTo>
                <a:lnTo>
                  <a:pt x="64" y="22"/>
                </a:lnTo>
                <a:lnTo>
                  <a:pt x="64" y="34"/>
                </a:lnTo>
                <a:lnTo>
                  <a:pt x="56" y="38"/>
                </a:lnTo>
                <a:lnTo>
                  <a:pt x="52" y="40"/>
                </a:lnTo>
                <a:lnTo>
                  <a:pt x="48" y="46"/>
                </a:lnTo>
                <a:lnTo>
                  <a:pt x="48" y="50"/>
                </a:lnTo>
                <a:lnTo>
                  <a:pt x="48" y="54"/>
                </a:lnTo>
                <a:lnTo>
                  <a:pt x="56" y="58"/>
                </a:lnTo>
                <a:lnTo>
                  <a:pt x="60" y="46"/>
                </a:lnTo>
                <a:lnTo>
                  <a:pt x="70" y="48"/>
                </a:lnTo>
                <a:lnTo>
                  <a:pt x="68" y="60"/>
                </a:lnTo>
                <a:lnTo>
                  <a:pt x="68" y="70"/>
                </a:lnTo>
                <a:lnTo>
                  <a:pt x="70" y="76"/>
                </a:lnTo>
                <a:lnTo>
                  <a:pt x="70" y="86"/>
                </a:lnTo>
                <a:lnTo>
                  <a:pt x="64" y="90"/>
                </a:lnTo>
                <a:lnTo>
                  <a:pt x="60" y="82"/>
                </a:lnTo>
                <a:lnTo>
                  <a:pt x="58" y="68"/>
                </a:lnTo>
                <a:lnTo>
                  <a:pt x="54" y="64"/>
                </a:lnTo>
                <a:lnTo>
                  <a:pt x="48" y="62"/>
                </a:lnTo>
                <a:lnTo>
                  <a:pt x="40" y="56"/>
                </a:lnTo>
                <a:lnTo>
                  <a:pt x="36" y="62"/>
                </a:lnTo>
                <a:lnTo>
                  <a:pt x="36" y="74"/>
                </a:lnTo>
                <a:lnTo>
                  <a:pt x="26" y="74"/>
                </a:lnTo>
                <a:lnTo>
                  <a:pt x="14" y="7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41" name="Freeform 221">
            <a:extLst>
              <a:ext uri="{FF2B5EF4-FFF2-40B4-BE49-F238E27FC236}">
                <a16:creationId xmlns:a16="http://schemas.microsoft.com/office/drawing/2014/main" id="{48BFD794-6DE7-C1E1-FDB4-E4D87FAF2C47}"/>
              </a:ext>
            </a:extLst>
          </p:cNvPr>
          <p:cNvSpPr>
            <a:spLocks/>
          </p:cNvSpPr>
          <p:nvPr/>
        </p:nvSpPr>
        <p:spPr bwMode="auto">
          <a:xfrm>
            <a:off x="7704667" y="4616451"/>
            <a:ext cx="67733" cy="114300"/>
          </a:xfrm>
          <a:custGeom>
            <a:avLst/>
            <a:gdLst>
              <a:gd name="T0" fmla="*/ 2147483647 w 32"/>
              <a:gd name="T1" fmla="*/ 0 h 58"/>
              <a:gd name="T2" fmla="*/ 2147483647 w 32"/>
              <a:gd name="T3" fmla="*/ 2147483647 h 58"/>
              <a:gd name="T4" fmla="*/ 2147483647 w 32"/>
              <a:gd name="T5" fmla="*/ 2147483647 h 58"/>
              <a:gd name="T6" fmla="*/ 2147483647 w 32"/>
              <a:gd name="T7" fmla="*/ 2147483647 h 58"/>
              <a:gd name="T8" fmla="*/ 2147483647 w 32"/>
              <a:gd name="T9" fmla="*/ 2147483647 h 58"/>
              <a:gd name="T10" fmla="*/ 2147483647 w 32"/>
              <a:gd name="T11" fmla="*/ 2147483647 h 58"/>
              <a:gd name="T12" fmla="*/ 2147483647 w 32"/>
              <a:gd name="T13" fmla="*/ 2147483647 h 58"/>
              <a:gd name="T14" fmla="*/ 0 w 32"/>
              <a:gd name="T15" fmla="*/ 2147483647 h 58"/>
              <a:gd name="T16" fmla="*/ 0 w 32"/>
              <a:gd name="T17" fmla="*/ 2147483647 h 58"/>
              <a:gd name="T18" fmla="*/ 2147483647 w 32"/>
              <a:gd name="T19" fmla="*/ 2147483647 h 58"/>
              <a:gd name="T20" fmla="*/ 2147483647 w 32"/>
              <a:gd name="T21" fmla="*/ 0 h 5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2"/>
              <a:gd name="T34" fmla="*/ 0 h 58"/>
              <a:gd name="T35" fmla="*/ 32 w 32"/>
              <a:gd name="T36" fmla="*/ 58 h 5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2" h="58">
                <a:moveTo>
                  <a:pt x="6" y="0"/>
                </a:moveTo>
                <a:lnTo>
                  <a:pt x="16" y="12"/>
                </a:lnTo>
                <a:lnTo>
                  <a:pt x="26" y="26"/>
                </a:lnTo>
                <a:lnTo>
                  <a:pt x="32" y="40"/>
                </a:lnTo>
                <a:lnTo>
                  <a:pt x="26" y="56"/>
                </a:lnTo>
                <a:lnTo>
                  <a:pt x="16" y="58"/>
                </a:lnTo>
                <a:lnTo>
                  <a:pt x="6" y="56"/>
                </a:lnTo>
                <a:lnTo>
                  <a:pt x="0" y="44"/>
                </a:lnTo>
                <a:lnTo>
                  <a:pt x="0" y="26"/>
                </a:lnTo>
                <a:lnTo>
                  <a:pt x="4" y="12"/>
                </a:lnTo>
                <a:lnTo>
                  <a:pt x="6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42" name="Freeform 222">
            <a:extLst>
              <a:ext uri="{FF2B5EF4-FFF2-40B4-BE49-F238E27FC236}">
                <a16:creationId xmlns:a16="http://schemas.microsoft.com/office/drawing/2014/main" id="{8B5C29A8-ED29-A37C-0D3C-4C2C8359BDBB}"/>
              </a:ext>
            </a:extLst>
          </p:cNvPr>
          <p:cNvSpPr>
            <a:spLocks/>
          </p:cNvSpPr>
          <p:nvPr/>
        </p:nvSpPr>
        <p:spPr bwMode="auto">
          <a:xfrm>
            <a:off x="7346951" y="3754967"/>
            <a:ext cx="910167" cy="910167"/>
          </a:xfrm>
          <a:custGeom>
            <a:avLst/>
            <a:gdLst>
              <a:gd name="T0" fmla="*/ 2147483647 w 460"/>
              <a:gd name="T1" fmla="*/ 2147483647 h 464"/>
              <a:gd name="T2" fmla="*/ 2147483647 w 460"/>
              <a:gd name="T3" fmla="*/ 2147483647 h 464"/>
              <a:gd name="T4" fmla="*/ 2147483647 w 460"/>
              <a:gd name="T5" fmla="*/ 2147483647 h 464"/>
              <a:gd name="T6" fmla="*/ 2147483647 w 460"/>
              <a:gd name="T7" fmla="*/ 2147483647 h 464"/>
              <a:gd name="T8" fmla="*/ 2147483647 w 460"/>
              <a:gd name="T9" fmla="*/ 2147483647 h 464"/>
              <a:gd name="T10" fmla="*/ 2147483647 w 460"/>
              <a:gd name="T11" fmla="*/ 2147483647 h 464"/>
              <a:gd name="T12" fmla="*/ 2147483647 w 460"/>
              <a:gd name="T13" fmla="*/ 2147483647 h 464"/>
              <a:gd name="T14" fmla="*/ 2147483647 w 460"/>
              <a:gd name="T15" fmla="*/ 2147483647 h 464"/>
              <a:gd name="T16" fmla="*/ 2147483647 w 460"/>
              <a:gd name="T17" fmla="*/ 2147483647 h 464"/>
              <a:gd name="T18" fmla="*/ 2147483647 w 460"/>
              <a:gd name="T19" fmla="*/ 2147483647 h 464"/>
              <a:gd name="T20" fmla="*/ 2147483647 w 460"/>
              <a:gd name="T21" fmla="*/ 2147483647 h 464"/>
              <a:gd name="T22" fmla="*/ 2147483647 w 460"/>
              <a:gd name="T23" fmla="*/ 2147483647 h 464"/>
              <a:gd name="T24" fmla="*/ 2147483647 w 460"/>
              <a:gd name="T25" fmla="*/ 2147483647 h 464"/>
              <a:gd name="T26" fmla="*/ 2147483647 w 460"/>
              <a:gd name="T27" fmla="*/ 2147483647 h 464"/>
              <a:gd name="T28" fmla="*/ 2147483647 w 460"/>
              <a:gd name="T29" fmla="*/ 2147483647 h 464"/>
              <a:gd name="T30" fmla="*/ 2147483647 w 460"/>
              <a:gd name="T31" fmla="*/ 2147483647 h 464"/>
              <a:gd name="T32" fmla="*/ 2147483647 w 460"/>
              <a:gd name="T33" fmla="*/ 2147483647 h 464"/>
              <a:gd name="T34" fmla="*/ 2147483647 w 460"/>
              <a:gd name="T35" fmla="*/ 2147483647 h 464"/>
              <a:gd name="T36" fmla="*/ 2147483647 w 460"/>
              <a:gd name="T37" fmla="*/ 2147483647 h 464"/>
              <a:gd name="T38" fmla="*/ 2147483647 w 460"/>
              <a:gd name="T39" fmla="*/ 2147483647 h 464"/>
              <a:gd name="T40" fmla="*/ 2147483647 w 460"/>
              <a:gd name="T41" fmla="*/ 2147483647 h 464"/>
              <a:gd name="T42" fmla="*/ 2147483647 w 460"/>
              <a:gd name="T43" fmla="*/ 2147483647 h 464"/>
              <a:gd name="T44" fmla="*/ 2147483647 w 460"/>
              <a:gd name="T45" fmla="*/ 2147483647 h 464"/>
              <a:gd name="T46" fmla="*/ 2147483647 w 460"/>
              <a:gd name="T47" fmla="*/ 2147483647 h 464"/>
              <a:gd name="T48" fmla="*/ 2147483647 w 460"/>
              <a:gd name="T49" fmla="*/ 2147483647 h 464"/>
              <a:gd name="T50" fmla="*/ 2147483647 w 460"/>
              <a:gd name="T51" fmla="*/ 2147483647 h 464"/>
              <a:gd name="T52" fmla="*/ 2147483647 w 460"/>
              <a:gd name="T53" fmla="*/ 2147483647 h 464"/>
              <a:gd name="T54" fmla="*/ 2147483647 w 460"/>
              <a:gd name="T55" fmla="*/ 2147483647 h 464"/>
              <a:gd name="T56" fmla="*/ 2147483647 w 460"/>
              <a:gd name="T57" fmla="*/ 2147483647 h 464"/>
              <a:gd name="T58" fmla="*/ 2147483647 w 460"/>
              <a:gd name="T59" fmla="*/ 2147483647 h 464"/>
              <a:gd name="T60" fmla="*/ 2147483647 w 460"/>
              <a:gd name="T61" fmla="*/ 2147483647 h 464"/>
              <a:gd name="T62" fmla="*/ 2147483647 w 460"/>
              <a:gd name="T63" fmla="*/ 2147483647 h 464"/>
              <a:gd name="T64" fmla="*/ 2147483647 w 460"/>
              <a:gd name="T65" fmla="*/ 2147483647 h 464"/>
              <a:gd name="T66" fmla="*/ 2147483647 w 460"/>
              <a:gd name="T67" fmla="*/ 2147483647 h 464"/>
              <a:gd name="T68" fmla="*/ 2147483647 w 460"/>
              <a:gd name="T69" fmla="*/ 2147483647 h 464"/>
              <a:gd name="T70" fmla="*/ 2147483647 w 460"/>
              <a:gd name="T71" fmla="*/ 2147483647 h 464"/>
              <a:gd name="T72" fmla="*/ 2147483647 w 460"/>
              <a:gd name="T73" fmla="*/ 2147483647 h 464"/>
              <a:gd name="T74" fmla="*/ 2147483647 w 460"/>
              <a:gd name="T75" fmla="*/ 2147483647 h 464"/>
              <a:gd name="T76" fmla="*/ 2147483647 w 460"/>
              <a:gd name="T77" fmla="*/ 2147483647 h 464"/>
              <a:gd name="T78" fmla="*/ 2147483647 w 460"/>
              <a:gd name="T79" fmla="*/ 2147483647 h 464"/>
              <a:gd name="T80" fmla="*/ 2147483647 w 460"/>
              <a:gd name="T81" fmla="*/ 2147483647 h 464"/>
              <a:gd name="T82" fmla="*/ 2147483647 w 460"/>
              <a:gd name="T83" fmla="*/ 2147483647 h 464"/>
              <a:gd name="T84" fmla="*/ 2147483647 w 460"/>
              <a:gd name="T85" fmla="*/ 2147483647 h 464"/>
              <a:gd name="T86" fmla="*/ 2147483647 w 460"/>
              <a:gd name="T87" fmla="*/ 2147483647 h 464"/>
              <a:gd name="T88" fmla="*/ 2147483647 w 460"/>
              <a:gd name="T89" fmla="*/ 2147483647 h 464"/>
              <a:gd name="T90" fmla="*/ 2147483647 w 460"/>
              <a:gd name="T91" fmla="*/ 2147483647 h 464"/>
              <a:gd name="T92" fmla="*/ 0 w 460"/>
              <a:gd name="T93" fmla="*/ 2147483647 h 46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60"/>
              <a:gd name="T142" fmla="*/ 0 h 464"/>
              <a:gd name="T143" fmla="*/ 460 w 460"/>
              <a:gd name="T144" fmla="*/ 464 h 46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60" h="464">
                <a:moveTo>
                  <a:pt x="0" y="208"/>
                </a:moveTo>
                <a:lnTo>
                  <a:pt x="6" y="196"/>
                </a:lnTo>
                <a:lnTo>
                  <a:pt x="14" y="196"/>
                </a:lnTo>
                <a:lnTo>
                  <a:pt x="22" y="202"/>
                </a:lnTo>
                <a:lnTo>
                  <a:pt x="26" y="196"/>
                </a:lnTo>
                <a:lnTo>
                  <a:pt x="40" y="196"/>
                </a:lnTo>
                <a:lnTo>
                  <a:pt x="40" y="186"/>
                </a:lnTo>
                <a:lnTo>
                  <a:pt x="28" y="172"/>
                </a:lnTo>
                <a:lnTo>
                  <a:pt x="24" y="158"/>
                </a:lnTo>
                <a:lnTo>
                  <a:pt x="16" y="158"/>
                </a:lnTo>
                <a:lnTo>
                  <a:pt x="16" y="148"/>
                </a:lnTo>
                <a:lnTo>
                  <a:pt x="26" y="136"/>
                </a:lnTo>
                <a:lnTo>
                  <a:pt x="34" y="136"/>
                </a:lnTo>
                <a:lnTo>
                  <a:pt x="42" y="140"/>
                </a:lnTo>
                <a:lnTo>
                  <a:pt x="54" y="138"/>
                </a:lnTo>
                <a:lnTo>
                  <a:pt x="98" y="82"/>
                </a:lnTo>
                <a:lnTo>
                  <a:pt x="100" y="68"/>
                </a:lnTo>
                <a:lnTo>
                  <a:pt x="106" y="62"/>
                </a:lnTo>
                <a:lnTo>
                  <a:pt x="90" y="48"/>
                </a:lnTo>
                <a:lnTo>
                  <a:pt x="88" y="18"/>
                </a:lnTo>
                <a:lnTo>
                  <a:pt x="118" y="22"/>
                </a:lnTo>
                <a:lnTo>
                  <a:pt x="134" y="18"/>
                </a:lnTo>
                <a:lnTo>
                  <a:pt x="140" y="0"/>
                </a:lnTo>
                <a:lnTo>
                  <a:pt x="152" y="2"/>
                </a:lnTo>
                <a:lnTo>
                  <a:pt x="154" y="16"/>
                </a:lnTo>
                <a:lnTo>
                  <a:pt x="164" y="22"/>
                </a:lnTo>
                <a:lnTo>
                  <a:pt x="166" y="30"/>
                </a:lnTo>
                <a:lnTo>
                  <a:pt x="166" y="40"/>
                </a:lnTo>
                <a:lnTo>
                  <a:pt x="178" y="48"/>
                </a:lnTo>
                <a:lnTo>
                  <a:pt x="176" y="56"/>
                </a:lnTo>
                <a:lnTo>
                  <a:pt x="166" y="58"/>
                </a:lnTo>
                <a:lnTo>
                  <a:pt x="162" y="68"/>
                </a:lnTo>
                <a:lnTo>
                  <a:pt x="162" y="76"/>
                </a:lnTo>
                <a:lnTo>
                  <a:pt x="188" y="88"/>
                </a:lnTo>
                <a:lnTo>
                  <a:pt x="200" y="98"/>
                </a:lnTo>
                <a:lnTo>
                  <a:pt x="188" y="106"/>
                </a:lnTo>
                <a:lnTo>
                  <a:pt x="184" y="122"/>
                </a:lnTo>
                <a:lnTo>
                  <a:pt x="204" y="128"/>
                </a:lnTo>
                <a:lnTo>
                  <a:pt x="232" y="144"/>
                </a:lnTo>
                <a:lnTo>
                  <a:pt x="256" y="146"/>
                </a:lnTo>
                <a:lnTo>
                  <a:pt x="272" y="158"/>
                </a:lnTo>
                <a:lnTo>
                  <a:pt x="286" y="164"/>
                </a:lnTo>
                <a:lnTo>
                  <a:pt x="314" y="162"/>
                </a:lnTo>
                <a:lnTo>
                  <a:pt x="312" y="138"/>
                </a:lnTo>
                <a:lnTo>
                  <a:pt x="328" y="138"/>
                </a:lnTo>
                <a:lnTo>
                  <a:pt x="328" y="146"/>
                </a:lnTo>
                <a:lnTo>
                  <a:pt x="330" y="152"/>
                </a:lnTo>
                <a:lnTo>
                  <a:pt x="336" y="156"/>
                </a:lnTo>
                <a:lnTo>
                  <a:pt x="344" y="158"/>
                </a:lnTo>
                <a:lnTo>
                  <a:pt x="374" y="154"/>
                </a:lnTo>
                <a:lnTo>
                  <a:pt x="378" y="148"/>
                </a:lnTo>
                <a:lnTo>
                  <a:pt x="374" y="138"/>
                </a:lnTo>
                <a:lnTo>
                  <a:pt x="384" y="136"/>
                </a:lnTo>
                <a:lnTo>
                  <a:pt x="394" y="122"/>
                </a:lnTo>
                <a:lnTo>
                  <a:pt x="406" y="122"/>
                </a:lnTo>
                <a:lnTo>
                  <a:pt x="412" y="114"/>
                </a:lnTo>
                <a:lnTo>
                  <a:pt x="434" y="114"/>
                </a:lnTo>
                <a:lnTo>
                  <a:pt x="444" y="112"/>
                </a:lnTo>
                <a:lnTo>
                  <a:pt x="444" y="126"/>
                </a:lnTo>
                <a:lnTo>
                  <a:pt x="460" y="128"/>
                </a:lnTo>
                <a:lnTo>
                  <a:pt x="454" y="138"/>
                </a:lnTo>
                <a:lnTo>
                  <a:pt x="454" y="148"/>
                </a:lnTo>
                <a:lnTo>
                  <a:pt x="440" y="148"/>
                </a:lnTo>
                <a:lnTo>
                  <a:pt x="424" y="162"/>
                </a:lnTo>
                <a:lnTo>
                  <a:pt x="422" y="174"/>
                </a:lnTo>
                <a:lnTo>
                  <a:pt x="414" y="182"/>
                </a:lnTo>
                <a:lnTo>
                  <a:pt x="410" y="202"/>
                </a:lnTo>
                <a:lnTo>
                  <a:pt x="396" y="204"/>
                </a:lnTo>
                <a:lnTo>
                  <a:pt x="390" y="232"/>
                </a:lnTo>
                <a:lnTo>
                  <a:pt x="384" y="238"/>
                </a:lnTo>
                <a:lnTo>
                  <a:pt x="382" y="232"/>
                </a:lnTo>
                <a:lnTo>
                  <a:pt x="382" y="222"/>
                </a:lnTo>
                <a:lnTo>
                  <a:pt x="384" y="210"/>
                </a:lnTo>
                <a:lnTo>
                  <a:pt x="374" y="208"/>
                </a:lnTo>
                <a:lnTo>
                  <a:pt x="370" y="220"/>
                </a:lnTo>
                <a:lnTo>
                  <a:pt x="362" y="216"/>
                </a:lnTo>
                <a:lnTo>
                  <a:pt x="362" y="208"/>
                </a:lnTo>
                <a:lnTo>
                  <a:pt x="366" y="202"/>
                </a:lnTo>
                <a:lnTo>
                  <a:pt x="370" y="200"/>
                </a:lnTo>
                <a:lnTo>
                  <a:pt x="378" y="196"/>
                </a:lnTo>
                <a:lnTo>
                  <a:pt x="378" y="184"/>
                </a:lnTo>
                <a:lnTo>
                  <a:pt x="344" y="184"/>
                </a:lnTo>
                <a:lnTo>
                  <a:pt x="338" y="172"/>
                </a:lnTo>
                <a:lnTo>
                  <a:pt x="328" y="168"/>
                </a:lnTo>
                <a:lnTo>
                  <a:pt x="324" y="162"/>
                </a:lnTo>
                <a:lnTo>
                  <a:pt x="318" y="168"/>
                </a:lnTo>
                <a:lnTo>
                  <a:pt x="318" y="174"/>
                </a:lnTo>
                <a:lnTo>
                  <a:pt x="326" y="182"/>
                </a:lnTo>
                <a:lnTo>
                  <a:pt x="314" y="188"/>
                </a:lnTo>
                <a:lnTo>
                  <a:pt x="316" y="196"/>
                </a:lnTo>
                <a:lnTo>
                  <a:pt x="322" y="200"/>
                </a:lnTo>
                <a:lnTo>
                  <a:pt x="324" y="214"/>
                </a:lnTo>
                <a:lnTo>
                  <a:pt x="328" y="236"/>
                </a:lnTo>
                <a:lnTo>
                  <a:pt x="318" y="242"/>
                </a:lnTo>
                <a:lnTo>
                  <a:pt x="296" y="246"/>
                </a:lnTo>
                <a:lnTo>
                  <a:pt x="290" y="262"/>
                </a:lnTo>
                <a:lnTo>
                  <a:pt x="276" y="274"/>
                </a:lnTo>
                <a:lnTo>
                  <a:pt x="262" y="278"/>
                </a:lnTo>
                <a:lnTo>
                  <a:pt x="258" y="290"/>
                </a:lnTo>
                <a:lnTo>
                  <a:pt x="234" y="312"/>
                </a:lnTo>
                <a:lnTo>
                  <a:pt x="222" y="314"/>
                </a:lnTo>
                <a:lnTo>
                  <a:pt x="218" y="320"/>
                </a:lnTo>
                <a:lnTo>
                  <a:pt x="216" y="328"/>
                </a:lnTo>
                <a:lnTo>
                  <a:pt x="204" y="332"/>
                </a:lnTo>
                <a:lnTo>
                  <a:pt x="202" y="340"/>
                </a:lnTo>
                <a:lnTo>
                  <a:pt x="190" y="342"/>
                </a:lnTo>
                <a:lnTo>
                  <a:pt x="182" y="350"/>
                </a:lnTo>
                <a:lnTo>
                  <a:pt x="188" y="368"/>
                </a:lnTo>
                <a:lnTo>
                  <a:pt x="186" y="376"/>
                </a:lnTo>
                <a:lnTo>
                  <a:pt x="188" y="388"/>
                </a:lnTo>
                <a:lnTo>
                  <a:pt x="180" y="404"/>
                </a:lnTo>
                <a:lnTo>
                  <a:pt x="180" y="424"/>
                </a:lnTo>
                <a:lnTo>
                  <a:pt x="166" y="436"/>
                </a:lnTo>
                <a:lnTo>
                  <a:pt x="170" y="446"/>
                </a:lnTo>
                <a:lnTo>
                  <a:pt x="160" y="446"/>
                </a:lnTo>
                <a:lnTo>
                  <a:pt x="156" y="452"/>
                </a:lnTo>
                <a:lnTo>
                  <a:pt x="148" y="464"/>
                </a:lnTo>
                <a:lnTo>
                  <a:pt x="136" y="460"/>
                </a:lnTo>
                <a:lnTo>
                  <a:pt x="124" y="440"/>
                </a:lnTo>
                <a:lnTo>
                  <a:pt x="126" y="428"/>
                </a:lnTo>
                <a:lnTo>
                  <a:pt x="104" y="390"/>
                </a:lnTo>
                <a:lnTo>
                  <a:pt x="102" y="374"/>
                </a:lnTo>
                <a:lnTo>
                  <a:pt x="80" y="330"/>
                </a:lnTo>
                <a:lnTo>
                  <a:pt x="74" y="278"/>
                </a:lnTo>
                <a:lnTo>
                  <a:pt x="68" y="262"/>
                </a:lnTo>
                <a:lnTo>
                  <a:pt x="74" y="254"/>
                </a:lnTo>
                <a:lnTo>
                  <a:pt x="72" y="246"/>
                </a:lnTo>
                <a:lnTo>
                  <a:pt x="68" y="234"/>
                </a:lnTo>
                <a:lnTo>
                  <a:pt x="60" y="234"/>
                </a:lnTo>
                <a:lnTo>
                  <a:pt x="58" y="246"/>
                </a:lnTo>
                <a:lnTo>
                  <a:pt x="46" y="258"/>
                </a:lnTo>
                <a:lnTo>
                  <a:pt x="38" y="260"/>
                </a:lnTo>
                <a:lnTo>
                  <a:pt x="24" y="252"/>
                </a:lnTo>
                <a:lnTo>
                  <a:pt x="20" y="244"/>
                </a:lnTo>
                <a:lnTo>
                  <a:pt x="10" y="232"/>
                </a:lnTo>
                <a:lnTo>
                  <a:pt x="26" y="232"/>
                </a:lnTo>
                <a:lnTo>
                  <a:pt x="32" y="224"/>
                </a:lnTo>
                <a:lnTo>
                  <a:pt x="24" y="222"/>
                </a:lnTo>
                <a:lnTo>
                  <a:pt x="10" y="222"/>
                </a:lnTo>
                <a:lnTo>
                  <a:pt x="4" y="216"/>
                </a:lnTo>
                <a:lnTo>
                  <a:pt x="0" y="20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43" name="Freeform 223">
            <a:extLst>
              <a:ext uri="{FF2B5EF4-FFF2-40B4-BE49-F238E27FC236}">
                <a16:creationId xmlns:a16="http://schemas.microsoft.com/office/drawing/2014/main" id="{6C2D558B-87A0-DE36-1CE9-7E564F9A16FB}"/>
              </a:ext>
            </a:extLst>
          </p:cNvPr>
          <p:cNvSpPr>
            <a:spLocks/>
          </p:cNvSpPr>
          <p:nvPr/>
        </p:nvSpPr>
        <p:spPr bwMode="auto">
          <a:xfrm>
            <a:off x="8092017" y="4006851"/>
            <a:ext cx="262467" cy="590551"/>
          </a:xfrm>
          <a:custGeom>
            <a:avLst/>
            <a:gdLst>
              <a:gd name="T0" fmla="*/ 2147483647 w 134"/>
              <a:gd name="T1" fmla="*/ 2147483647 h 296"/>
              <a:gd name="T2" fmla="*/ 2147483647 w 134"/>
              <a:gd name="T3" fmla="*/ 2147483647 h 296"/>
              <a:gd name="T4" fmla="*/ 2147483647 w 134"/>
              <a:gd name="T5" fmla="*/ 2147483647 h 296"/>
              <a:gd name="T6" fmla="*/ 2147483647 w 134"/>
              <a:gd name="T7" fmla="*/ 2147483647 h 296"/>
              <a:gd name="T8" fmla="*/ 2147483647 w 134"/>
              <a:gd name="T9" fmla="*/ 2147483647 h 296"/>
              <a:gd name="T10" fmla="*/ 2147483647 w 134"/>
              <a:gd name="T11" fmla="*/ 2147483647 h 296"/>
              <a:gd name="T12" fmla="*/ 2147483647 w 134"/>
              <a:gd name="T13" fmla="*/ 2147483647 h 296"/>
              <a:gd name="T14" fmla="*/ 2147483647 w 134"/>
              <a:gd name="T15" fmla="*/ 2147483647 h 296"/>
              <a:gd name="T16" fmla="*/ 2147483647 w 134"/>
              <a:gd name="T17" fmla="*/ 2147483647 h 296"/>
              <a:gd name="T18" fmla="*/ 2147483647 w 134"/>
              <a:gd name="T19" fmla="*/ 2147483647 h 296"/>
              <a:gd name="T20" fmla="*/ 2147483647 w 134"/>
              <a:gd name="T21" fmla="*/ 2147483647 h 296"/>
              <a:gd name="T22" fmla="*/ 2147483647 w 134"/>
              <a:gd name="T23" fmla="*/ 2147483647 h 296"/>
              <a:gd name="T24" fmla="*/ 2147483647 w 134"/>
              <a:gd name="T25" fmla="*/ 2147483647 h 296"/>
              <a:gd name="T26" fmla="*/ 2147483647 w 134"/>
              <a:gd name="T27" fmla="*/ 2147483647 h 296"/>
              <a:gd name="T28" fmla="*/ 2147483647 w 134"/>
              <a:gd name="T29" fmla="*/ 2147483647 h 296"/>
              <a:gd name="T30" fmla="*/ 2147483647 w 134"/>
              <a:gd name="T31" fmla="*/ 2147483647 h 296"/>
              <a:gd name="T32" fmla="*/ 2147483647 w 134"/>
              <a:gd name="T33" fmla="*/ 2147483647 h 296"/>
              <a:gd name="T34" fmla="*/ 2147483647 w 134"/>
              <a:gd name="T35" fmla="*/ 2147483647 h 296"/>
              <a:gd name="T36" fmla="*/ 2147483647 w 134"/>
              <a:gd name="T37" fmla="*/ 2147483647 h 296"/>
              <a:gd name="T38" fmla="*/ 2147483647 w 134"/>
              <a:gd name="T39" fmla="*/ 2147483647 h 296"/>
              <a:gd name="T40" fmla="*/ 2147483647 w 134"/>
              <a:gd name="T41" fmla="*/ 2147483647 h 296"/>
              <a:gd name="T42" fmla="*/ 2147483647 w 134"/>
              <a:gd name="T43" fmla="*/ 2147483647 h 296"/>
              <a:gd name="T44" fmla="*/ 2147483647 w 134"/>
              <a:gd name="T45" fmla="*/ 2147483647 h 296"/>
              <a:gd name="T46" fmla="*/ 2147483647 w 134"/>
              <a:gd name="T47" fmla="*/ 2147483647 h 296"/>
              <a:gd name="T48" fmla="*/ 2147483647 w 134"/>
              <a:gd name="T49" fmla="*/ 2147483647 h 296"/>
              <a:gd name="T50" fmla="*/ 2147483647 w 134"/>
              <a:gd name="T51" fmla="*/ 2147483647 h 296"/>
              <a:gd name="T52" fmla="*/ 2147483647 w 134"/>
              <a:gd name="T53" fmla="*/ 2147483647 h 296"/>
              <a:gd name="T54" fmla="*/ 2147483647 w 134"/>
              <a:gd name="T55" fmla="*/ 2147483647 h 296"/>
              <a:gd name="T56" fmla="*/ 2147483647 w 134"/>
              <a:gd name="T57" fmla="*/ 2147483647 h 296"/>
              <a:gd name="T58" fmla="*/ 2147483647 w 134"/>
              <a:gd name="T59" fmla="*/ 2147483647 h 296"/>
              <a:gd name="T60" fmla="*/ 2147483647 w 134"/>
              <a:gd name="T61" fmla="*/ 2147483647 h 296"/>
              <a:gd name="T62" fmla="*/ 2147483647 w 134"/>
              <a:gd name="T63" fmla="*/ 2147483647 h 296"/>
              <a:gd name="T64" fmla="*/ 0 w 134"/>
              <a:gd name="T65" fmla="*/ 2147483647 h 29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34"/>
              <a:gd name="T100" fmla="*/ 0 h 296"/>
              <a:gd name="T101" fmla="*/ 134 w 134"/>
              <a:gd name="T102" fmla="*/ 296 h 29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34" h="296">
                <a:moveTo>
                  <a:pt x="0" y="124"/>
                </a:moveTo>
                <a:lnTo>
                  <a:pt x="6" y="120"/>
                </a:lnTo>
                <a:lnTo>
                  <a:pt x="6" y="110"/>
                </a:lnTo>
                <a:lnTo>
                  <a:pt x="12" y="104"/>
                </a:lnTo>
                <a:lnTo>
                  <a:pt x="18" y="76"/>
                </a:lnTo>
                <a:lnTo>
                  <a:pt x="32" y="74"/>
                </a:lnTo>
                <a:lnTo>
                  <a:pt x="36" y="54"/>
                </a:lnTo>
                <a:lnTo>
                  <a:pt x="44" y="46"/>
                </a:lnTo>
                <a:lnTo>
                  <a:pt x="46" y="34"/>
                </a:lnTo>
                <a:lnTo>
                  <a:pt x="62" y="20"/>
                </a:lnTo>
                <a:lnTo>
                  <a:pt x="76" y="20"/>
                </a:lnTo>
                <a:lnTo>
                  <a:pt x="76" y="10"/>
                </a:lnTo>
                <a:lnTo>
                  <a:pt x="82" y="0"/>
                </a:lnTo>
                <a:lnTo>
                  <a:pt x="90" y="2"/>
                </a:lnTo>
                <a:lnTo>
                  <a:pt x="96" y="12"/>
                </a:lnTo>
                <a:lnTo>
                  <a:pt x="104" y="18"/>
                </a:lnTo>
                <a:lnTo>
                  <a:pt x="102" y="42"/>
                </a:lnTo>
                <a:lnTo>
                  <a:pt x="94" y="52"/>
                </a:lnTo>
                <a:lnTo>
                  <a:pt x="86" y="64"/>
                </a:lnTo>
                <a:lnTo>
                  <a:pt x="86" y="68"/>
                </a:lnTo>
                <a:lnTo>
                  <a:pt x="106" y="74"/>
                </a:lnTo>
                <a:lnTo>
                  <a:pt x="106" y="88"/>
                </a:lnTo>
                <a:lnTo>
                  <a:pt x="116" y="92"/>
                </a:lnTo>
                <a:lnTo>
                  <a:pt x="116" y="108"/>
                </a:lnTo>
                <a:lnTo>
                  <a:pt x="124" y="110"/>
                </a:lnTo>
                <a:lnTo>
                  <a:pt x="124" y="116"/>
                </a:lnTo>
                <a:lnTo>
                  <a:pt x="132" y="116"/>
                </a:lnTo>
                <a:lnTo>
                  <a:pt x="134" y="126"/>
                </a:lnTo>
                <a:lnTo>
                  <a:pt x="116" y="136"/>
                </a:lnTo>
                <a:lnTo>
                  <a:pt x="106" y="144"/>
                </a:lnTo>
                <a:lnTo>
                  <a:pt x="88" y="146"/>
                </a:lnTo>
                <a:lnTo>
                  <a:pt x="88" y="158"/>
                </a:lnTo>
                <a:lnTo>
                  <a:pt x="86" y="162"/>
                </a:lnTo>
                <a:lnTo>
                  <a:pt x="84" y="168"/>
                </a:lnTo>
                <a:lnTo>
                  <a:pt x="86" y="178"/>
                </a:lnTo>
                <a:lnTo>
                  <a:pt x="88" y="184"/>
                </a:lnTo>
                <a:lnTo>
                  <a:pt x="98" y="192"/>
                </a:lnTo>
                <a:lnTo>
                  <a:pt x="104" y="208"/>
                </a:lnTo>
                <a:lnTo>
                  <a:pt x="100" y="218"/>
                </a:lnTo>
                <a:lnTo>
                  <a:pt x="96" y="228"/>
                </a:lnTo>
                <a:lnTo>
                  <a:pt x="102" y="236"/>
                </a:lnTo>
                <a:lnTo>
                  <a:pt x="110" y="248"/>
                </a:lnTo>
                <a:lnTo>
                  <a:pt x="110" y="264"/>
                </a:lnTo>
                <a:lnTo>
                  <a:pt x="116" y="274"/>
                </a:lnTo>
                <a:lnTo>
                  <a:pt x="112" y="286"/>
                </a:lnTo>
                <a:lnTo>
                  <a:pt x="100" y="296"/>
                </a:lnTo>
                <a:lnTo>
                  <a:pt x="98" y="288"/>
                </a:lnTo>
                <a:lnTo>
                  <a:pt x="100" y="280"/>
                </a:lnTo>
                <a:lnTo>
                  <a:pt x="100" y="270"/>
                </a:lnTo>
                <a:lnTo>
                  <a:pt x="100" y="256"/>
                </a:lnTo>
                <a:lnTo>
                  <a:pt x="98" y="250"/>
                </a:lnTo>
                <a:lnTo>
                  <a:pt x="90" y="230"/>
                </a:lnTo>
                <a:lnTo>
                  <a:pt x="90" y="214"/>
                </a:lnTo>
                <a:lnTo>
                  <a:pt x="84" y="200"/>
                </a:lnTo>
                <a:lnTo>
                  <a:pt x="74" y="188"/>
                </a:lnTo>
                <a:lnTo>
                  <a:pt x="68" y="200"/>
                </a:lnTo>
                <a:lnTo>
                  <a:pt x="56" y="204"/>
                </a:lnTo>
                <a:lnTo>
                  <a:pt x="54" y="212"/>
                </a:lnTo>
                <a:lnTo>
                  <a:pt x="42" y="212"/>
                </a:lnTo>
                <a:lnTo>
                  <a:pt x="36" y="204"/>
                </a:lnTo>
                <a:lnTo>
                  <a:pt x="36" y="190"/>
                </a:lnTo>
                <a:lnTo>
                  <a:pt x="38" y="176"/>
                </a:lnTo>
                <a:lnTo>
                  <a:pt x="34" y="166"/>
                </a:lnTo>
                <a:lnTo>
                  <a:pt x="26" y="158"/>
                </a:lnTo>
                <a:lnTo>
                  <a:pt x="14" y="138"/>
                </a:lnTo>
                <a:lnTo>
                  <a:pt x="0" y="12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44" name="Freeform 224">
            <a:extLst>
              <a:ext uri="{FF2B5EF4-FFF2-40B4-BE49-F238E27FC236}">
                <a16:creationId xmlns:a16="http://schemas.microsoft.com/office/drawing/2014/main" id="{D146716E-712B-D329-1F35-5C0059C3CEC9}"/>
              </a:ext>
            </a:extLst>
          </p:cNvPr>
          <p:cNvSpPr>
            <a:spLocks/>
          </p:cNvSpPr>
          <p:nvPr/>
        </p:nvSpPr>
        <p:spPr bwMode="auto">
          <a:xfrm>
            <a:off x="8257118" y="4277785"/>
            <a:ext cx="249767" cy="463551"/>
          </a:xfrm>
          <a:custGeom>
            <a:avLst/>
            <a:gdLst>
              <a:gd name="T0" fmla="*/ 2147483647 w 130"/>
              <a:gd name="T1" fmla="*/ 2147483647 h 240"/>
              <a:gd name="T2" fmla="*/ 2147483647 w 130"/>
              <a:gd name="T3" fmla="*/ 2147483647 h 240"/>
              <a:gd name="T4" fmla="*/ 2147483647 w 130"/>
              <a:gd name="T5" fmla="*/ 2147483647 h 240"/>
              <a:gd name="T6" fmla="*/ 2147483647 w 130"/>
              <a:gd name="T7" fmla="*/ 2147483647 h 240"/>
              <a:gd name="T8" fmla="*/ 2147483647 w 130"/>
              <a:gd name="T9" fmla="*/ 2147483647 h 240"/>
              <a:gd name="T10" fmla="*/ 2147483647 w 130"/>
              <a:gd name="T11" fmla="*/ 2147483647 h 240"/>
              <a:gd name="T12" fmla="*/ 2147483647 w 130"/>
              <a:gd name="T13" fmla="*/ 2147483647 h 240"/>
              <a:gd name="T14" fmla="*/ 2147483647 w 130"/>
              <a:gd name="T15" fmla="*/ 2147483647 h 240"/>
              <a:gd name="T16" fmla="*/ 2147483647 w 130"/>
              <a:gd name="T17" fmla="*/ 2147483647 h 240"/>
              <a:gd name="T18" fmla="*/ 2147483647 w 130"/>
              <a:gd name="T19" fmla="*/ 2147483647 h 240"/>
              <a:gd name="T20" fmla="*/ 2147483647 w 130"/>
              <a:gd name="T21" fmla="*/ 2147483647 h 240"/>
              <a:gd name="T22" fmla="*/ 2147483647 w 130"/>
              <a:gd name="T23" fmla="*/ 2147483647 h 240"/>
              <a:gd name="T24" fmla="*/ 2147483647 w 130"/>
              <a:gd name="T25" fmla="*/ 2147483647 h 240"/>
              <a:gd name="T26" fmla="*/ 2147483647 w 130"/>
              <a:gd name="T27" fmla="*/ 2147483647 h 240"/>
              <a:gd name="T28" fmla="*/ 2147483647 w 130"/>
              <a:gd name="T29" fmla="*/ 2147483647 h 240"/>
              <a:gd name="T30" fmla="*/ 2147483647 w 130"/>
              <a:gd name="T31" fmla="*/ 2147483647 h 240"/>
              <a:gd name="T32" fmla="*/ 2147483647 w 130"/>
              <a:gd name="T33" fmla="*/ 2147483647 h 240"/>
              <a:gd name="T34" fmla="*/ 2147483647 w 130"/>
              <a:gd name="T35" fmla="*/ 2147483647 h 240"/>
              <a:gd name="T36" fmla="*/ 2147483647 w 130"/>
              <a:gd name="T37" fmla="*/ 2147483647 h 240"/>
              <a:gd name="T38" fmla="*/ 2147483647 w 130"/>
              <a:gd name="T39" fmla="*/ 2147483647 h 240"/>
              <a:gd name="T40" fmla="*/ 2147483647 w 130"/>
              <a:gd name="T41" fmla="*/ 2147483647 h 240"/>
              <a:gd name="T42" fmla="*/ 2147483647 w 130"/>
              <a:gd name="T43" fmla="*/ 2147483647 h 240"/>
              <a:gd name="T44" fmla="*/ 2147483647 w 130"/>
              <a:gd name="T45" fmla="*/ 2147483647 h 240"/>
              <a:gd name="T46" fmla="*/ 2147483647 w 130"/>
              <a:gd name="T47" fmla="*/ 2147483647 h 240"/>
              <a:gd name="T48" fmla="*/ 2147483647 w 130"/>
              <a:gd name="T49" fmla="*/ 2147483647 h 240"/>
              <a:gd name="T50" fmla="*/ 2147483647 w 130"/>
              <a:gd name="T51" fmla="*/ 2147483647 h 240"/>
              <a:gd name="T52" fmla="*/ 2147483647 w 130"/>
              <a:gd name="T53" fmla="*/ 2147483647 h 240"/>
              <a:gd name="T54" fmla="*/ 2147483647 w 130"/>
              <a:gd name="T55" fmla="*/ 2147483647 h 240"/>
              <a:gd name="T56" fmla="*/ 2147483647 w 130"/>
              <a:gd name="T57" fmla="*/ 2147483647 h 240"/>
              <a:gd name="T58" fmla="*/ 2147483647 w 130"/>
              <a:gd name="T59" fmla="*/ 2147483647 h 240"/>
              <a:gd name="T60" fmla="*/ 2147483647 w 130"/>
              <a:gd name="T61" fmla="*/ 2147483647 h 240"/>
              <a:gd name="T62" fmla="*/ 2147483647 w 130"/>
              <a:gd name="T63" fmla="*/ 2147483647 h 24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30"/>
              <a:gd name="T97" fmla="*/ 0 h 240"/>
              <a:gd name="T98" fmla="*/ 130 w 130"/>
              <a:gd name="T99" fmla="*/ 240 h 240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30" h="240">
                <a:moveTo>
                  <a:pt x="34" y="214"/>
                </a:moveTo>
                <a:lnTo>
                  <a:pt x="20" y="198"/>
                </a:lnTo>
                <a:lnTo>
                  <a:pt x="12" y="194"/>
                </a:lnTo>
                <a:lnTo>
                  <a:pt x="14" y="174"/>
                </a:lnTo>
                <a:lnTo>
                  <a:pt x="16" y="162"/>
                </a:lnTo>
                <a:lnTo>
                  <a:pt x="28" y="152"/>
                </a:lnTo>
                <a:lnTo>
                  <a:pt x="32" y="140"/>
                </a:lnTo>
                <a:lnTo>
                  <a:pt x="26" y="130"/>
                </a:lnTo>
                <a:lnTo>
                  <a:pt x="26" y="114"/>
                </a:lnTo>
                <a:lnTo>
                  <a:pt x="18" y="102"/>
                </a:lnTo>
                <a:lnTo>
                  <a:pt x="12" y="94"/>
                </a:lnTo>
                <a:lnTo>
                  <a:pt x="20" y="74"/>
                </a:lnTo>
                <a:lnTo>
                  <a:pt x="14" y="58"/>
                </a:lnTo>
                <a:lnTo>
                  <a:pt x="4" y="50"/>
                </a:lnTo>
                <a:lnTo>
                  <a:pt x="0" y="30"/>
                </a:lnTo>
                <a:lnTo>
                  <a:pt x="4" y="24"/>
                </a:lnTo>
                <a:lnTo>
                  <a:pt x="4" y="12"/>
                </a:lnTo>
                <a:lnTo>
                  <a:pt x="22" y="10"/>
                </a:lnTo>
                <a:lnTo>
                  <a:pt x="36" y="0"/>
                </a:lnTo>
                <a:lnTo>
                  <a:pt x="48" y="6"/>
                </a:lnTo>
                <a:lnTo>
                  <a:pt x="48" y="14"/>
                </a:lnTo>
                <a:lnTo>
                  <a:pt x="56" y="16"/>
                </a:lnTo>
                <a:lnTo>
                  <a:pt x="60" y="30"/>
                </a:lnTo>
                <a:lnTo>
                  <a:pt x="56" y="34"/>
                </a:lnTo>
                <a:lnTo>
                  <a:pt x="56" y="48"/>
                </a:lnTo>
                <a:lnTo>
                  <a:pt x="68" y="42"/>
                </a:lnTo>
                <a:lnTo>
                  <a:pt x="76" y="36"/>
                </a:lnTo>
                <a:lnTo>
                  <a:pt x="88" y="40"/>
                </a:lnTo>
                <a:lnTo>
                  <a:pt x="100" y="32"/>
                </a:lnTo>
                <a:lnTo>
                  <a:pt x="116" y="50"/>
                </a:lnTo>
                <a:lnTo>
                  <a:pt x="120" y="66"/>
                </a:lnTo>
                <a:lnTo>
                  <a:pt x="130" y="76"/>
                </a:lnTo>
                <a:lnTo>
                  <a:pt x="130" y="86"/>
                </a:lnTo>
                <a:lnTo>
                  <a:pt x="126" y="98"/>
                </a:lnTo>
                <a:lnTo>
                  <a:pt x="86" y="100"/>
                </a:lnTo>
                <a:lnTo>
                  <a:pt x="78" y="112"/>
                </a:lnTo>
                <a:lnTo>
                  <a:pt x="78" y="120"/>
                </a:lnTo>
                <a:lnTo>
                  <a:pt x="82" y="130"/>
                </a:lnTo>
                <a:lnTo>
                  <a:pt x="86" y="140"/>
                </a:lnTo>
                <a:lnTo>
                  <a:pt x="84" y="144"/>
                </a:lnTo>
                <a:lnTo>
                  <a:pt x="72" y="128"/>
                </a:lnTo>
                <a:lnTo>
                  <a:pt x="56" y="126"/>
                </a:lnTo>
                <a:lnTo>
                  <a:pt x="56" y="116"/>
                </a:lnTo>
                <a:lnTo>
                  <a:pt x="44" y="116"/>
                </a:lnTo>
                <a:lnTo>
                  <a:pt x="40" y="120"/>
                </a:lnTo>
                <a:lnTo>
                  <a:pt x="40" y="132"/>
                </a:lnTo>
                <a:lnTo>
                  <a:pt x="38" y="140"/>
                </a:lnTo>
                <a:lnTo>
                  <a:pt x="32" y="154"/>
                </a:lnTo>
                <a:lnTo>
                  <a:pt x="28" y="162"/>
                </a:lnTo>
                <a:lnTo>
                  <a:pt x="24" y="178"/>
                </a:lnTo>
                <a:lnTo>
                  <a:pt x="30" y="182"/>
                </a:lnTo>
                <a:lnTo>
                  <a:pt x="40" y="186"/>
                </a:lnTo>
                <a:lnTo>
                  <a:pt x="42" y="192"/>
                </a:lnTo>
                <a:lnTo>
                  <a:pt x="46" y="210"/>
                </a:lnTo>
                <a:lnTo>
                  <a:pt x="52" y="218"/>
                </a:lnTo>
                <a:lnTo>
                  <a:pt x="64" y="222"/>
                </a:lnTo>
                <a:lnTo>
                  <a:pt x="72" y="230"/>
                </a:lnTo>
                <a:lnTo>
                  <a:pt x="68" y="234"/>
                </a:lnTo>
                <a:lnTo>
                  <a:pt x="66" y="240"/>
                </a:lnTo>
                <a:lnTo>
                  <a:pt x="56" y="238"/>
                </a:lnTo>
                <a:lnTo>
                  <a:pt x="58" y="230"/>
                </a:lnTo>
                <a:lnTo>
                  <a:pt x="52" y="226"/>
                </a:lnTo>
                <a:lnTo>
                  <a:pt x="42" y="224"/>
                </a:lnTo>
                <a:lnTo>
                  <a:pt x="34" y="21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45" name="Freeform 225">
            <a:extLst>
              <a:ext uri="{FF2B5EF4-FFF2-40B4-BE49-F238E27FC236}">
                <a16:creationId xmlns:a16="http://schemas.microsoft.com/office/drawing/2014/main" id="{A745A852-1553-14E4-D227-5422B5014C4B}"/>
              </a:ext>
            </a:extLst>
          </p:cNvPr>
          <p:cNvSpPr>
            <a:spLocks/>
          </p:cNvSpPr>
          <p:nvPr/>
        </p:nvSpPr>
        <p:spPr bwMode="auto">
          <a:xfrm>
            <a:off x="8335433" y="4711700"/>
            <a:ext cx="135467" cy="154517"/>
          </a:xfrm>
          <a:custGeom>
            <a:avLst/>
            <a:gdLst>
              <a:gd name="T0" fmla="*/ 0 w 64"/>
              <a:gd name="T1" fmla="*/ 0 h 82"/>
              <a:gd name="T2" fmla="*/ 2147483647 w 64"/>
              <a:gd name="T3" fmla="*/ 2147483647 h 82"/>
              <a:gd name="T4" fmla="*/ 2147483647 w 64"/>
              <a:gd name="T5" fmla="*/ 2147483647 h 82"/>
              <a:gd name="T6" fmla="*/ 2147483647 w 64"/>
              <a:gd name="T7" fmla="*/ 2147483647 h 82"/>
              <a:gd name="T8" fmla="*/ 2147483647 w 64"/>
              <a:gd name="T9" fmla="*/ 2147483647 h 82"/>
              <a:gd name="T10" fmla="*/ 2147483647 w 64"/>
              <a:gd name="T11" fmla="*/ 2147483647 h 82"/>
              <a:gd name="T12" fmla="*/ 2147483647 w 64"/>
              <a:gd name="T13" fmla="*/ 2147483647 h 82"/>
              <a:gd name="T14" fmla="*/ 2147483647 w 64"/>
              <a:gd name="T15" fmla="*/ 2147483647 h 82"/>
              <a:gd name="T16" fmla="*/ 2147483647 w 64"/>
              <a:gd name="T17" fmla="*/ 2147483647 h 82"/>
              <a:gd name="T18" fmla="*/ 2147483647 w 64"/>
              <a:gd name="T19" fmla="*/ 2147483647 h 82"/>
              <a:gd name="T20" fmla="*/ 2147483647 w 64"/>
              <a:gd name="T21" fmla="*/ 2147483647 h 82"/>
              <a:gd name="T22" fmla="*/ 2147483647 w 64"/>
              <a:gd name="T23" fmla="*/ 2147483647 h 82"/>
              <a:gd name="T24" fmla="*/ 2147483647 w 64"/>
              <a:gd name="T25" fmla="*/ 2147483647 h 82"/>
              <a:gd name="T26" fmla="*/ 2147483647 w 64"/>
              <a:gd name="T27" fmla="*/ 2147483647 h 82"/>
              <a:gd name="T28" fmla="*/ 2147483647 w 64"/>
              <a:gd name="T29" fmla="*/ 2147483647 h 82"/>
              <a:gd name="T30" fmla="*/ 2147483647 w 64"/>
              <a:gd name="T31" fmla="*/ 2147483647 h 82"/>
              <a:gd name="T32" fmla="*/ 2147483647 w 64"/>
              <a:gd name="T33" fmla="*/ 2147483647 h 82"/>
              <a:gd name="T34" fmla="*/ 2147483647 w 64"/>
              <a:gd name="T35" fmla="*/ 2147483647 h 82"/>
              <a:gd name="T36" fmla="*/ 2147483647 w 64"/>
              <a:gd name="T37" fmla="*/ 2147483647 h 82"/>
              <a:gd name="T38" fmla="*/ 2147483647 w 64"/>
              <a:gd name="T39" fmla="*/ 2147483647 h 82"/>
              <a:gd name="T40" fmla="*/ 2147483647 w 64"/>
              <a:gd name="T41" fmla="*/ 2147483647 h 82"/>
              <a:gd name="T42" fmla="*/ 0 w 64"/>
              <a:gd name="T43" fmla="*/ 0 h 82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64"/>
              <a:gd name="T67" fmla="*/ 0 h 82"/>
              <a:gd name="T68" fmla="*/ 64 w 64"/>
              <a:gd name="T69" fmla="*/ 82 h 82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64" h="82">
                <a:moveTo>
                  <a:pt x="0" y="0"/>
                </a:moveTo>
                <a:lnTo>
                  <a:pt x="10" y="2"/>
                </a:lnTo>
                <a:lnTo>
                  <a:pt x="16" y="6"/>
                </a:lnTo>
                <a:lnTo>
                  <a:pt x="14" y="14"/>
                </a:lnTo>
                <a:lnTo>
                  <a:pt x="24" y="16"/>
                </a:lnTo>
                <a:lnTo>
                  <a:pt x="26" y="10"/>
                </a:lnTo>
                <a:lnTo>
                  <a:pt x="30" y="6"/>
                </a:lnTo>
                <a:lnTo>
                  <a:pt x="40" y="14"/>
                </a:lnTo>
                <a:lnTo>
                  <a:pt x="52" y="30"/>
                </a:lnTo>
                <a:lnTo>
                  <a:pt x="52" y="40"/>
                </a:lnTo>
                <a:lnTo>
                  <a:pt x="54" y="62"/>
                </a:lnTo>
                <a:lnTo>
                  <a:pt x="60" y="70"/>
                </a:lnTo>
                <a:lnTo>
                  <a:pt x="64" y="78"/>
                </a:lnTo>
                <a:lnTo>
                  <a:pt x="64" y="82"/>
                </a:lnTo>
                <a:lnTo>
                  <a:pt x="54" y="82"/>
                </a:lnTo>
                <a:lnTo>
                  <a:pt x="36" y="72"/>
                </a:lnTo>
                <a:lnTo>
                  <a:pt x="16" y="60"/>
                </a:lnTo>
                <a:lnTo>
                  <a:pt x="18" y="52"/>
                </a:lnTo>
                <a:lnTo>
                  <a:pt x="10" y="42"/>
                </a:lnTo>
                <a:lnTo>
                  <a:pt x="4" y="26"/>
                </a:lnTo>
                <a:lnTo>
                  <a:pt x="4" y="10"/>
                </a:lnTo>
                <a:lnTo>
                  <a:pt x="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46" name="Freeform 226">
            <a:extLst>
              <a:ext uri="{FF2B5EF4-FFF2-40B4-BE49-F238E27FC236}">
                <a16:creationId xmlns:a16="http://schemas.microsoft.com/office/drawing/2014/main" id="{57856EBD-3143-A933-4360-663208E4A015}"/>
              </a:ext>
            </a:extLst>
          </p:cNvPr>
          <p:cNvSpPr>
            <a:spLocks/>
          </p:cNvSpPr>
          <p:nvPr/>
        </p:nvSpPr>
        <p:spPr bwMode="auto">
          <a:xfrm>
            <a:off x="8633884" y="4703234"/>
            <a:ext cx="298451" cy="184151"/>
          </a:xfrm>
          <a:custGeom>
            <a:avLst/>
            <a:gdLst>
              <a:gd name="T0" fmla="*/ 0 w 154"/>
              <a:gd name="T1" fmla="*/ 2147483647 h 94"/>
              <a:gd name="T2" fmla="*/ 2147483647 w 154"/>
              <a:gd name="T3" fmla="*/ 2147483647 h 94"/>
              <a:gd name="T4" fmla="*/ 2147483647 w 154"/>
              <a:gd name="T5" fmla="*/ 2147483647 h 94"/>
              <a:gd name="T6" fmla="*/ 2147483647 w 154"/>
              <a:gd name="T7" fmla="*/ 2147483647 h 94"/>
              <a:gd name="T8" fmla="*/ 2147483647 w 154"/>
              <a:gd name="T9" fmla="*/ 2147483647 h 94"/>
              <a:gd name="T10" fmla="*/ 2147483647 w 154"/>
              <a:gd name="T11" fmla="*/ 2147483647 h 94"/>
              <a:gd name="T12" fmla="*/ 2147483647 w 154"/>
              <a:gd name="T13" fmla="*/ 2147483647 h 94"/>
              <a:gd name="T14" fmla="*/ 2147483647 w 154"/>
              <a:gd name="T15" fmla="*/ 2147483647 h 94"/>
              <a:gd name="T16" fmla="*/ 2147483647 w 154"/>
              <a:gd name="T17" fmla="*/ 2147483647 h 94"/>
              <a:gd name="T18" fmla="*/ 2147483647 w 154"/>
              <a:gd name="T19" fmla="*/ 2147483647 h 94"/>
              <a:gd name="T20" fmla="*/ 2147483647 w 154"/>
              <a:gd name="T21" fmla="*/ 2147483647 h 94"/>
              <a:gd name="T22" fmla="*/ 2147483647 w 154"/>
              <a:gd name="T23" fmla="*/ 2147483647 h 94"/>
              <a:gd name="T24" fmla="*/ 2147483647 w 154"/>
              <a:gd name="T25" fmla="*/ 2147483647 h 94"/>
              <a:gd name="T26" fmla="*/ 2147483647 w 154"/>
              <a:gd name="T27" fmla="*/ 2147483647 h 94"/>
              <a:gd name="T28" fmla="*/ 2147483647 w 154"/>
              <a:gd name="T29" fmla="*/ 2147483647 h 94"/>
              <a:gd name="T30" fmla="*/ 2147483647 w 154"/>
              <a:gd name="T31" fmla="*/ 2147483647 h 94"/>
              <a:gd name="T32" fmla="*/ 2147483647 w 154"/>
              <a:gd name="T33" fmla="*/ 2147483647 h 94"/>
              <a:gd name="T34" fmla="*/ 2147483647 w 154"/>
              <a:gd name="T35" fmla="*/ 2147483647 h 94"/>
              <a:gd name="T36" fmla="*/ 2147483647 w 154"/>
              <a:gd name="T37" fmla="*/ 2147483647 h 94"/>
              <a:gd name="T38" fmla="*/ 2147483647 w 154"/>
              <a:gd name="T39" fmla="*/ 2147483647 h 94"/>
              <a:gd name="T40" fmla="*/ 2147483647 w 154"/>
              <a:gd name="T41" fmla="*/ 2147483647 h 94"/>
              <a:gd name="T42" fmla="*/ 2147483647 w 154"/>
              <a:gd name="T43" fmla="*/ 2147483647 h 94"/>
              <a:gd name="T44" fmla="*/ 2147483647 w 154"/>
              <a:gd name="T45" fmla="*/ 2147483647 h 94"/>
              <a:gd name="T46" fmla="*/ 2147483647 w 154"/>
              <a:gd name="T47" fmla="*/ 2147483647 h 94"/>
              <a:gd name="T48" fmla="*/ 2147483647 w 154"/>
              <a:gd name="T49" fmla="*/ 0 h 94"/>
              <a:gd name="T50" fmla="*/ 2147483647 w 154"/>
              <a:gd name="T51" fmla="*/ 2147483647 h 94"/>
              <a:gd name="T52" fmla="*/ 2147483647 w 154"/>
              <a:gd name="T53" fmla="*/ 2147483647 h 94"/>
              <a:gd name="T54" fmla="*/ 2147483647 w 154"/>
              <a:gd name="T55" fmla="*/ 2147483647 h 94"/>
              <a:gd name="T56" fmla="*/ 2147483647 w 154"/>
              <a:gd name="T57" fmla="*/ 2147483647 h 94"/>
              <a:gd name="T58" fmla="*/ 2147483647 w 154"/>
              <a:gd name="T59" fmla="*/ 2147483647 h 94"/>
              <a:gd name="T60" fmla="*/ 2147483647 w 154"/>
              <a:gd name="T61" fmla="*/ 2147483647 h 94"/>
              <a:gd name="T62" fmla="*/ 2147483647 w 154"/>
              <a:gd name="T63" fmla="*/ 2147483647 h 94"/>
              <a:gd name="T64" fmla="*/ 2147483647 w 154"/>
              <a:gd name="T65" fmla="*/ 2147483647 h 94"/>
              <a:gd name="T66" fmla="*/ 2147483647 w 154"/>
              <a:gd name="T67" fmla="*/ 2147483647 h 94"/>
              <a:gd name="T68" fmla="*/ 2147483647 w 154"/>
              <a:gd name="T69" fmla="*/ 2147483647 h 94"/>
              <a:gd name="T70" fmla="*/ 2147483647 w 154"/>
              <a:gd name="T71" fmla="*/ 2147483647 h 94"/>
              <a:gd name="T72" fmla="*/ 2147483647 w 154"/>
              <a:gd name="T73" fmla="*/ 2147483647 h 94"/>
              <a:gd name="T74" fmla="*/ 2147483647 w 154"/>
              <a:gd name="T75" fmla="*/ 2147483647 h 94"/>
              <a:gd name="T76" fmla="*/ 2147483647 w 154"/>
              <a:gd name="T77" fmla="*/ 2147483647 h 94"/>
              <a:gd name="T78" fmla="*/ 2147483647 w 154"/>
              <a:gd name="T79" fmla="*/ 2147483647 h 94"/>
              <a:gd name="T80" fmla="*/ 2147483647 w 154"/>
              <a:gd name="T81" fmla="*/ 2147483647 h 94"/>
              <a:gd name="T82" fmla="*/ 2147483647 w 154"/>
              <a:gd name="T83" fmla="*/ 2147483647 h 94"/>
              <a:gd name="T84" fmla="*/ 2147483647 w 154"/>
              <a:gd name="T85" fmla="*/ 2147483647 h 94"/>
              <a:gd name="T86" fmla="*/ 2147483647 w 154"/>
              <a:gd name="T87" fmla="*/ 2147483647 h 94"/>
              <a:gd name="T88" fmla="*/ 2147483647 w 154"/>
              <a:gd name="T89" fmla="*/ 2147483647 h 94"/>
              <a:gd name="T90" fmla="*/ 2147483647 w 154"/>
              <a:gd name="T91" fmla="*/ 2147483647 h 94"/>
              <a:gd name="T92" fmla="*/ 0 w 154"/>
              <a:gd name="T93" fmla="*/ 2147483647 h 9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54"/>
              <a:gd name="T142" fmla="*/ 0 h 94"/>
              <a:gd name="T143" fmla="*/ 154 w 154"/>
              <a:gd name="T144" fmla="*/ 94 h 9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54" h="94">
                <a:moveTo>
                  <a:pt x="0" y="84"/>
                </a:moveTo>
                <a:lnTo>
                  <a:pt x="10" y="94"/>
                </a:lnTo>
                <a:lnTo>
                  <a:pt x="22" y="94"/>
                </a:lnTo>
                <a:lnTo>
                  <a:pt x="30" y="92"/>
                </a:lnTo>
                <a:lnTo>
                  <a:pt x="44" y="86"/>
                </a:lnTo>
                <a:lnTo>
                  <a:pt x="52" y="84"/>
                </a:lnTo>
                <a:lnTo>
                  <a:pt x="60" y="92"/>
                </a:lnTo>
                <a:lnTo>
                  <a:pt x="72" y="86"/>
                </a:lnTo>
                <a:lnTo>
                  <a:pt x="84" y="74"/>
                </a:lnTo>
                <a:lnTo>
                  <a:pt x="94" y="56"/>
                </a:lnTo>
                <a:lnTo>
                  <a:pt x="96" y="44"/>
                </a:lnTo>
                <a:lnTo>
                  <a:pt x="102" y="40"/>
                </a:lnTo>
                <a:lnTo>
                  <a:pt x="118" y="38"/>
                </a:lnTo>
                <a:lnTo>
                  <a:pt x="126" y="44"/>
                </a:lnTo>
                <a:lnTo>
                  <a:pt x="138" y="44"/>
                </a:lnTo>
                <a:lnTo>
                  <a:pt x="142" y="40"/>
                </a:lnTo>
                <a:lnTo>
                  <a:pt x="134" y="34"/>
                </a:lnTo>
                <a:lnTo>
                  <a:pt x="140" y="30"/>
                </a:lnTo>
                <a:lnTo>
                  <a:pt x="148" y="30"/>
                </a:lnTo>
                <a:lnTo>
                  <a:pt x="154" y="28"/>
                </a:lnTo>
                <a:lnTo>
                  <a:pt x="140" y="20"/>
                </a:lnTo>
                <a:lnTo>
                  <a:pt x="132" y="16"/>
                </a:lnTo>
                <a:lnTo>
                  <a:pt x="124" y="8"/>
                </a:lnTo>
                <a:lnTo>
                  <a:pt x="120" y="2"/>
                </a:lnTo>
                <a:lnTo>
                  <a:pt x="110" y="0"/>
                </a:lnTo>
                <a:lnTo>
                  <a:pt x="102" y="10"/>
                </a:lnTo>
                <a:lnTo>
                  <a:pt x="96" y="18"/>
                </a:lnTo>
                <a:lnTo>
                  <a:pt x="92" y="22"/>
                </a:lnTo>
                <a:lnTo>
                  <a:pt x="88" y="28"/>
                </a:lnTo>
                <a:lnTo>
                  <a:pt x="98" y="36"/>
                </a:lnTo>
                <a:lnTo>
                  <a:pt x="94" y="40"/>
                </a:lnTo>
                <a:lnTo>
                  <a:pt x="88" y="36"/>
                </a:lnTo>
                <a:lnTo>
                  <a:pt x="84" y="38"/>
                </a:lnTo>
                <a:lnTo>
                  <a:pt x="82" y="46"/>
                </a:lnTo>
                <a:lnTo>
                  <a:pt x="76" y="46"/>
                </a:lnTo>
                <a:lnTo>
                  <a:pt x="68" y="40"/>
                </a:lnTo>
                <a:lnTo>
                  <a:pt x="60" y="54"/>
                </a:lnTo>
                <a:lnTo>
                  <a:pt x="52" y="64"/>
                </a:lnTo>
                <a:lnTo>
                  <a:pt x="40" y="62"/>
                </a:lnTo>
                <a:lnTo>
                  <a:pt x="28" y="66"/>
                </a:lnTo>
                <a:lnTo>
                  <a:pt x="22" y="78"/>
                </a:lnTo>
                <a:lnTo>
                  <a:pt x="26" y="84"/>
                </a:lnTo>
                <a:lnTo>
                  <a:pt x="28" y="88"/>
                </a:lnTo>
                <a:lnTo>
                  <a:pt x="20" y="92"/>
                </a:lnTo>
                <a:lnTo>
                  <a:pt x="14" y="84"/>
                </a:lnTo>
                <a:lnTo>
                  <a:pt x="10" y="80"/>
                </a:lnTo>
                <a:lnTo>
                  <a:pt x="0" y="8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47" name="Freeform 227">
            <a:extLst>
              <a:ext uri="{FF2B5EF4-FFF2-40B4-BE49-F238E27FC236}">
                <a16:creationId xmlns:a16="http://schemas.microsoft.com/office/drawing/2014/main" id="{BBB09C5E-C64A-C406-E58D-003EE9F530C1}"/>
              </a:ext>
            </a:extLst>
          </p:cNvPr>
          <p:cNvSpPr>
            <a:spLocks/>
          </p:cNvSpPr>
          <p:nvPr/>
        </p:nvSpPr>
        <p:spPr bwMode="auto">
          <a:xfrm>
            <a:off x="8604251" y="4779433"/>
            <a:ext cx="321733" cy="262467"/>
          </a:xfrm>
          <a:custGeom>
            <a:avLst/>
            <a:gdLst>
              <a:gd name="T0" fmla="*/ 2147483647 w 160"/>
              <a:gd name="T1" fmla="*/ 2147483647 h 134"/>
              <a:gd name="T2" fmla="*/ 2147483647 w 160"/>
              <a:gd name="T3" fmla="*/ 2147483647 h 134"/>
              <a:gd name="T4" fmla="*/ 2147483647 w 160"/>
              <a:gd name="T5" fmla="*/ 2147483647 h 134"/>
              <a:gd name="T6" fmla="*/ 2147483647 w 160"/>
              <a:gd name="T7" fmla="*/ 2147483647 h 134"/>
              <a:gd name="T8" fmla="*/ 2147483647 w 160"/>
              <a:gd name="T9" fmla="*/ 2147483647 h 134"/>
              <a:gd name="T10" fmla="*/ 2147483647 w 160"/>
              <a:gd name="T11" fmla="*/ 2147483647 h 134"/>
              <a:gd name="T12" fmla="*/ 2147483647 w 160"/>
              <a:gd name="T13" fmla="*/ 2147483647 h 134"/>
              <a:gd name="T14" fmla="*/ 2147483647 w 160"/>
              <a:gd name="T15" fmla="*/ 2147483647 h 134"/>
              <a:gd name="T16" fmla="*/ 2147483647 w 160"/>
              <a:gd name="T17" fmla="*/ 2147483647 h 134"/>
              <a:gd name="T18" fmla="*/ 2147483647 w 160"/>
              <a:gd name="T19" fmla="*/ 2147483647 h 134"/>
              <a:gd name="T20" fmla="*/ 2147483647 w 160"/>
              <a:gd name="T21" fmla="*/ 2147483647 h 134"/>
              <a:gd name="T22" fmla="*/ 2147483647 w 160"/>
              <a:gd name="T23" fmla="*/ 0 h 134"/>
              <a:gd name="T24" fmla="*/ 2147483647 w 160"/>
              <a:gd name="T25" fmla="*/ 2147483647 h 134"/>
              <a:gd name="T26" fmla="*/ 2147483647 w 160"/>
              <a:gd name="T27" fmla="*/ 2147483647 h 134"/>
              <a:gd name="T28" fmla="*/ 2147483647 w 160"/>
              <a:gd name="T29" fmla="*/ 2147483647 h 134"/>
              <a:gd name="T30" fmla="*/ 2147483647 w 160"/>
              <a:gd name="T31" fmla="*/ 2147483647 h 134"/>
              <a:gd name="T32" fmla="*/ 2147483647 w 160"/>
              <a:gd name="T33" fmla="*/ 2147483647 h 134"/>
              <a:gd name="T34" fmla="*/ 2147483647 w 160"/>
              <a:gd name="T35" fmla="*/ 2147483647 h 134"/>
              <a:gd name="T36" fmla="*/ 2147483647 w 160"/>
              <a:gd name="T37" fmla="*/ 2147483647 h 134"/>
              <a:gd name="T38" fmla="*/ 2147483647 w 160"/>
              <a:gd name="T39" fmla="*/ 2147483647 h 134"/>
              <a:gd name="T40" fmla="*/ 2147483647 w 160"/>
              <a:gd name="T41" fmla="*/ 2147483647 h 134"/>
              <a:gd name="T42" fmla="*/ 2147483647 w 160"/>
              <a:gd name="T43" fmla="*/ 2147483647 h 134"/>
              <a:gd name="T44" fmla="*/ 2147483647 w 160"/>
              <a:gd name="T45" fmla="*/ 2147483647 h 134"/>
              <a:gd name="T46" fmla="*/ 2147483647 w 160"/>
              <a:gd name="T47" fmla="*/ 2147483647 h 134"/>
              <a:gd name="T48" fmla="*/ 2147483647 w 160"/>
              <a:gd name="T49" fmla="*/ 2147483647 h 134"/>
              <a:gd name="T50" fmla="*/ 2147483647 w 160"/>
              <a:gd name="T51" fmla="*/ 2147483647 h 134"/>
              <a:gd name="T52" fmla="*/ 2147483647 w 160"/>
              <a:gd name="T53" fmla="*/ 2147483647 h 134"/>
              <a:gd name="T54" fmla="*/ 2147483647 w 160"/>
              <a:gd name="T55" fmla="*/ 2147483647 h 134"/>
              <a:gd name="T56" fmla="*/ 2147483647 w 160"/>
              <a:gd name="T57" fmla="*/ 2147483647 h 134"/>
              <a:gd name="T58" fmla="*/ 2147483647 w 160"/>
              <a:gd name="T59" fmla="*/ 2147483647 h 134"/>
              <a:gd name="T60" fmla="*/ 2147483647 w 160"/>
              <a:gd name="T61" fmla="*/ 2147483647 h 134"/>
              <a:gd name="T62" fmla="*/ 2147483647 w 160"/>
              <a:gd name="T63" fmla="*/ 2147483647 h 134"/>
              <a:gd name="T64" fmla="*/ 2147483647 w 160"/>
              <a:gd name="T65" fmla="*/ 2147483647 h 134"/>
              <a:gd name="T66" fmla="*/ 2147483647 w 160"/>
              <a:gd name="T67" fmla="*/ 2147483647 h 134"/>
              <a:gd name="T68" fmla="*/ 2147483647 w 160"/>
              <a:gd name="T69" fmla="*/ 2147483647 h 134"/>
              <a:gd name="T70" fmla="*/ 2147483647 w 160"/>
              <a:gd name="T71" fmla="*/ 2147483647 h 134"/>
              <a:gd name="T72" fmla="*/ 2147483647 w 160"/>
              <a:gd name="T73" fmla="*/ 2147483647 h 134"/>
              <a:gd name="T74" fmla="*/ 0 w 160"/>
              <a:gd name="T75" fmla="*/ 2147483647 h 134"/>
              <a:gd name="T76" fmla="*/ 2147483647 w 160"/>
              <a:gd name="T77" fmla="*/ 2147483647 h 134"/>
              <a:gd name="T78" fmla="*/ 2147483647 w 160"/>
              <a:gd name="T79" fmla="*/ 2147483647 h 134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60"/>
              <a:gd name="T121" fmla="*/ 0 h 134"/>
              <a:gd name="T122" fmla="*/ 160 w 160"/>
              <a:gd name="T123" fmla="*/ 134 h 134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60" h="134">
                <a:moveTo>
                  <a:pt x="14" y="46"/>
                </a:moveTo>
                <a:lnTo>
                  <a:pt x="24" y="56"/>
                </a:lnTo>
                <a:lnTo>
                  <a:pt x="36" y="56"/>
                </a:lnTo>
                <a:lnTo>
                  <a:pt x="44" y="54"/>
                </a:lnTo>
                <a:lnTo>
                  <a:pt x="66" y="46"/>
                </a:lnTo>
                <a:lnTo>
                  <a:pt x="74" y="54"/>
                </a:lnTo>
                <a:lnTo>
                  <a:pt x="86" y="48"/>
                </a:lnTo>
                <a:lnTo>
                  <a:pt x="98" y="36"/>
                </a:lnTo>
                <a:lnTo>
                  <a:pt x="108" y="18"/>
                </a:lnTo>
                <a:lnTo>
                  <a:pt x="110" y="6"/>
                </a:lnTo>
                <a:lnTo>
                  <a:pt x="116" y="2"/>
                </a:lnTo>
                <a:lnTo>
                  <a:pt x="132" y="0"/>
                </a:lnTo>
                <a:lnTo>
                  <a:pt x="140" y="6"/>
                </a:lnTo>
                <a:lnTo>
                  <a:pt x="138" y="14"/>
                </a:lnTo>
                <a:lnTo>
                  <a:pt x="132" y="16"/>
                </a:lnTo>
                <a:lnTo>
                  <a:pt x="140" y="26"/>
                </a:lnTo>
                <a:lnTo>
                  <a:pt x="146" y="42"/>
                </a:lnTo>
                <a:lnTo>
                  <a:pt x="150" y="48"/>
                </a:lnTo>
                <a:lnTo>
                  <a:pt x="160" y="56"/>
                </a:lnTo>
                <a:lnTo>
                  <a:pt x="156" y="60"/>
                </a:lnTo>
                <a:lnTo>
                  <a:pt x="144" y="58"/>
                </a:lnTo>
                <a:lnTo>
                  <a:pt x="138" y="64"/>
                </a:lnTo>
                <a:lnTo>
                  <a:pt x="136" y="84"/>
                </a:lnTo>
                <a:lnTo>
                  <a:pt x="120" y="96"/>
                </a:lnTo>
                <a:lnTo>
                  <a:pt x="122" y="112"/>
                </a:lnTo>
                <a:lnTo>
                  <a:pt x="120" y="118"/>
                </a:lnTo>
                <a:lnTo>
                  <a:pt x="118" y="134"/>
                </a:lnTo>
                <a:lnTo>
                  <a:pt x="94" y="132"/>
                </a:lnTo>
                <a:lnTo>
                  <a:pt x="92" y="124"/>
                </a:lnTo>
                <a:lnTo>
                  <a:pt x="64" y="120"/>
                </a:lnTo>
                <a:lnTo>
                  <a:pt x="60" y="126"/>
                </a:lnTo>
                <a:lnTo>
                  <a:pt x="46" y="124"/>
                </a:lnTo>
                <a:lnTo>
                  <a:pt x="44" y="116"/>
                </a:lnTo>
                <a:lnTo>
                  <a:pt x="24" y="116"/>
                </a:lnTo>
                <a:lnTo>
                  <a:pt x="20" y="96"/>
                </a:lnTo>
                <a:lnTo>
                  <a:pt x="12" y="86"/>
                </a:lnTo>
                <a:lnTo>
                  <a:pt x="2" y="66"/>
                </a:lnTo>
                <a:lnTo>
                  <a:pt x="0" y="54"/>
                </a:lnTo>
                <a:lnTo>
                  <a:pt x="6" y="46"/>
                </a:lnTo>
                <a:lnTo>
                  <a:pt x="14" y="4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48" name="Freeform 228">
            <a:extLst>
              <a:ext uri="{FF2B5EF4-FFF2-40B4-BE49-F238E27FC236}">
                <a16:creationId xmlns:a16="http://schemas.microsoft.com/office/drawing/2014/main" id="{9EC7B711-D9D9-1A28-309A-B20A61D25197}"/>
              </a:ext>
            </a:extLst>
          </p:cNvPr>
          <p:cNvSpPr>
            <a:spLocks/>
          </p:cNvSpPr>
          <p:nvPr/>
        </p:nvSpPr>
        <p:spPr bwMode="auto">
          <a:xfrm>
            <a:off x="8178800" y="4749800"/>
            <a:ext cx="338667" cy="349251"/>
          </a:xfrm>
          <a:custGeom>
            <a:avLst/>
            <a:gdLst>
              <a:gd name="T0" fmla="*/ 0 w 172"/>
              <a:gd name="T1" fmla="*/ 0 h 176"/>
              <a:gd name="T2" fmla="*/ 2147483647 w 172"/>
              <a:gd name="T3" fmla="*/ 2147483647 h 176"/>
              <a:gd name="T4" fmla="*/ 2147483647 w 172"/>
              <a:gd name="T5" fmla="*/ 2147483647 h 176"/>
              <a:gd name="T6" fmla="*/ 2147483647 w 172"/>
              <a:gd name="T7" fmla="*/ 2147483647 h 176"/>
              <a:gd name="T8" fmla="*/ 2147483647 w 172"/>
              <a:gd name="T9" fmla="*/ 2147483647 h 176"/>
              <a:gd name="T10" fmla="*/ 2147483647 w 172"/>
              <a:gd name="T11" fmla="*/ 2147483647 h 176"/>
              <a:gd name="T12" fmla="*/ 2147483647 w 172"/>
              <a:gd name="T13" fmla="*/ 2147483647 h 176"/>
              <a:gd name="T14" fmla="*/ 2147483647 w 172"/>
              <a:gd name="T15" fmla="*/ 2147483647 h 176"/>
              <a:gd name="T16" fmla="*/ 2147483647 w 172"/>
              <a:gd name="T17" fmla="*/ 2147483647 h 176"/>
              <a:gd name="T18" fmla="*/ 2147483647 w 172"/>
              <a:gd name="T19" fmla="*/ 2147483647 h 176"/>
              <a:gd name="T20" fmla="*/ 2147483647 w 172"/>
              <a:gd name="T21" fmla="*/ 2147483647 h 176"/>
              <a:gd name="T22" fmla="*/ 2147483647 w 172"/>
              <a:gd name="T23" fmla="*/ 2147483647 h 176"/>
              <a:gd name="T24" fmla="*/ 2147483647 w 172"/>
              <a:gd name="T25" fmla="*/ 2147483647 h 176"/>
              <a:gd name="T26" fmla="*/ 2147483647 w 172"/>
              <a:gd name="T27" fmla="*/ 2147483647 h 176"/>
              <a:gd name="T28" fmla="*/ 2147483647 w 172"/>
              <a:gd name="T29" fmla="*/ 2147483647 h 176"/>
              <a:gd name="T30" fmla="*/ 2147483647 w 172"/>
              <a:gd name="T31" fmla="*/ 2147483647 h 176"/>
              <a:gd name="T32" fmla="*/ 2147483647 w 172"/>
              <a:gd name="T33" fmla="*/ 2147483647 h 176"/>
              <a:gd name="T34" fmla="*/ 2147483647 w 172"/>
              <a:gd name="T35" fmla="*/ 2147483647 h 176"/>
              <a:gd name="T36" fmla="*/ 2147483647 w 172"/>
              <a:gd name="T37" fmla="*/ 2147483647 h 176"/>
              <a:gd name="T38" fmla="*/ 2147483647 w 172"/>
              <a:gd name="T39" fmla="*/ 2147483647 h 176"/>
              <a:gd name="T40" fmla="*/ 2147483647 w 172"/>
              <a:gd name="T41" fmla="*/ 2147483647 h 176"/>
              <a:gd name="T42" fmla="*/ 2147483647 w 172"/>
              <a:gd name="T43" fmla="*/ 2147483647 h 176"/>
              <a:gd name="T44" fmla="*/ 2147483647 w 172"/>
              <a:gd name="T45" fmla="*/ 2147483647 h 176"/>
              <a:gd name="T46" fmla="*/ 2147483647 w 172"/>
              <a:gd name="T47" fmla="*/ 2147483647 h 176"/>
              <a:gd name="T48" fmla="*/ 2147483647 w 172"/>
              <a:gd name="T49" fmla="*/ 2147483647 h 176"/>
              <a:gd name="T50" fmla="*/ 2147483647 w 172"/>
              <a:gd name="T51" fmla="*/ 2147483647 h 176"/>
              <a:gd name="T52" fmla="*/ 2147483647 w 172"/>
              <a:gd name="T53" fmla="*/ 2147483647 h 176"/>
              <a:gd name="T54" fmla="*/ 2147483647 w 172"/>
              <a:gd name="T55" fmla="*/ 2147483647 h 176"/>
              <a:gd name="T56" fmla="*/ 2147483647 w 172"/>
              <a:gd name="T57" fmla="*/ 2147483647 h 176"/>
              <a:gd name="T58" fmla="*/ 2147483647 w 172"/>
              <a:gd name="T59" fmla="*/ 2147483647 h 176"/>
              <a:gd name="T60" fmla="*/ 2147483647 w 172"/>
              <a:gd name="T61" fmla="*/ 2147483647 h 176"/>
              <a:gd name="T62" fmla="*/ 2147483647 w 172"/>
              <a:gd name="T63" fmla="*/ 2147483647 h 176"/>
              <a:gd name="T64" fmla="*/ 2147483647 w 172"/>
              <a:gd name="T65" fmla="*/ 2147483647 h 176"/>
              <a:gd name="T66" fmla="*/ 2147483647 w 172"/>
              <a:gd name="T67" fmla="*/ 2147483647 h 176"/>
              <a:gd name="T68" fmla="*/ 2147483647 w 172"/>
              <a:gd name="T69" fmla="*/ 2147483647 h 176"/>
              <a:gd name="T70" fmla="*/ 0 w 172"/>
              <a:gd name="T71" fmla="*/ 0 h 17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72"/>
              <a:gd name="T109" fmla="*/ 0 h 176"/>
              <a:gd name="T110" fmla="*/ 172 w 172"/>
              <a:gd name="T111" fmla="*/ 176 h 17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72" h="176">
                <a:moveTo>
                  <a:pt x="0" y="0"/>
                </a:moveTo>
                <a:lnTo>
                  <a:pt x="20" y="2"/>
                </a:lnTo>
                <a:lnTo>
                  <a:pt x="38" y="4"/>
                </a:lnTo>
                <a:lnTo>
                  <a:pt x="48" y="18"/>
                </a:lnTo>
                <a:lnTo>
                  <a:pt x="60" y="28"/>
                </a:lnTo>
                <a:lnTo>
                  <a:pt x="72" y="36"/>
                </a:lnTo>
                <a:lnTo>
                  <a:pt x="84" y="50"/>
                </a:lnTo>
                <a:lnTo>
                  <a:pt x="96" y="54"/>
                </a:lnTo>
                <a:lnTo>
                  <a:pt x="108" y="64"/>
                </a:lnTo>
                <a:lnTo>
                  <a:pt x="122" y="78"/>
                </a:lnTo>
                <a:lnTo>
                  <a:pt x="134" y="84"/>
                </a:lnTo>
                <a:lnTo>
                  <a:pt x="134" y="96"/>
                </a:lnTo>
                <a:lnTo>
                  <a:pt x="136" y="102"/>
                </a:lnTo>
                <a:lnTo>
                  <a:pt x="144" y="104"/>
                </a:lnTo>
                <a:lnTo>
                  <a:pt x="152" y="116"/>
                </a:lnTo>
                <a:lnTo>
                  <a:pt x="152" y="124"/>
                </a:lnTo>
                <a:lnTo>
                  <a:pt x="150" y="130"/>
                </a:lnTo>
                <a:lnTo>
                  <a:pt x="160" y="124"/>
                </a:lnTo>
                <a:lnTo>
                  <a:pt x="172" y="130"/>
                </a:lnTo>
                <a:lnTo>
                  <a:pt x="172" y="156"/>
                </a:lnTo>
                <a:lnTo>
                  <a:pt x="170" y="176"/>
                </a:lnTo>
                <a:lnTo>
                  <a:pt x="160" y="174"/>
                </a:lnTo>
                <a:lnTo>
                  <a:pt x="152" y="176"/>
                </a:lnTo>
                <a:lnTo>
                  <a:pt x="142" y="174"/>
                </a:lnTo>
                <a:lnTo>
                  <a:pt x="96" y="128"/>
                </a:lnTo>
                <a:lnTo>
                  <a:pt x="90" y="120"/>
                </a:lnTo>
                <a:lnTo>
                  <a:pt x="86" y="106"/>
                </a:lnTo>
                <a:lnTo>
                  <a:pt x="64" y="80"/>
                </a:lnTo>
                <a:lnTo>
                  <a:pt x="60" y="70"/>
                </a:lnTo>
                <a:lnTo>
                  <a:pt x="60" y="62"/>
                </a:lnTo>
                <a:lnTo>
                  <a:pt x="46" y="50"/>
                </a:lnTo>
                <a:lnTo>
                  <a:pt x="38" y="50"/>
                </a:lnTo>
                <a:lnTo>
                  <a:pt x="38" y="42"/>
                </a:lnTo>
                <a:lnTo>
                  <a:pt x="20" y="22"/>
                </a:lnTo>
                <a:lnTo>
                  <a:pt x="4" y="10"/>
                </a:lnTo>
                <a:lnTo>
                  <a:pt x="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49" name="Freeform 229">
            <a:extLst>
              <a:ext uri="{FF2B5EF4-FFF2-40B4-BE49-F238E27FC236}">
                <a16:creationId xmlns:a16="http://schemas.microsoft.com/office/drawing/2014/main" id="{BADF0B8C-EC54-3C37-401B-153FD9679F46}"/>
              </a:ext>
            </a:extLst>
          </p:cNvPr>
          <p:cNvSpPr>
            <a:spLocks/>
          </p:cNvSpPr>
          <p:nvPr/>
        </p:nvSpPr>
        <p:spPr bwMode="auto">
          <a:xfrm>
            <a:off x="8566152" y="5003800"/>
            <a:ext cx="29633" cy="27517"/>
          </a:xfrm>
          <a:custGeom>
            <a:avLst/>
            <a:gdLst>
              <a:gd name="T0" fmla="*/ 0 w 16"/>
              <a:gd name="T1" fmla="*/ 2147483647 h 14"/>
              <a:gd name="T2" fmla="*/ 2147483647 w 16"/>
              <a:gd name="T3" fmla="*/ 0 h 14"/>
              <a:gd name="T4" fmla="*/ 2147483647 w 16"/>
              <a:gd name="T5" fmla="*/ 2147483647 h 14"/>
              <a:gd name="T6" fmla="*/ 2147483647 w 16"/>
              <a:gd name="T7" fmla="*/ 2147483647 h 14"/>
              <a:gd name="T8" fmla="*/ 2147483647 w 16"/>
              <a:gd name="T9" fmla="*/ 2147483647 h 14"/>
              <a:gd name="T10" fmla="*/ 0 w 16"/>
              <a:gd name="T11" fmla="*/ 2147483647 h 1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6"/>
              <a:gd name="T19" fmla="*/ 0 h 14"/>
              <a:gd name="T20" fmla="*/ 16 w 16"/>
              <a:gd name="T21" fmla="*/ 14 h 1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6" h="14">
                <a:moveTo>
                  <a:pt x="0" y="6"/>
                </a:moveTo>
                <a:lnTo>
                  <a:pt x="6" y="0"/>
                </a:lnTo>
                <a:lnTo>
                  <a:pt x="16" y="4"/>
                </a:lnTo>
                <a:lnTo>
                  <a:pt x="14" y="12"/>
                </a:lnTo>
                <a:lnTo>
                  <a:pt x="6" y="14"/>
                </a:lnTo>
                <a:lnTo>
                  <a:pt x="0" y="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50" name="Freeform 230">
            <a:extLst>
              <a:ext uri="{FF2B5EF4-FFF2-40B4-BE49-F238E27FC236}">
                <a16:creationId xmlns:a16="http://schemas.microsoft.com/office/drawing/2014/main" id="{BEDF4D8E-946A-FFB2-B5D9-19C92F16A934}"/>
              </a:ext>
            </a:extLst>
          </p:cNvPr>
          <p:cNvSpPr>
            <a:spLocks/>
          </p:cNvSpPr>
          <p:nvPr/>
        </p:nvSpPr>
        <p:spPr bwMode="auto">
          <a:xfrm>
            <a:off x="8498418" y="4963584"/>
            <a:ext cx="48684" cy="59267"/>
          </a:xfrm>
          <a:custGeom>
            <a:avLst/>
            <a:gdLst>
              <a:gd name="T0" fmla="*/ 0 w 26"/>
              <a:gd name="T1" fmla="*/ 0 h 28"/>
              <a:gd name="T2" fmla="*/ 2147483647 w 26"/>
              <a:gd name="T3" fmla="*/ 0 h 28"/>
              <a:gd name="T4" fmla="*/ 2147483647 w 26"/>
              <a:gd name="T5" fmla="*/ 2147483647 h 28"/>
              <a:gd name="T6" fmla="*/ 2147483647 w 26"/>
              <a:gd name="T7" fmla="*/ 2147483647 h 28"/>
              <a:gd name="T8" fmla="*/ 2147483647 w 26"/>
              <a:gd name="T9" fmla="*/ 2147483647 h 28"/>
              <a:gd name="T10" fmla="*/ 2147483647 w 26"/>
              <a:gd name="T11" fmla="*/ 2147483647 h 28"/>
              <a:gd name="T12" fmla="*/ 2147483647 w 26"/>
              <a:gd name="T13" fmla="*/ 2147483647 h 28"/>
              <a:gd name="T14" fmla="*/ 2147483647 w 26"/>
              <a:gd name="T15" fmla="*/ 2147483647 h 28"/>
              <a:gd name="T16" fmla="*/ 2147483647 w 26"/>
              <a:gd name="T17" fmla="*/ 2147483647 h 28"/>
              <a:gd name="T18" fmla="*/ 2147483647 w 26"/>
              <a:gd name="T19" fmla="*/ 2147483647 h 28"/>
              <a:gd name="T20" fmla="*/ 0 w 26"/>
              <a:gd name="T21" fmla="*/ 2147483647 h 28"/>
              <a:gd name="T22" fmla="*/ 0 w 26"/>
              <a:gd name="T23" fmla="*/ 0 h 2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6"/>
              <a:gd name="T37" fmla="*/ 0 h 28"/>
              <a:gd name="T38" fmla="*/ 26 w 26"/>
              <a:gd name="T39" fmla="*/ 28 h 2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6" h="28">
                <a:moveTo>
                  <a:pt x="0" y="0"/>
                </a:moveTo>
                <a:lnTo>
                  <a:pt x="12" y="0"/>
                </a:lnTo>
                <a:lnTo>
                  <a:pt x="14" y="10"/>
                </a:lnTo>
                <a:lnTo>
                  <a:pt x="18" y="16"/>
                </a:lnTo>
                <a:lnTo>
                  <a:pt x="24" y="18"/>
                </a:lnTo>
                <a:lnTo>
                  <a:pt x="26" y="26"/>
                </a:lnTo>
                <a:lnTo>
                  <a:pt x="20" y="28"/>
                </a:lnTo>
                <a:lnTo>
                  <a:pt x="14" y="24"/>
                </a:lnTo>
                <a:lnTo>
                  <a:pt x="12" y="16"/>
                </a:lnTo>
                <a:lnTo>
                  <a:pt x="6" y="10"/>
                </a:lnTo>
                <a:lnTo>
                  <a:pt x="0" y="8"/>
                </a:lnTo>
                <a:lnTo>
                  <a:pt x="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51" name="Freeform 231">
            <a:extLst>
              <a:ext uri="{FF2B5EF4-FFF2-40B4-BE49-F238E27FC236}">
                <a16:creationId xmlns:a16="http://schemas.microsoft.com/office/drawing/2014/main" id="{CC707251-97AC-8A86-3861-3A6BA3B17AF3}"/>
              </a:ext>
            </a:extLst>
          </p:cNvPr>
          <p:cNvSpPr>
            <a:spLocks/>
          </p:cNvSpPr>
          <p:nvPr/>
        </p:nvSpPr>
        <p:spPr bwMode="auto">
          <a:xfrm>
            <a:off x="8506885" y="5107518"/>
            <a:ext cx="311151" cy="88900"/>
          </a:xfrm>
          <a:custGeom>
            <a:avLst/>
            <a:gdLst>
              <a:gd name="T0" fmla="*/ 2147483647 w 158"/>
              <a:gd name="T1" fmla="*/ 2147483647 h 44"/>
              <a:gd name="T2" fmla="*/ 2147483647 w 158"/>
              <a:gd name="T3" fmla="*/ 0 h 44"/>
              <a:gd name="T4" fmla="*/ 2147483647 w 158"/>
              <a:gd name="T5" fmla="*/ 2147483647 h 44"/>
              <a:gd name="T6" fmla="*/ 2147483647 w 158"/>
              <a:gd name="T7" fmla="*/ 2147483647 h 44"/>
              <a:gd name="T8" fmla="*/ 2147483647 w 158"/>
              <a:gd name="T9" fmla="*/ 2147483647 h 44"/>
              <a:gd name="T10" fmla="*/ 2147483647 w 158"/>
              <a:gd name="T11" fmla="*/ 2147483647 h 44"/>
              <a:gd name="T12" fmla="*/ 2147483647 w 158"/>
              <a:gd name="T13" fmla="*/ 2147483647 h 44"/>
              <a:gd name="T14" fmla="*/ 2147483647 w 158"/>
              <a:gd name="T15" fmla="*/ 2147483647 h 44"/>
              <a:gd name="T16" fmla="*/ 2147483647 w 158"/>
              <a:gd name="T17" fmla="*/ 2147483647 h 44"/>
              <a:gd name="T18" fmla="*/ 2147483647 w 158"/>
              <a:gd name="T19" fmla="*/ 2147483647 h 44"/>
              <a:gd name="T20" fmla="*/ 2147483647 w 158"/>
              <a:gd name="T21" fmla="*/ 2147483647 h 44"/>
              <a:gd name="T22" fmla="*/ 2147483647 w 158"/>
              <a:gd name="T23" fmla="*/ 2147483647 h 44"/>
              <a:gd name="T24" fmla="*/ 2147483647 w 158"/>
              <a:gd name="T25" fmla="*/ 2147483647 h 44"/>
              <a:gd name="T26" fmla="*/ 2147483647 w 158"/>
              <a:gd name="T27" fmla="*/ 2147483647 h 44"/>
              <a:gd name="T28" fmla="*/ 2147483647 w 158"/>
              <a:gd name="T29" fmla="*/ 2147483647 h 44"/>
              <a:gd name="T30" fmla="*/ 2147483647 w 158"/>
              <a:gd name="T31" fmla="*/ 2147483647 h 44"/>
              <a:gd name="T32" fmla="*/ 2147483647 w 158"/>
              <a:gd name="T33" fmla="*/ 2147483647 h 44"/>
              <a:gd name="T34" fmla="*/ 2147483647 w 158"/>
              <a:gd name="T35" fmla="*/ 2147483647 h 44"/>
              <a:gd name="T36" fmla="*/ 2147483647 w 158"/>
              <a:gd name="T37" fmla="*/ 2147483647 h 44"/>
              <a:gd name="T38" fmla="*/ 2147483647 w 158"/>
              <a:gd name="T39" fmla="*/ 2147483647 h 44"/>
              <a:gd name="T40" fmla="*/ 2147483647 w 158"/>
              <a:gd name="T41" fmla="*/ 2147483647 h 44"/>
              <a:gd name="T42" fmla="*/ 2147483647 w 158"/>
              <a:gd name="T43" fmla="*/ 2147483647 h 44"/>
              <a:gd name="T44" fmla="*/ 2147483647 w 158"/>
              <a:gd name="T45" fmla="*/ 2147483647 h 44"/>
              <a:gd name="T46" fmla="*/ 2147483647 w 158"/>
              <a:gd name="T47" fmla="*/ 2147483647 h 44"/>
              <a:gd name="T48" fmla="*/ 0 w 158"/>
              <a:gd name="T49" fmla="*/ 2147483647 h 44"/>
              <a:gd name="T50" fmla="*/ 2147483647 w 158"/>
              <a:gd name="T51" fmla="*/ 2147483647 h 4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58"/>
              <a:gd name="T79" fmla="*/ 0 h 44"/>
              <a:gd name="T80" fmla="*/ 158 w 158"/>
              <a:gd name="T81" fmla="*/ 44 h 44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58" h="44">
                <a:moveTo>
                  <a:pt x="8" y="2"/>
                </a:moveTo>
                <a:lnTo>
                  <a:pt x="28" y="0"/>
                </a:lnTo>
                <a:lnTo>
                  <a:pt x="46" y="10"/>
                </a:lnTo>
                <a:lnTo>
                  <a:pt x="56" y="14"/>
                </a:lnTo>
                <a:lnTo>
                  <a:pt x="74" y="14"/>
                </a:lnTo>
                <a:lnTo>
                  <a:pt x="84" y="10"/>
                </a:lnTo>
                <a:lnTo>
                  <a:pt x="100" y="10"/>
                </a:lnTo>
                <a:lnTo>
                  <a:pt x="112" y="18"/>
                </a:lnTo>
                <a:lnTo>
                  <a:pt x="114" y="24"/>
                </a:lnTo>
                <a:lnTo>
                  <a:pt x="134" y="26"/>
                </a:lnTo>
                <a:lnTo>
                  <a:pt x="142" y="26"/>
                </a:lnTo>
                <a:lnTo>
                  <a:pt x="144" y="32"/>
                </a:lnTo>
                <a:lnTo>
                  <a:pt x="154" y="36"/>
                </a:lnTo>
                <a:lnTo>
                  <a:pt x="158" y="42"/>
                </a:lnTo>
                <a:lnTo>
                  <a:pt x="144" y="44"/>
                </a:lnTo>
                <a:lnTo>
                  <a:pt x="126" y="40"/>
                </a:lnTo>
                <a:lnTo>
                  <a:pt x="116" y="38"/>
                </a:lnTo>
                <a:lnTo>
                  <a:pt x="108" y="38"/>
                </a:lnTo>
                <a:lnTo>
                  <a:pt x="78" y="36"/>
                </a:lnTo>
                <a:lnTo>
                  <a:pt x="68" y="28"/>
                </a:lnTo>
                <a:lnTo>
                  <a:pt x="36" y="28"/>
                </a:lnTo>
                <a:lnTo>
                  <a:pt x="26" y="24"/>
                </a:lnTo>
                <a:lnTo>
                  <a:pt x="14" y="20"/>
                </a:lnTo>
                <a:lnTo>
                  <a:pt x="10" y="16"/>
                </a:lnTo>
                <a:lnTo>
                  <a:pt x="0" y="10"/>
                </a:lnTo>
                <a:lnTo>
                  <a:pt x="8" y="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52" name="Freeform 232">
            <a:extLst>
              <a:ext uri="{FF2B5EF4-FFF2-40B4-BE49-F238E27FC236}">
                <a16:creationId xmlns:a16="http://schemas.microsoft.com/office/drawing/2014/main" id="{64FC0949-A51D-20E5-2375-D49570754158}"/>
              </a:ext>
            </a:extLst>
          </p:cNvPr>
          <p:cNvSpPr>
            <a:spLocks/>
          </p:cNvSpPr>
          <p:nvPr/>
        </p:nvSpPr>
        <p:spPr bwMode="auto">
          <a:xfrm>
            <a:off x="9067800" y="5175251"/>
            <a:ext cx="118533" cy="78317"/>
          </a:xfrm>
          <a:custGeom>
            <a:avLst/>
            <a:gdLst>
              <a:gd name="T0" fmla="*/ 0 w 56"/>
              <a:gd name="T1" fmla="*/ 2147483647 h 36"/>
              <a:gd name="T2" fmla="*/ 2147483647 w 56"/>
              <a:gd name="T3" fmla="*/ 2147483647 h 36"/>
              <a:gd name="T4" fmla="*/ 2147483647 w 56"/>
              <a:gd name="T5" fmla="*/ 2147483647 h 36"/>
              <a:gd name="T6" fmla="*/ 2147483647 w 56"/>
              <a:gd name="T7" fmla="*/ 2147483647 h 36"/>
              <a:gd name="T8" fmla="*/ 2147483647 w 56"/>
              <a:gd name="T9" fmla="*/ 2147483647 h 36"/>
              <a:gd name="T10" fmla="*/ 2147483647 w 56"/>
              <a:gd name="T11" fmla="*/ 0 h 36"/>
              <a:gd name="T12" fmla="*/ 2147483647 w 56"/>
              <a:gd name="T13" fmla="*/ 2147483647 h 36"/>
              <a:gd name="T14" fmla="*/ 2147483647 w 56"/>
              <a:gd name="T15" fmla="*/ 2147483647 h 36"/>
              <a:gd name="T16" fmla="*/ 2147483647 w 56"/>
              <a:gd name="T17" fmla="*/ 2147483647 h 36"/>
              <a:gd name="T18" fmla="*/ 2147483647 w 56"/>
              <a:gd name="T19" fmla="*/ 2147483647 h 36"/>
              <a:gd name="T20" fmla="*/ 0 w 56"/>
              <a:gd name="T21" fmla="*/ 2147483647 h 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6"/>
              <a:gd name="T34" fmla="*/ 0 h 36"/>
              <a:gd name="T35" fmla="*/ 56 w 56"/>
              <a:gd name="T36" fmla="*/ 36 h 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6" h="36">
                <a:moveTo>
                  <a:pt x="0" y="36"/>
                </a:moveTo>
                <a:lnTo>
                  <a:pt x="18" y="28"/>
                </a:lnTo>
                <a:lnTo>
                  <a:pt x="30" y="18"/>
                </a:lnTo>
                <a:lnTo>
                  <a:pt x="54" y="8"/>
                </a:lnTo>
                <a:lnTo>
                  <a:pt x="56" y="2"/>
                </a:lnTo>
                <a:lnTo>
                  <a:pt x="38" y="0"/>
                </a:lnTo>
                <a:lnTo>
                  <a:pt x="24" y="8"/>
                </a:lnTo>
                <a:lnTo>
                  <a:pt x="14" y="16"/>
                </a:lnTo>
                <a:lnTo>
                  <a:pt x="8" y="18"/>
                </a:lnTo>
                <a:lnTo>
                  <a:pt x="2" y="22"/>
                </a:lnTo>
                <a:lnTo>
                  <a:pt x="0" y="3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53" name="Freeform 233">
            <a:extLst>
              <a:ext uri="{FF2B5EF4-FFF2-40B4-BE49-F238E27FC236}">
                <a16:creationId xmlns:a16="http://schemas.microsoft.com/office/drawing/2014/main" id="{2125CF71-38B6-A5C7-8E7C-5116C64BB1CB}"/>
              </a:ext>
            </a:extLst>
          </p:cNvPr>
          <p:cNvSpPr>
            <a:spLocks/>
          </p:cNvSpPr>
          <p:nvPr/>
        </p:nvSpPr>
        <p:spPr bwMode="auto">
          <a:xfrm>
            <a:off x="8932334" y="5215467"/>
            <a:ext cx="48684" cy="27517"/>
          </a:xfrm>
          <a:custGeom>
            <a:avLst/>
            <a:gdLst>
              <a:gd name="T0" fmla="*/ 2147483647 w 30"/>
              <a:gd name="T1" fmla="*/ 0 h 16"/>
              <a:gd name="T2" fmla="*/ 2147483647 w 30"/>
              <a:gd name="T3" fmla="*/ 0 h 16"/>
              <a:gd name="T4" fmla="*/ 2147483647 w 30"/>
              <a:gd name="T5" fmla="*/ 2147483647 h 16"/>
              <a:gd name="T6" fmla="*/ 2147483647 w 30"/>
              <a:gd name="T7" fmla="*/ 2147483647 h 16"/>
              <a:gd name="T8" fmla="*/ 2147483647 w 30"/>
              <a:gd name="T9" fmla="*/ 2147483647 h 16"/>
              <a:gd name="T10" fmla="*/ 2147483647 w 30"/>
              <a:gd name="T11" fmla="*/ 2147483647 h 16"/>
              <a:gd name="T12" fmla="*/ 2147483647 w 30"/>
              <a:gd name="T13" fmla="*/ 2147483647 h 16"/>
              <a:gd name="T14" fmla="*/ 0 w 30"/>
              <a:gd name="T15" fmla="*/ 2147483647 h 16"/>
              <a:gd name="T16" fmla="*/ 2147483647 w 30"/>
              <a:gd name="T17" fmla="*/ 0 h 1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0"/>
              <a:gd name="T28" fmla="*/ 0 h 16"/>
              <a:gd name="T29" fmla="*/ 30 w 30"/>
              <a:gd name="T30" fmla="*/ 16 h 1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0" h="16">
                <a:moveTo>
                  <a:pt x="2" y="0"/>
                </a:moveTo>
                <a:lnTo>
                  <a:pt x="14" y="0"/>
                </a:lnTo>
                <a:lnTo>
                  <a:pt x="24" y="6"/>
                </a:lnTo>
                <a:lnTo>
                  <a:pt x="30" y="12"/>
                </a:lnTo>
                <a:lnTo>
                  <a:pt x="26" y="16"/>
                </a:lnTo>
                <a:lnTo>
                  <a:pt x="14" y="14"/>
                </a:lnTo>
                <a:lnTo>
                  <a:pt x="4" y="8"/>
                </a:lnTo>
                <a:lnTo>
                  <a:pt x="0" y="4"/>
                </a:lnTo>
                <a:lnTo>
                  <a:pt x="2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54" name="Freeform 234">
            <a:extLst>
              <a:ext uri="{FF2B5EF4-FFF2-40B4-BE49-F238E27FC236}">
                <a16:creationId xmlns:a16="http://schemas.microsoft.com/office/drawing/2014/main" id="{BB37EF67-64CB-9519-BE45-15CA22F75D24}"/>
              </a:ext>
            </a:extLst>
          </p:cNvPr>
          <p:cNvSpPr>
            <a:spLocks/>
          </p:cNvSpPr>
          <p:nvPr/>
        </p:nvSpPr>
        <p:spPr bwMode="auto">
          <a:xfrm>
            <a:off x="8951384" y="5175251"/>
            <a:ext cx="78317" cy="21167"/>
          </a:xfrm>
          <a:custGeom>
            <a:avLst/>
            <a:gdLst>
              <a:gd name="T0" fmla="*/ 0 w 38"/>
              <a:gd name="T1" fmla="*/ 2147483647 h 10"/>
              <a:gd name="T2" fmla="*/ 2147483647 w 38"/>
              <a:gd name="T3" fmla="*/ 2147483647 h 10"/>
              <a:gd name="T4" fmla="*/ 2147483647 w 38"/>
              <a:gd name="T5" fmla="*/ 2147483647 h 10"/>
              <a:gd name="T6" fmla="*/ 2147483647 w 38"/>
              <a:gd name="T7" fmla="*/ 2147483647 h 10"/>
              <a:gd name="T8" fmla="*/ 2147483647 w 38"/>
              <a:gd name="T9" fmla="*/ 2147483647 h 10"/>
              <a:gd name="T10" fmla="*/ 2147483647 w 38"/>
              <a:gd name="T11" fmla="*/ 2147483647 h 10"/>
              <a:gd name="T12" fmla="*/ 2147483647 w 38"/>
              <a:gd name="T13" fmla="*/ 0 h 10"/>
              <a:gd name="T14" fmla="*/ 2147483647 w 38"/>
              <a:gd name="T15" fmla="*/ 2147483647 h 10"/>
              <a:gd name="T16" fmla="*/ 0 w 38"/>
              <a:gd name="T17" fmla="*/ 2147483647 h 1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8"/>
              <a:gd name="T28" fmla="*/ 0 h 10"/>
              <a:gd name="T29" fmla="*/ 38 w 38"/>
              <a:gd name="T30" fmla="*/ 10 h 1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8" h="10">
                <a:moveTo>
                  <a:pt x="0" y="10"/>
                </a:moveTo>
                <a:lnTo>
                  <a:pt x="18" y="10"/>
                </a:lnTo>
                <a:lnTo>
                  <a:pt x="38" y="10"/>
                </a:lnTo>
                <a:lnTo>
                  <a:pt x="38" y="4"/>
                </a:lnTo>
                <a:lnTo>
                  <a:pt x="24" y="4"/>
                </a:lnTo>
                <a:lnTo>
                  <a:pt x="18" y="2"/>
                </a:lnTo>
                <a:lnTo>
                  <a:pt x="8" y="0"/>
                </a:lnTo>
                <a:lnTo>
                  <a:pt x="4" y="2"/>
                </a:lnTo>
                <a:lnTo>
                  <a:pt x="0" y="1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55" name="Freeform 235">
            <a:extLst>
              <a:ext uri="{FF2B5EF4-FFF2-40B4-BE49-F238E27FC236}">
                <a16:creationId xmlns:a16="http://schemas.microsoft.com/office/drawing/2014/main" id="{937052C9-7CFB-F73D-4764-6161A930D2F7}"/>
              </a:ext>
            </a:extLst>
          </p:cNvPr>
          <p:cNvSpPr>
            <a:spLocks/>
          </p:cNvSpPr>
          <p:nvPr/>
        </p:nvSpPr>
        <p:spPr bwMode="auto">
          <a:xfrm>
            <a:off x="8894234" y="5175251"/>
            <a:ext cx="38100" cy="21167"/>
          </a:xfrm>
          <a:custGeom>
            <a:avLst/>
            <a:gdLst>
              <a:gd name="T0" fmla="*/ 0 w 20"/>
              <a:gd name="T1" fmla="*/ 2147483647 h 10"/>
              <a:gd name="T2" fmla="*/ 0 w 20"/>
              <a:gd name="T3" fmla="*/ 2147483647 h 10"/>
              <a:gd name="T4" fmla="*/ 2147483647 w 20"/>
              <a:gd name="T5" fmla="*/ 2147483647 h 10"/>
              <a:gd name="T6" fmla="*/ 2147483647 w 20"/>
              <a:gd name="T7" fmla="*/ 2147483647 h 10"/>
              <a:gd name="T8" fmla="*/ 2147483647 w 20"/>
              <a:gd name="T9" fmla="*/ 0 h 10"/>
              <a:gd name="T10" fmla="*/ 0 w 20"/>
              <a:gd name="T11" fmla="*/ 2147483647 h 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0"/>
              <a:gd name="T19" fmla="*/ 0 h 10"/>
              <a:gd name="T20" fmla="*/ 20 w 20"/>
              <a:gd name="T21" fmla="*/ 10 h 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0" h="10">
                <a:moveTo>
                  <a:pt x="0" y="2"/>
                </a:moveTo>
                <a:lnTo>
                  <a:pt x="0" y="10"/>
                </a:lnTo>
                <a:lnTo>
                  <a:pt x="20" y="10"/>
                </a:lnTo>
                <a:lnTo>
                  <a:pt x="18" y="2"/>
                </a:lnTo>
                <a:lnTo>
                  <a:pt x="8" y="0"/>
                </a:lnTo>
                <a:lnTo>
                  <a:pt x="0" y="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56" name="Freeform 236">
            <a:extLst>
              <a:ext uri="{FF2B5EF4-FFF2-40B4-BE49-F238E27FC236}">
                <a16:creationId xmlns:a16="http://schemas.microsoft.com/office/drawing/2014/main" id="{445F0202-3351-2800-83A1-294F2220D9E7}"/>
              </a:ext>
            </a:extLst>
          </p:cNvPr>
          <p:cNvSpPr>
            <a:spLocks/>
          </p:cNvSpPr>
          <p:nvPr/>
        </p:nvSpPr>
        <p:spPr bwMode="auto">
          <a:xfrm>
            <a:off x="8837085" y="5175252"/>
            <a:ext cx="46567" cy="40217"/>
          </a:xfrm>
          <a:custGeom>
            <a:avLst/>
            <a:gdLst>
              <a:gd name="T0" fmla="*/ 2147483647 w 26"/>
              <a:gd name="T1" fmla="*/ 0 h 18"/>
              <a:gd name="T2" fmla="*/ 2147483647 w 26"/>
              <a:gd name="T3" fmla="*/ 2147483647 h 18"/>
              <a:gd name="T4" fmla="*/ 2147483647 w 26"/>
              <a:gd name="T5" fmla="*/ 2147483647 h 18"/>
              <a:gd name="T6" fmla="*/ 2147483647 w 26"/>
              <a:gd name="T7" fmla="*/ 2147483647 h 18"/>
              <a:gd name="T8" fmla="*/ 2147483647 w 26"/>
              <a:gd name="T9" fmla="*/ 2147483647 h 18"/>
              <a:gd name="T10" fmla="*/ 2147483647 w 26"/>
              <a:gd name="T11" fmla="*/ 2147483647 h 18"/>
              <a:gd name="T12" fmla="*/ 0 w 26"/>
              <a:gd name="T13" fmla="*/ 2147483647 h 18"/>
              <a:gd name="T14" fmla="*/ 2147483647 w 26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6"/>
              <a:gd name="T25" fmla="*/ 0 h 18"/>
              <a:gd name="T26" fmla="*/ 26 w 26"/>
              <a:gd name="T27" fmla="*/ 18 h 1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6" h="18">
                <a:moveTo>
                  <a:pt x="2" y="0"/>
                </a:moveTo>
                <a:lnTo>
                  <a:pt x="14" y="2"/>
                </a:lnTo>
                <a:lnTo>
                  <a:pt x="26" y="4"/>
                </a:lnTo>
                <a:lnTo>
                  <a:pt x="26" y="10"/>
                </a:lnTo>
                <a:lnTo>
                  <a:pt x="24" y="18"/>
                </a:lnTo>
                <a:lnTo>
                  <a:pt x="12" y="14"/>
                </a:lnTo>
                <a:lnTo>
                  <a:pt x="0" y="10"/>
                </a:lnTo>
                <a:lnTo>
                  <a:pt x="2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57" name="Freeform 237">
            <a:extLst>
              <a:ext uri="{FF2B5EF4-FFF2-40B4-BE49-F238E27FC236}">
                <a16:creationId xmlns:a16="http://schemas.microsoft.com/office/drawing/2014/main" id="{413892A5-DFD2-DE86-4E84-FABE79BA8D49}"/>
              </a:ext>
            </a:extLst>
          </p:cNvPr>
          <p:cNvSpPr>
            <a:spLocks/>
          </p:cNvSpPr>
          <p:nvPr/>
        </p:nvSpPr>
        <p:spPr bwMode="auto">
          <a:xfrm>
            <a:off x="8925985" y="4866218"/>
            <a:ext cx="190500" cy="232833"/>
          </a:xfrm>
          <a:custGeom>
            <a:avLst/>
            <a:gdLst>
              <a:gd name="T0" fmla="*/ 2147483647 w 98"/>
              <a:gd name="T1" fmla="*/ 2147483647 h 118"/>
              <a:gd name="T2" fmla="*/ 2147483647 w 98"/>
              <a:gd name="T3" fmla="*/ 2147483647 h 118"/>
              <a:gd name="T4" fmla="*/ 2147483647 w 98"/>
              <a:gd name="T5" fmla="*/ 2147483647 h 118"/>
              <a:gd name="T6" fmla="*/ 2147483647 w 98"/>
              <a:gd name="T7" fmla="*/ 2147483647 h 118"/>
              <a:gd name="T8" fmla="*/ 2147483647 w 98"/>
              <a:gd name="T9" fmla="*/ 2147483647 h 118"/>
              <a:gd name="T10" fmla="*/ 2147483647 w 98"/>
              <a:gd name="T11" fmla="*/ 2147483647 h 118"/>
              <a:gd name="T12" fmla="*/ 2147483647 w 98"/>
              <a:gd name="T13" fmla="*/ 2147483647 h 118"/>
              <a:gd name="T14" fmla="*/ 2147483647 w 98"/>
              <a:gd name="T15" fmla="*/ 2147483647 h 118"/>
              <a:gd name="T16" fmla="*/ 2147483647 w 98"/>
              <a:gd name="T17" fmla="*/ 2147483647 h 118"/>
              <a:gd name="T18" fmla="*/ 2147483647 w 98"/>
              <a:gd name="T19" fmla="*/ 0 h 118"/>
              <a:gd name="T20" fmla="*/ 2147483647 w 98"/>
              <a:gd name="T21" fmla="*/ 2147483647 h 118"/>
              <a:gd name="T22" fmla="*/ 2147483647 w 98"/>
              <a:gd name="T23" fmla="*/ 2147483647 h 118"/>
              <a:gd name="T24" fmla="*/ 2147483647 w 98"/>
              <a:gd name="T25" fmla="*/ 2147483647 h 118"/>
              <a:gd name="T26" fmla="*/ 2147483647 w 98"/>
              <a:gd name="T27" fmla="*/ 2147483647 h 118"/>
              <a:gd name="T28" fmla="*/ 2147483647 w 98"/>
              <a:gd name="T29" fmla="*/ 2147483647 h 118"/>
              <a:gd name="T30" fmla="*/ 2147483647 w 98"/>
              <a:gd name="T31" fmla="*/ 2147483647 h 118"/>
              <a:gd name="T32" fmla="*/ 2147483647 w 98"/>
              <a:gd name="T33" fmla="*/ 2147483647 h 118"/>
              <a:gd name="T34" fmla="*/ 2147483647 w 98"/>
              <a:gd name="T35" fmla="*/ 2147483647 h 118"/>
              <a:gd name="T36" fmla="*/ 2147483647 w 98"/>
              <a:gd name="T37" fmla="*/ 2147483647 h 118"/>
              <a:gd name="T38" fmla="*/ 2147483647 w 98"/>
              <a:gd name="T39" fmla="*/ 2147483647 h 118"/>
              <a:gd name="T40" fmla="*/ 2147483647 w 98"/>
              <a:gd name="T41" fmla="*/ 2147483647 h 118"/>
              <a:gd name="T42" fmla="*/ 2147483647 w 98"/>
              <a:gd name="T43" fmla="*/ 2147483647 h 118"/>
              <a:gd name="T44" fmla="*/ 2147483647 w 98"/>
              <a:gd name="T45" fmla="*/ 2147483647 h 118"/>
              <a:gd name="T46" fmla="*/ 2147483647 w 98"/>
              <a:gd name="T47" fmla="*/ 2147483647 h 118"/>
              <a:gd name="T48" fmla="*/ 2147483647 w 98"/>
              <a:gd name="T49" fmla="*/ 2147483647 h 118"/>
              <a:gd name="T50" fmla="*/ 2147483647 w 98"/>
              <a:gd name="T51" fmla="*/ 2147483647 h 118"/>
              <a:gd name="T52" fmla="*/ 2147483647 w 98"/>
              <a:gd name="T53" fmla="*/ 2147483647 h 118"/>
              <a:gd name="T54" fmla="*/ 2147483647 w 98"/>
              <a:gd name="T55" fmla="*/ 2147483647 h 118"/>
              <a:gd name="T56" fmla="*/ 2147483647 w 98"/>
              <a:gd name="T57" fmla="*/ 2147483647 h 118"/>
              <a:gd name="T58" fmla="*/ 2147483647 w 98"/>
              <a:gd name="T59" fmla="*/ 2147483647 h 118"/>
              <a:gd name="T60" fmla="*/ 2147483647 w 98"/>
              <a:gd name="T61" fmla="*/ 2147483647 h 118"/>
              <a:gd name="T62" fmla="*/ 2147483647 w 98"/>
              <a:gd name="T63" fmla="*/ 2147483647 h 118"/>
              <a:gd name="T64" fmla="*/ 2147483647 w 98"/>
              <a:gd name="T65" fmla="*/ 2147483647 h 118"/>
              <a:gd name="T66" fmla="*/ 2147483647 w 98"/>
              <a:gd name="T67" fmla="*/ 2147483647 h 118"/>
              <a:gd name="T68" fmla="*/ 2147483647 w 98"/>
              <a:gd name="T69" fmla="*/ 2147483647 h 118"/>
              <a:gd name="T70" fmla="*/ 2147483647 w 98"/>
              <a:gd name="T71" fmla="*/ 2147483647 h 118"/>
              <a:gd name="T72" fmla="*/ 2147483647 w 98"/>
              <a:gd name="T73" fmla="*/ 2147483647 h 118"/>
              <a:gd name="T74" fmla="*/ 2147483647 w 98"/>
              <a:gd name="T75" fmla="*/ 2147483647 h 118"/>
              <a:gd name="T76" fmla="*/ 2147483647 w 98"/>
              <a:gd name="T77" fmla="*/ 2147483647 h 118"/>
              <a:gd name="T78" fmla="*/ 2147483647 w 98"/>
              <a:gd name="T79" fmla="*/ 2147483647 h 118"/>
              <a:gd name="T80" fmla="*/ 2147483647 w 98"/>
              <a:gd name="T81" fmla="*/ 2147483647 h 118"/>
              <a:gd name="T82" fmla="*/ 2147483647 w 98"/>
              <a:gd name="T83" fmla="*/ 2147483647 h 118"/>
              <a:gd name="T84" fmla="*/ 2147483647 w 98"/>
              <a:gd name="T85" fmla="*/ 2147483647 h 118"/>
              <a:gd name="T86" fmla="*/ 2147483647 w 98"/>
              <a:gd name="T87" fmla="*/ 2147483647 h 118"/>
              <a:gd name="T88" fmla="*/ 2147483647 w 98"/>
              <a:gd name="T89" fmla="*/ 2147483647 h 118"/>
              <a:gd name="T90" fmla="*/ 2147483647 w 98"/>
              <a:gd name="T91" fmla="*/ 2147483647 h 118"/>
              <a:gd name="T92" fmla="*/ 2147483647 w 98"/>
              <a:gd name="T93" fmla="*/ 2147483647 h 118"/>
              <a:gd name="T94" fmla="*/ 2147483647 w 98"/>
              <a:gd name="T95" fmla="*/ 2147483647 h 118"/>
              <a:gd name="T96" fmla="*/ 2147483647 w 98"/>
              <a:gd name="T97" fmla="*/ 2147483647 h 118"/>
              <a:gd name="T98" fmla="*/ 2147483647 w 98"/>
              <a:gd name="T99" fmla="*/ 2147483647 h 118"/>
              <a:gd name="T100" fmla="*/ 2147483647 w 98"/>
              <a:gd name="T101" fmla="*/ 2147483647 h 118"/>
              <a:gd name="T102" fmla="*/ 2147483647 w 98"/>
              <a:gd name="T103" fmla="*/ 2147483647 h 118"/>
              <a:gd name="T104" fmla="*/ 2147483647 w 98"/>
              <a:gd name="T105" fmla="*/ 2147483647 h 118"/>
              <a:gd name="T106" fmla="*/ 2147483647 w 98"/>
              <a:gd name="T107" fmla="*/ 2147483647 h 118"/>
              <a:gd name="T108" fmla="*/ 0 w 98"/>
              <a:gd name="T109" fmla="*/ 2147483647 h 118"/>
              <a:gd name="T110" fmla="*/ 0 w 98"/>
              <a:gd name="T111" fmla="*/ 2147483647 h 118"/>
              <a:gd name="T112" fmla="*/ 2147483647 w 98"/>
              <a:gd name="T113" fmla="*/ 2147483647 h 118"/>
              <a:gd name="T114" fmla="*/ 2147483647 w 98"/>
              <a:gd name="T115" fmla="*/ 2147483647 h 118"/>
              <a:gd name="T116" fmla="*/ 2147483647 w 98"/>
              <a:gd name="T117" fmla="*/ 2147483647 h 11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98"/>
              <a:gd name="T178" fmla="*/ 0 h 118"/>
              <a:gd name="T179" fmla="*/ 98 w 98"/>
              <a:gd name="T180" fmla="*/ 118 h 11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98" h="118">
                <a:moveTo>
                  <a:pt x="12" y="36"/>
                </a:moveTo>
                <a:lnTo>
                  <a:pt x="12" y="26"/>
                </a:lnTo>
                <a:lnTo>
                  <a:pt x="20" y="14"/>
                </a:lnTo>
                <a:lnTo>
                  <a:pt x="32" y="8"/>
                </a:lnTo>
                <a:lnTo>
                  <a:pt x="48" y="10"/>
                </a:lnTo>
                <a:lnTo>
                  <a:pt x="58" y="14"/>
                </a:lnTo>
                <a:lnTo>
                  <a:pt x="74" y="14"/>
                </a:lnTo>
                <a:lnTo>
                  <a:pt x="84" y="12"/>
                </a:lnTo>
                <a:lnTo>
                  <a:pt x="90" y="8"/>
                </a:lnTo>
                <a:lnTo>
                  <a:pt x="98" y="0"/>
                </a:lnTo>
                <a:lnTo>
                  <a:pt x="98" y="8"/>
                </a:lnTo>
                <a:lnTo>
                  <a:pt x="88" y="20"/>
                </a:lnTo>
                <a:lnTo>
                  <a:pt x="80" y="26"/>
                </a:lnTo>
                <a:lnTo>
                  <a:pt x="56" y="22"/>
                </a:lnTo>
                <a:lnTo>
                  <a:pt x="42" y="20"/>
                </a:lnTo>
                <a:lnTo>
                  <a:pt x="30" y="20"/>
                </a:lnTo>
                <a:lnTo>
                  <a:pt x="24" y="20"/>
                </a:lnTo>
                <a:lnTo>
                  <a:pt x="18" y="26"/>
                </a:lnTo>
                <a:lnTo>
                  <a:pt x="18" y="36"/>
                </a:lnTo>
                <a:lnTo>
                  <a:pt x="22" y="42"/>
                </a:lnTo>
                <a:lnTo>
                  <a:pt x="26" y="46"/>
                </a:lnTo>
                <a:lnTo>
                  <a:pt x="28" y="50"/>
                </a:lnTo>
                <a:lnTo>
                  <a:pt x="32" y="52"/>
                </a:lnTo>
                <a:lnTo>
                  <a:pt x="38" y="44"/>
                </a:lnTo>
                <a:lnTo>
                  <a:pt x="42" y="42"/>
                </a:lnTo>
                <a:lnTo>
                  <a:pt x="52" y="44"/>
                </a:lnTo>
                <a:lnTo>
                  <a:pt x="60" y="40"/>
                </a:lnTo>
                <a:lnTo>
                  <a:pt x="70" y="40"/>
                </a:lnTo>
                <a:lnTo>
                  <a:pt x="68" y="46"/>
                </a:lnTo>
                <a:lnTo>
                  <a:pt x="56" y="48"/>
                </a:lnTo>
                <a:lnTo>
                  <a:pt x="50" y="54"/>
                </a:lnTo>
                <a:lnTo>
                  <a:pt x="44" y="60"/>
                </a:lnTo>
                <a:lnTo>
                  <a:pt x="44" y="62"/>
                </a:lnTo>
                <a:lnTo>
                  <a:pt x="48" y="68"/>
                </a:lnTo>
                <a:lnTo>
                  <a:pt x="54" y="80"/>
                </a:lnTo>
                <a:lnTo>
                  <a:pt x="54" y="84"/>
                </a:lnTo>
                <a:lnTo>
                  <a:pt x="56" y="92"/>
                </a:lnTo>
                <a:lnTo>
                  <a:pt x="62" y="96"/>
                </a:lnTo>
                <a:lnTo>
                  <a:pt x="54" y="100"/>
                </a:lnTo>
                <a:lnTo>
                  <a:pt x="46" y="98"/>
                </a:lnTo>
                <a:lnTo>
                  <a:pt x="44" y="104"/>
                </a:lnTo>
                <a:lnTo>
                  <a:pt x="38" y="94"/>
                </a:lnTo>
                <a:lnTo>
                  <a:pt x="34" y="84"/>
                </a:lnTo>
                <a:lnTo>
                  <a:pt x="32" y="70"/>
                </a:lnTo>
                <a:lnTo>
                  <a:pt x="24" y="70"/>
                </a:lnTo>
                <a:lnTo>
                  <a:pt x="22" y="76"/>
                </a:lnTo>
                <a:lnTo>
                  <a:pt x="24" y="92"/>
                </a:lnTo>
                <a:lnTo>
                  <a:pt x="24" y="98"/>
                </a:lnTo>
                <a:lnTo>
                  <a:pt x="24" y="112"/>
                </a:lnTo>
                <a:lnTo>
                  <a:pt x="22" y="118"/>
                </a:lnTo>
                <a:lnTo>
                  <a:pt x="10" y="116"/>
                </a:lnTo>
                <a:lnTo>
                  <a:pt x="10" y="102"/>
                </a:lnTo>
                <a:lnTo>
                  <a:pt x="12" y="90"/>
                </a:lnTo>
                <a:lnTo>
                  <a:pt x="10" y="84"/>
                </a:lnTo>
                <a:lnTo>
                  <a:pt x="0" y="80"/>
                </a:lnTo>
                <a:lnTo>
                  <a:pt x="0" y="68"/>
                </a:lnTo>
                <a:lnTo>
                  <a:pt x="4" y="58"/>
                </a:lnTo>
                <a:lnTo>
                  <a:pt x="8" y="42"/>
                </a:lnTo>
                <a:lnTo>
                  <a:pt x="12" y="3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58" name="Freeform 238">
            <a:extLst>
              <a:ext uri="{FF2B5EF4-FFF2-40B4-BE49-F238E27FC236}">
                <a16:creationId xmlns:a16="http://schemas.microsoft.com/office/drawing/2014/main" id="{A8F514BB-7325-C7D9-ADB7-380E21553ED5}"/>
              </a:ext>
            </a:extLst>
          </p:cNvPr>
          <p:cNvSpPr>
            <a:spLocks/>
          </p:cNvSpPr>
          <p:nvPr/>
        </p:nvSpPr>
        <p:spPr bwMode="auto">
          <a:xfrm>
            <a:off x="9290051" y="4936068"/>
            <a:ext cx="321733" cy="268817"/>
          </a:xfrm>
          <a:custGeom>
            <a:avLst/>
            <a:gdLst>
              <a:gd name="T0" fmla="*/ 2147483647 w 162"/>
              <a:gd name="T1" fmla="*/ 2147483647 h 136"/>
              <a:gd name="T2" fmla="*/ 2147483647 w 162"/>
              <a:gd name="T3" fmla="*/ 2147483647 h 136"/>
              <a:gd name="T4" fmla="*/ 2147483647 w 162"/>
              <a:gd name="T5" fmla="*/ 0 h 136"/>
              <a:gd name="T6" fmla="*/ 2147483647 w 162"/>
              <a:gd name="T7" fmla="*/ 2147483647 h 136"/>
              <a:gd name="T8" fmla="*/ 2147483647 w 162"/>
              <a:gd name="T9" fmla="*/ 2147483647 h 136"/>
              <a:gd name="T10" fmla="*/ 2147483647 w 162"/>
              <a:gd name="T11" fmla="*/ 2147483647 h 136"/>
              <a:gd name="T12" fmla="*/ 2147483647 w 162"/>
              <a:gd name="T13" fmla="*/ 2147483647 h 136"/>
              <a:gd name="T14" fmla="*/ 2147483647 w 162"/>
              <a:gd name="T15" fmla="*/ 2147483647 h 136"/>
              <a:gd name="T16" fmla="*/ 2147483647 w 162"/>
              <a:gd name="T17" fmla="*/ 2147483647 h 136"/>
              <a:gd name="T18" fmla="*/ 2147483647 w 162"/>
              <a:gd name="T19" fmla="*/ 2147483647 h 136"/>
              <a:gd name="T20" fmla="*/ 2147483647 w 162"/>
              <a:gd name="T21" fmla="*/ 2147483647 h 136"/>
              <a:gd name="T22" fmla="*/ 2147483647 w 162"/>
              <a:gd name="T23" fmla="*/ 2147483647 h 136"/>
              <a:gd name="T24" fmla="*/ 2147483647 w 162"/>
              <a:gd name="T25" fmla="*/ 2147483647 h 136"/>
              <a:gd name="T26" fmla="*/ 2147483647 w 162"/>
              <a:gd name="T27" fmla="*/ 2147483647 h 136"/>
              <a:gd name="T28" fmla="*/ 2147483647 w 162"/>
              <a:gd name="T29" fmla="*/ 2147483647 h 136"/>
              <a:gd name="T30" fmla="*/ 2147483647 w 162"/>
              <a:gd name="T31" fmla="*/ 2147483647 h 136"/>
              <a:gd name="T32" fmla="*/ 2147483647 w 162"/>
              <a:gd name="T33" fmla="*/ 2147483647 h 136"/>
              <a:gd name="T34" fmla="*/ 2147483647 w 162"/>
              <a:gd name="T35" fmla="*/ 2147483647 h 136"/>
              <a:gd name="T36" fmla="*/ 2147483647 w 162"/>
              <a:gd name="T37" fmla="*/ 2147483647 h 136"/>
              <a:gd name="T38" fmla="*/ 2147483647 w 162"/>
              <a:gd name="T39" fmla="*/ 2147483647 h 136"/>
              <a:gd name="T40" fmla="*/ 2147483647 w 162"/>
              <a:gd name="T41" fmla="*/ 2147483647 h 136"/>
              <a:gd name="T42" fmla="*/ 2147483647 w 162"/>
              <a:gd name="T43" fmla="*/ 2147483647 h 136"/>
              <a:gd name="T44" fmla="*/ 2147483647 w 162"/>
              <a:gd name="T45" fmla="*/ 2147483647 h 136"/>
              <a:gd name="T46" fmla="*/ 2147483647 w 162"/>
              <a:gd name="T47" fmla="*/ 2147483647 h 136"/>
              <a:gd name="T48" fmla="*/ 2147483647 w 162"/>
              <a:gd name="T49" fmla="*/ 2147483647 h 136"/>
              <a:gd name="T50" fmla="*/ 2147483647 w 162"/>
              <a:gd name="T51" fmla="*/ 2147483647 h 136"/>
              <a:gd name="T52" fmla="*/ 2147483647 w 162"/>
              <a:gd name="T53" fmla="*/ 2147483647 h 136"/>
              <a:gd name="T54" fmla="*/ 2147483647 w 162"/>
              <a:gd name="T55" fmla="*/ 2147483647 h 136"/>
              <a:gd name="T56" fmla="*/ 2147483647 w 162"/>
              <a:gd name="T57" fmla="*/ 2147483647 h 136"/>
              <a:gd name="T58" fmla="*/ 2147483647 w 162"/>
              <a:gd name="T59" fmla="*/ 2147483647 h 136"/>
              <a:gd name="T60" fmla="*/ 2147483647 w 162"/>
              <a:gd name="T61" fmla="*/ 2147483647 h 136"/>
              <a:gd name="T62" fmla="*/ 2147483647 w 162"/>
              <a:gd name="T63" fmla="*/ 2147483647 h 136"/>
              <a:gd name="T64" fmla="*/ 2147483647 w 162"/>
              <a:gd name="T65" fmla="*/ 2147483647 h 136"/>
              <a:gd name="T66" fmla="*/ 2147483647 w 162"/>
              <a:gd name="T67" fmla="*/ 2147483647 h 136"/>
              <a:gd name="T68" fmla="*/ 2147483647 w 162"/>
              <a:gd name="T69" fmla="*/ 2147483647 h 136"/>
              <a:gd name="T70" fmla="*/ 2147483647 w 162"/>
              <a:gd name="T71" fmla="*/ 2147483647 h 136"/>
              <a:gd name="T72" fmla="*/ 2147483647 w 162"/>
              <a:gd name="T73" fmla="*/ 2147483647 h 136"/>
              <a:gd name="T74" fmla="*/ 2147483647 w 162"/>
              <a:gd name="T75" fmla="*/ 2147483647 h 136"/>
              <a:gd name="T76" fmla="*/ 2147483647 w 162"/>
              <a:gd name="T77" fmla="*/ 2147483647 h 136"/>
              <a:gd name="T78" fmla="*/ 2147483647 w 162"/>
              <a:gd name="T79" fmla="*/ 2147483647 h 136"/>
              <a:gd name="T80" fmla="*/ 2147483647 w 162"/>
              <a:gd name="T81" fmla="*/ 2147483647 h 136"/>
              <a:gd name="T82" fmla="*/ 2147483647 w 162"/>
              <a:gd name="T83" fmla="*/ 2147483647 h 136"/>
              <a:gd name="T84" fmla="*/ 2147483647 w 162"/>
              <a:gd name="T85" fmla="*/ 2147483647 h 136"/>
              <a:gd name="T86" fmla="*/ 2147483647 w 162"/>
              <a:gd name="T87" fmla="*/ 2147483647 h 136"/>
              <a:gd name="T88" fmla="*/ 2147483647 w 162"/>
              <a:gd name="T89" fmla="*/ 2147483647 h 136"/>
              <a:gd name="T90" fmla="*/ 2147483647 w 162"/>
              <a:gd name="T91" fmla="*/ 2147483647 h 136"/>
              <a:gd name="T92" fmla="*/ 2147483647 w 162"/>
              <a:gd name="T93" fmla="*/ 2147483647 h 136"/>
              <a:gd name="T94" fmla="*/ 2147483647 w 162"/>
              <a:gd name="T95" fmla="*/ 2147483647 h 136"/>
              <a:gd name="T96" fmla="*/ 2147483647 w 162"/>
              <a:gd name="T97" fmla="*/ 2147483647 h 136"/>
              <a:gd name="T98" fmla="*/ 2147483647 w 162"/>
              <a:gd name="T99" fmla="*/ 2147483647 h 136"/>
              <a:gd name="T100" fmla="*/ 2147483647 w 162"/>
              <a:gd name="T101" fmla="*/ 2147483647 h 136"/>
              <a:gd name="T102" fmla="*/ 2147483647 w 162"/>
              <a:gd name="T103" fmla="*/ 2147483647 h 136"/>
              <a:gd name="T104" fmla="*/ 0 w 162"/>
              <a:gd name="T105" fmla="*/ 2147483647 h 136"/>
              <a:gd name="T106" fmla="*/ 2147483647 w 162"/>
              <a:gd name="T107" fmla="*/ 2147483647 h 1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62"/>
              <a:gd name="T163" fmla="*/ 0 h 136"/>
              <a:gd name="T164" fmla="*/ 162 w 162"/>
              <a:gd name="T165" fmla="*/ 136 h 1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62" h="136">
                <a:moveTo>
                  <a:pt x="2" y="8"/>
                </a:moveTo>
                <a:lnTo>
                  <a:pt x="20" y="2"/>
                </a:lnTo>
                <a:lnTo>
                  <a:pt x="30" y="0"/>
                </a:lnTo>
                <a:lnTo>
                  <a:pt x="48" y="2"/>
                </a:lnTo>
                <a:lnTo>
                  <a:pt x="56" y="10"/>
                </a:lnTo>
                <a:lnTo>
                  <a:pt x="54" y="22"/>
                </a:lnTo>
                <a:lnTo>
                  <a:pt x="54" y="30"/>
                </a:lnTo>
                <a:lnTo>
                  <a:pt x="60" y="34"/>
                </a:lnTo>
                <a:lnTo>
                  <a:pt x="62" y="42"/>
                </a:lnTo>
                <a:lnTo>
                  <a:pt x="70" y="44"/>
                </a:lnTo>
                <a:lnTo>
                  <a:pt x="80" y="42"/>
                </a:lnTo>
                <a:lnTo>
                  <a:pt x="86" y="32"/>
                </a:lnTo>
                <a:lnTo>
                  <a:pt x="94" y="26"/>
                </a:lnTo>
                <a:lnTo>
                  <a:pt x="104" y="22"/>
                </a:lnTo>
                <a:lnTo>
                  <a:pt x="110" y="16"/>
                </a:lnTo>
                <a:lnTo>
                  <a:pt x="128" y="22"/>
                </a:lnTo>
                <a:lnTo>
                  <a:pt x="142" y="26"/>
                </a:lnTo>
                <a:lnTo>
                  <a:pt x="158" y="32"/>
                </a:lnTo>
                <a:lnTo>
                  <a:pt x="162" y="34"/>
                </a:lnTo>
                <a:lnTo>
                  <a:pt x="162" y="136"/>
                </a:lnTo>
                <a:lnTo>
                  <a:pt x="148" y="124"/>
                </a:lnTo>
                <a:lnTo>
                  <a:pt x="138" y="120"/>
                </a:lnTo>
                <a:lnTo>
                  <a:pt x="130" y="120"/>
                </a:lnTo>
                <a:lnTo>
                  <a:pt x="124" y="124"/>
                </a:lnTo>
                <a:lnTo>
                  <a:pt x="110" y="126"/>
                </a:lnTo>
                <a:lnTo>
                  <a:pt x="108" y="118"/>
                </a:lnTo>
                <a:lnTo>
                  <a:pt x="110" y="114"/>
                </a:lnTo>
                <a:lnTo>
                  <a:pt x="116" y="112"/>
                </a:lnTo>
                <a:lnTo>
                  <a:pt x="124" y="110"/>
                </a:lnTo>
                <a:lnTo>
                  <a:pt x="126" y="98"/>
                </a:lnTo>
                <a:lnTo>
                  <a:pt x="122" y="90"/>
                </a:lnTo>
                <a:lnTo>
                  <a:pt x="112" y="80"/>
                </a:lnTo>
                <a:lnTo>
                  <a:pt x="90" y="68"/>
                </a:lnTo>
                <a:lnTo>
                  <a:pt x="66" y="62"/>
                </a:lnTo>
                <a:lnTo>
                  <a:pt x="60" y="56"/>
                </a:lnTo>
                <a:lnTo>
                  <a:pt x="54" y="54"/>
                </a:lnTo>
                <a:lnTo>
                  <a:pt x="48" y="40"/>
                </a:lnTo>
                <a:lnTo>
                  <a:pt x="42" y="42"/>
                </a:lnTo>
                <a:lnTo>
                  <a:pt x="42" y="48"/>
                </a:lnTo>
                <a:lnTo>
                  <a:pt x="42" y="58"/>
                </a:lnTo>
                <a:lnTo>
                  <a:pt x="32" y="56"/>
                </a:lnTo>
                <a:lnTo>
                  <a:pt x="32" y="46"/>
                </a:lnTo>
                <a:lnTo>
                  <a:pt x="30" y="40"/>
                </a:lnTo>
                <a:lnTo>
                  <a:pt x="20" y="38"/>
                </a:lnTo>
                <a:lnTo>
                  <a:pt x="30" y="32"/>
                </a:lnTo>
                <a:lnTo>
                  <a:pt x="42" y="34"/>
                </a:lnTo>
                <a:lnTo>
                  <a:pt x="50" y="32"/>
                </a:lnTo>
                <a:lnTo>
                  <a:pt x="46" y="24"/>
                </a:lnTo>
                <a:lnTo>
                  <a:pt x="30" y="24"/>
                </a:lnTo>
                <a:lnTo>
                  <a:pt x="20" y="26"/>
                </a:lnTo>
                <a:lnTo>
                  <a:pt x="16" y="16"/>
                </a:lnTo>
                <a:lnTo>
                  <a:pt x="6" y="16"/>
                </a:lnTo>
                <a:lnTo>
                  <a:pt x="0" y="14"/>
                </a:lnTo>
                <a:lnTo>
                  <a:pt x="2" y="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59" name="Freeform 239">
            <a:extLst>
              <a:ext uri="{FF2B5EF4-FFF2-40B4-BE49-F238E27FC236}">
                <a16:creationId xmlns:a16="http://schemas.microsoft.com/office/drawing/2014/main" id="{B9ABC3D4-301D-9BE0-2896-350B40CE217E}"/>
              </a:ext>
            </a:extLst>
          </p:cNvPr>
          <p:cNvSpPr>
            <a:spLocks/>
          </p:cNvSpPr>
          <p:nvPr/>
        </p:nvSpPr>
        <p:spPr bwMode="auto">
          <a:xfrm>
            <a:off x="9205384" y="5012268"/>
            <a:ext cx="95251" cy="29633"/>
          </a:xfrm>
          <a:custGeom>
            <a:avLst/>
            <a:gdLst>
              <a:gd name="T0" fmla="*/ 2147483647 w 48"/>
              <a:gd name="T1" fmla="*/ 2147483647 h 16"/>
              <a:gd name="T2" fmla="*/ 2147483647 w 48"/>
              <a:gd name="T3" fmla="*/ 0 h 16"/>
              <a:gd name="T4" fmla="*/ 2147483647 w 48"/>
              <a:gd name="T5" fmla="*/ 2147483647 h 16"/>
              <a:gd name="T6" fmla="*/ 2147483647 w 48"/>
              <a:gd name="T7" fmla="*/ 2147483647 h 16"/>
              <a:gd name="T8" fmla="*/ 2147483647 w 48"/>
              <a:gd name="T9" fmla="*/ 2147483647 h 16"/>
              <a:gd name="T10" fmla="*/ 2147483647 w 48"/>
              <a:gd name="T11" fmla="*/ 2147483647 h 16"/>
              <a:gd name="T12" fmla="*/ 2147483647 w 48"/>
              <a:gd name="T13" fmla="*/ 2147483647 h 16"/>
              <a:gd name="T14" fmla="*/ 2147483647 w 48"/>
              <a:gd name="T15" fmla="*/ 2147483647 h 16"/>
              <a:gd name="T16" fmla="*/ 2147483647 w 48"/>
              <a:gd name="T17" fmla="*/ 2147483647 h 16"/>
              <a:gd name="T18" fmla="*/ 2147483647 w 48"/>
              <a:gd name="T19" fmla="*/ 2147483647 h 16"/>
              <a:gd name="T20" fmla="*/ 0 w 48"/>
              <a:gd name="T21" fmla="*/ 2147483647 h 16"/>
              <a:gd name="T22" fmla="*/ 2147483647 w 48"/>
              <a:gd name="T23" fmla="*/ 2147483647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8"/>
              <a:gd name="T37" fmla="*/ 0 h 16"/>
              <a:gd name="T38" fmla="*/ 48 w 48"/>
              <a:gd name="T39" fmla="*/ 16 h 1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8" h="16">
                <a:moveTo>
                  <a:pt x="4" y="2"/>
                </a:moveTo>
                <a:lnTo>
                  <a:pt x="20" y="0"/>
                </a:lnTo>
                <a:lnTo>
                  <a:pt x="38" y="2"/>
                </a:lnTo>
                <a:lnTo>
                  <a:pt x="48" y="10"/>
                </a:lnTo>
                <a:lnTo>
                  <a:pt x="46" y="16"/>
                </a:lnTo>
                <a:lnTo>
                  <a:pt x="34" y="12"/>
                </a:lnTo>
                <a:lnTo>
                  <a:pt x="24" y="10"/>
                </a:lnTo>
                <a:lnTo>
                  <a:pt x="12" y="10"/>
                </a:lnTo>
                <a:lnTo>
                  <a:pt x="8" y="14"/>
                </a:lnTo>
                <a:lnTo>
                  <a:pt x="2" y="14"/>
                </a:lnTo>
                <a:lnTo>
                  <a:pt x="0" y="6"/>
                </a:lnTo>
                <a:lnTo>
                  <a:pt x="4" y="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60" name="Freeform 240">
            <a:extLst>
              <a:ext uri="{FF2B5EF4-FFF2-40B4-BE49-F238E27FC236}">
                <a16:creationId xmlns:a16="http://schemas.microsoft.com/office/drawing/2014/main" id="{6962A0E5-9069-268E-81D3-EF142C31F769}"/>
              </a:ext>
            </a:extLst>
          </p:cNvPr>
          <p:cNvSpPr>
            <a:spLocks/>
          </p:cNvSpPr>
          <p:nvPr/>
        </p:nvSpPr>
        <p:spPr bwMode="auto">
          <a:xfrm>
            <a:off x="9156701" y="5022851"/>
            <a:ext cx="29633" cy="19051"/>
          </a:xfrm>
          <a:custGeom>
            <a:avLst/>
            <a:gdLst>
              <a:gd name="T0" fmla="*/ 2147483647 w 18"/>
              <a:gd name="T1" fmla="*/ 0 h 10"/>
              <a:gd name="T2" fmla="*/ 2147483647 w 18"/>
              <a:gd name="T3" fmla="*/ 0 h 10"/>
              <a:gd name="T4" fmla="*/ 2147483647 w 18"/>
              <a:gd name="T5" fmla="*/ 2147483647 h 10"/>
              <a:gd name="T6" fmla="*/ 2147483647 w 18"/>
              <a:gd name="T7" fmla="*/ 2147483647 h 10"/>
              <a:gd name="T8" fmla="*/ 2147483647 w 18"/>
              <a:gd name="T9" fmla="*/ 2147483647 h 10"/>
              <a:gd name="T10" fmla="*/ 0 w 18"/>
              <a:gd name="T11" fmla="*/ 2147483647 h 10"/>
              <a:gd name="T12" fmla="*/ 2147483647 w 18"/>
              <a:gd name="T13" fmla="*/ 0 h 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8"/>
              <a:gd name="T22" fmla="*/ 0 h 10"/>
              <a:gd name="T23" fmla="*/ 18 w 18"/>
              <a:gd name="T24" fmla="*/ 10 h 1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8" h="10">
                <a:moveTo>
                  <a:pt x="2" y="0"/>
                </a:moveTo>
                <a:lnTo>
                  <a:pt x="12" y="0"/>
                </a:lnTo>
                <a:lnTo>
                  <a:pt x="18" y="4"/>
                </a:lnTo>
                <a:lnTo>
                  <a:pt x="14" y="10"/>
                </a:lnTo>
                <a:lnTo>
                  <a:pt x="4" y="10"/>
                </a:lnTo>
                <a:lnTo>
                  <a:pt x="0" y="6"/>
                </a:lnTo>
                <a:lnTo>
                  <a:pt x="2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61" name="Freeform 241">
            <a:extLst>
              <a:ext uri="{FF2B5EF4-FFF2-40B4-BE49-F238E27FC236}">
                <a16:creationId xmlns:a16="http://schemas.microsoft.com/office/drawing/2014/main" id="{3E57D3C7-EB3B-A642-6A95-C96B47FC9798}"/>
              </a:ext>
            </a:extLst>
          </p:cNvPr>
          <p:cNvSpPr>
            <a:spLocks/>
          </p:cNvSpPr>
          <p:nvPr/>
        </p:nvSpPr>
        <p:spPr bwMode="auto">
          <a:xfrm>
            <a:off x="9186334" y="4857751"/>
            <a:ext cx="48684" cy="97367"/>
          </a:xfrm>
          <a:custGeom>
            <a:avLst/>
            <a:gdLst>
              <a:gd name="T0" fmla="*/ 0 w 22"/>
              <a:gd name="T1" fmla="*/ 0 h 50"/>
              <a:gd name="T2" fmla="*/ 2147483647 w 22"/>
              <a:gd name="T3" fmla="*/ 2147483647 h 50"/>
              <a:gd name="T4" fmla="*/ 2147483647 w 22"/>
              <a:gd name="T5" fmla="*/ 2147483647 h 50"/>
              <a:gd name="T6" fmla="*/ 2147483647 w 22"/>
              <a:gd name="T7" fmla="*/ 2147483647 h 50"/>
              <a:gd name="T8" fmla="*/ 2147483647 w 22"/>
              <a:gd name="T9" fmla="*/ 2147483647 h 50"/>
              <a:gd name="T10" fmla="*/ 2147483647 w 22"/>
              <a:gd name="T11" fmla="*/ 2147483647 h 50"/>
              <a:gd name="T12" fmla="*/ 2147483647 w 22"/>
              <a:gd name="T13" fmla="*/ 2147483647 h 50"/>
              <a:gd name="T14" fmla="*/ 2147483647 w 22"/>
              <a:gd name="T15" fmla="*/ 2147483647 h 50"/>
              <a:gd name="T16" fmla="*/ 2147483647 w 22"/>
              <a:gd name="T17" fmla="*/ 2147483647 h 50"/>
              <a:gd name="T18" fmla="*/ 2147483647 w 22"/>
              <a:gd name="T19" fmla="*/ 2147483647 h 50"/>
              <a:gd name="T20" fmla="*/ 2147483647 w 22"/>
              <a:gd name="T21" fmla="*/ 2147483647 h 50"/>
              <a:gd name="T22" fmla="*/ 2147483647 w 22"/>
              <a:gd name="T23" fmla="*/ 2147483647 h 50"/>
              <a:gd name="T24" fmla="*/ 2147483647 w 22"/>
              <a:gd name="T25" fmla="*/ 2147483647 h 50"/>
              <a:gd name="T26" fmla="*/ 2147483647 w 22"/>
              <a:gd name="T27" fmla="*/ 2147483647 h 50"/>
              <a:gd name="T28" fmla="*/ 2147483647 w 22"/>
              <a:gd name="T29" fmla="*/ 2147483647 h 50"/>
              <a:gd name="T30" fmla="*/ 2147483647 w 22"/>
              <a:gd name="T31" fmla="*/ 2147483647 h 50"/>
              <a:gd name="T32" fmla="*/ 2147483647 w 22"/>
              <a:gd name="T33" fmla="*/ 2147483647 h 50"/>
              <a:gd name="T34" fmla="*/ 2147483647 w 22"/>
              <a:gd name="T35" fmla="*/ 2147483647 h 50"/>
              <a:gd name="T36" fmla="*/ 2147483647 w 22"/>
              <a:gd name="T37" fmla="*/ 2147483647 h 50"/>
              <a:gd name="T38" fmla="*/ 2147483647 w 22"/>
              <a:gd name="T39" fmla="*/ 2147483647 h 50"/>
              <a:gd name="T40" fmla="*/ 2147483647 w 22"/>
              <a:gd name="T41" fmla="*/ 2147483647 h 50"/>
              <a:gd name="T42" fmla="*/ 2147483647 w 22"/>
              <a:gd name="T43" fmla="*/ 2147483647 h 50"/>
              <a:gd name="T44" fmla="*/ 0 w 22"/>
              <a:gd name="T45" fmla="*/ 2147483647 h 50"/>
              <a:gd name="T46" fmla="*/ 2147483647 w 22"/>
              <a:gd name="T47" fmla="*/ 2147483647 h 50"/>
              <a:gd name="T48" fmla="*/ 0 w 22"/>
              <a:gd name="T49" fmla="*/ 0 h 50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22"/>
              <a:gd name="T76" fmla="*/ 0 h 50"/>
              <a:gd name="T77" fmla="*/ 22 w 22"/>
              <a:gd name="T78" fmla="*/ 50 h 50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22" h="50">
                <a:moveTo>
                  <a:pt x="0" y="0"/>
                </a:moveTo>
                <a:lnTo>
                  <a:pt x="6" y="2"/>
                </a:lnTo>
                <a:lnTo>
                  <a:pt x="8" y="10"/>
                </a:lnTo>
                <a:lnTo>
                  <a:pt x="8" y="14"/>
                </a:lnTo>
                <a:lnTo>
                  <a:pt x="14" y="6"/>
                </a:lnTo>
                <a:lnTo>
                  <a:pt x="20" y="4"/>
                </a:lnTo>
                <a:lnTo>
                  <a:pt x="22" y="14"/>
                </a:lnTo>
                <a:lnTo>
                  <a:pt x="16" y="16"/>
                </a:lnTo>
                <a:lnTo>
                  <a:pt x="14" y="20"/>
                </a:lnTo>
                <a:lnTo>
                  <a:pt x="18" y="22"/>
                </a:lnTo>
                <a:lnTo>
                  <a:pt x="20" y="26"/>
                </a:lnTo>
                <a:lnTo>
                  <a:pt x="8" y="26"/>
                </a:lnTo>
                <a:lnTo>
                  <a:pt x="8" y="30"/>
                </a:lnTo>
                <a:lnTo>
                  <a:pt x="10" y="38"/>
                </a:lnTo>
                <a:lnTo>
                  <a:pt x="16" y="44"/>
                </a:lnTo>
                <a:lnTo>
                  <a:pt x="18" y="46"/>
                </a:lnTo>
                <a:lnTo>
                  <a:pt x="18" y="48"/>
                </a:lnTo>
                <a:lnTo>
                  <a:pt x="16" y="50"/>
                </a:lnTo>
                <a:lnTo>
                  <a:pt x="12" y="50"/>
                </a:lnTo>
                <a:lnTo>
                  <a:pt x="8" y="48"/>
                </a:lnTo>
                <a:lnTo>
                  <a:pt x="6" y="46"/>
                </a:lnTo>
                <a:lnTo>
                  <a:pt x="2" y="32"/>
                </a:lnTo>
                <a:lnTo>
                  <a:pt x="0" y="22"/>
                </a:lnTo>
                <a:lnTo>
                  <a:pt x="2" y="12"/>
                </a:lnTo>
                <a:lnTo>
                  <a:pt x="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62" name="Freeform 242">
            <a:extLst>
              <a:ext uri="{FF2B5EF4-FFF2-40B4-BE49-F238E27FC236}">
                <a16:creationId xmlns:a16="http://schemas.microsoft.com/office/drawing/2014/main" id="{F8D613A8-8458-B2F9-9679-6818D8F62257}"/>
              </a:ext>
            </a:extLst>
          </p:cNvPr>
          <p:cNvSpPr>
            <a:spLocks/>
          </p:cNvSpPr>
          <p:nvPr/>
        </p:nvSpPr>
        <p:spPr bwMode="auto">
          <a:xfrm>
            <a:off x="9611784" y="5003801"/>
            <a:ext cx="298451" cy="260351"/>
          </a:xfrm>
          <a:custGeom>
            <a:avLst/>
            <a:gdLst>
              <a:gd name="T0" fmla="*/ 0 w 154"/>
              <a:gd name="T1" fmla="*/ 0 h 130"/>
              <a:gd name="T2" fmla="*/ 2147483647 w 154"/>
              <a:gd name="T3" fmla="*/ 2147483647 h 130"/>
              <a:gd name="T4" fmla="*/ 2147483647 w 154"/>
              <a:gd name="T5" fmla="*/ 2147483647 h 130"/>
              <a:gd name="T6" fmla="*/ 2147483647 w 154"/>
              <a:gd name="T7" fmla="*/ 2147483647 h 130"/>
              <a:gd name="T8" fmla="*/ 2147483647 w 154"/>
              <a:gd name="T9" fmla="*/ 2147483647 h 130"/>
              <a:gd name="T10" fmla="*/ 2147483647 w 154"/>
              <a:gd name="T11" fmla="*/ 2147483647 h 130"/>
              <a:gd name="T12" fmla="*/ 2147483647 w 154"/>
              <a:gd name="T13" fmla="*/ 2147483647 h 130"/>
              <a:gd name="T14" fmla="*/ 2147483647 w 154"/>
              <a:gd name="T15" fmla="*/ 2147483647 h 130"/>
              <a:gd name="T16" fmla="*/ 2147483647 w 154"/>
              <a:gd name="T17" fmla="*/ 2147483647 h 130"/>
              <a:gd name="T18" fmla="*/ 2147483647 w 154"/>
              <a:gd name="T19" fmla="*/ 2147483647 h 130"/>
              <a:gd name="T20" fmla="*/ 2147483647 w 154"/>
              <a:gd name="T21" fmla="*/ 2147483647 h 130"/>
              <a:gd name="T22" fmla="*/ 2147483647 w 154"/>
              <a:gd name="T23" fmla="*/ 2147483647 h 130"/>
              <a:gd name="T24" fmla="*/ 2147483647 w 154"/>
              <a:gd name="T25" fmla="*/ 2147483647 h 130"/>
              <a:gd name="T26" fmla="*/ 2147483647 w 154"/>
              <a:gd name="T27" fmla="*/ 2147483647 h 130"/>
              <a:gd name="T28" fmla="*/ 2147483647 w 154"/>
              <a:gd name="T29" fmla="*/ 2147483647 h 130"/>
              <a:gd name="T30" fmla="*/ 2147483647 w 154"/>
              <a:gd name="T31" fmla="*/ 2147483647 h 130"/>
              <a:gd name="T32" fmla="*/ 2147483647 w 154"/>
              <a:gd name="T33" fmla="*/ 2147483647 h 130"/>
              <a:gd name="T34" fmla="*/ 2147483647 w 154"/>
              <a:gd name="T35" fmla="*/ 2147483647 h 130"/>
              <a:gd name="T36" fmla="*/ 2147483647 w 154"/>
              <a:gd name="T37" fmla="*/ 2147483647 h 130"/>
              <a:gd name="T38" fmla="*/ 2147483647 w 154"/>
              <a:gd name="T39" fmla="*/ 2147483647 h 130"/>
              <a:gd name="T40" fmla="*/ 2147483647 w 154"/>
              <a:gd name="T41" fmla="*/ 2147483647 h 130"/>
              <a:gd name="T42" fmla="*/ 2147483647 w 154"/>
              <a:gd name="T43" fmla="*/ 2147483647 h 130"/>
              <a:gd name="T44" fmla="*/ 2147483647 w 154"/>
              <a:gd name="T45" fmla="*/ 2147483647 h 130"/>
              <a:gd name="T46" fmla="*/ 2147483647 w 154"/>
              <a:gd name="T47" fmla="*/ 2147483647 h 130"/>
              <a:gd name="T48" fmla="*/ 2147483647 w 154"/>
              <a:gd name="T49" fmla="*/ 2147483647 h 130"/>
              <a:gd name="T50" fmla="*/ 2147483647 w 154"/>
              <a:gd name="T51" fmla="*/ 2147483647 h 130"/>
              <a:gd name="T52" fmla="*/ 2147483647 w 154"/>
              <a:gd name="T53" fmla="*/ 2147483647 h 130"/>
              <a:gd name="T54" fmla="*/ 2147483647 w 154"/>
              <a:gd name="T55" fmla="*/ 2147483647 h 130"/>
              <a:gd name="T56" fmla="*/ 2147483647 w 154"/>
              <a:gd name="T57" fmla="*/ 2147483647 h 130"/>
              <a:gd name="T58" fmla="*/ 2147483647 w 154"/>
              <a:gd name="T59" fmla="*/ 2147483647 h 130"/>
              <a:gd name="T60" fmla="*/ 2147483647 w 154"/>
              <a:gd name="T61" fmla="*/ 2147483647 h 130"/>
              <a:gd name="T62" fmla="*/ 2147483647 w 154"/>
              <a:gd name="T63" fmla="*/ 2147483647 h 130"/>
              <a:gd name="T64" fmla="*/ 2147483647 w 154"/>
              <a:gd name="T65" fmla="*/ 2147483647 h 130"/>
              <a:gd name="T66" fmla="*/ 2147483647 w 154"/>
              <a:gd name="T67" fmla="*/ 2147483647 h 130"/>
              <a:gd name="T68" fmla="*/ 2147483647 w 154"/>
              <a:gd name="T69" fmla="*/ 2147483647 h 130"/>
              <a:gd name="T70" fmla="*/ 2147483647 w 154"/>
              <a:gd name="T71" fmla="*/ 2147483647 h 130"/>
              <a:gd name="T72" fmla="*/ 0 w 154"/>
              <a:gd name="T73" fmla="*/ 2147483647 h 130"/>
              <a:gd name="T74" fmla="*/ 0 w 154"/>
              <a:gd name="T75" fmla="*/ 0 h 13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54"/>
              <a:gd name="T115" fmla="*/ 0 h 130"/>
              <a:gd name="T116" fmla="*/ 154 w 154"/>
              <a:gd name="T117" fmla="*/ 130 h 130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54" h="130">
                <a:moveTo>
                  <a:pt x="0" y="0"/>
                </a:moveTo>
                <a:lnTo>
                  <a:pt x="14" y="4"/>
                </a:lnTo>
                <a:lnTo>
                  <a:pt x="32" y="10"/>
                </a:lnTo>
                <a:lnTo>
                  <a:pt x="50" y="18"/>
                </a:lnTo>
                <a:lnTo>
                  <a:pt x="66" y="28"/>
                </a:lnTo>
                <a:lnTo>
                  <a:pt x="74" y="38"/>
                </a:lnTo>
                <a:lnTo>
                  <a:pt x="84" y="44"/>
                </a:lnTo>
                <a:lnTo>
                  <a:pt x="100" y="52"/>
                </a:lnTo>
                <a:lnTo>
                  <a:pt x="108" y="58"/>
                </a:lnTo>
                <a:lnTo>
                  <a:pt x="108" y="62"/>
                </a:lnTo>
                <a:lnTo>
                  <a:pt x="110" y="64"/>
                </a:lnTo>
                <a:lnTo>
                  <a:pt x="108" y="66"/>
                </a:lnTo>
                <a:lnTo>
                  <a:pt x="94" y="66"/>
                </a:lnTo>
                <a:lnTo>
                  <a:pt x="100" y="72"/>
                </a:lnTo>
                <a:lnTo>
                  <a:pt x="110" y="86"/>
                </a:lnTo>
                <a:lnTo>
                  <a:pt x="124" y="102"/>
                </a:lnTo>
                <a:lnTo>
                  <a:pt x="130" y="106"/>
                </a:lnTo>
                <a:lnTo>
                  <a:pt x="138" y="114"/>
                </a:lnTo>
                <a:lnTo>
                  <a:pt x="154" y="124"/>
                </a:lnTo>
                <a:lnTo>
                  <a:pt x="152" y="130"/>
                </a:lnTo>
                <a:lnTo>
                  <a:pt x="136" y="122"/>
                </a:lnTo>
                <a:lnTo>
                  <a:pt x="124" y="120"/>
                </a:lnTo>
                <a:lnTo>
                  <a:pt x="104" y="118"/>
                </a:lnTo>
                <a:lnTo>
                  <a:pt x="94" y="106"/>
                </a:lnTo>
                <a:lnTo>
                  <a:pt x="84" y="92"/>
                </a:lnTo>
                <a:lnTo>
                  <a:pt x="72" y="84"/>
                </a:lnTo>
                <a:lnTo>
                  <a:pt x="60" y="76"/>
                </a:lnTo>
                <a:lnTo>
                  <a:pt x="46" y="70"/>
                </a:lnTo>
                <a:lnTo>
                  <a:pt x="46" y="80"/>
                </a:lnTo>
                <a:lnTo>
                  <a:pt x="42" y="86"/>
                </a:lnTo>
                <a:lnTo>
                  <a:pt x="28" y="88"/>
                </a:lnTo>
                <a:lnTo>
                  <a:pt x="30" y="96"/>
                </a:lnTo>
                <a:lnTo>
                  <a:pt x="38" y="100"/>
                </a:lnTo>
                <a:lnTo>
                  <a:pt x="32" y="106"/>
                </a:lnTo>
                <a:lnTo>
                  <a:pt x="18" y="102"/>
                </a:lnTo>
                <a:lnTo>
                  <a:pt x="8" y="102"/>
                </a:lnTo>
                <a:lnTo>
                  <a:pt x="0" y="102"/>
                </a:lnTo>
                <a:lnTo>
                  <a:pt x="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63" name="Freeform 243">
            <a:extLst>
              <a:ext uri="{FF2B5EF4-FFF2-40B4-BE49-F238E27FC236}">
                <a16:creationId xmlns:a16="http://schemas.microsoft.com/office/drawing/2014/main" id="{8C30DD4E-2665-488C-25A7-AFB1696F4B08}"/>
              </a:ext>
            </a:extLst>
          </p:cNvPr>
          <p:cNvSpPr>
            <a:spLocks/>
          </p:cNvSpPr>
          <p:nvPr/>
        </p:nvSpPr>
        <p:spPr bwMode="auto">
          <a:xfrm>
            <a:off x="9850968" y="5052485"/>
            <a:ext cx="116417" cy="65617"/>
          </a:xfrm>
          <a:custGeom>
            <a:avLst/>
            <a:gdLst>
              <a:gd name="T0" fmla="*/ 0 w 58"/>
              <a:gd name="T1" fmla="*/ 2147483647 h 36"/>
              <a:gd name="T2" fmla="*/ 2147483647 w 58"/>
              <a:gd name="T3" fmla="*/ 2147483647 h 36"/>
              <a:gd name="T4" fmla="*/ 2147483647 w 58"/>
              <a:gd name="T5" fmla="*/ 2147483647 h 36"/>
              <a:gd name="T6" fmla="*/ 2147483647 w 58"/>
              <a:gd name="T7" fmla="*/ 2147483647 h 36"/>
              <a:gd name="T8" fmla="*/ 2147483647 w 58"/>
              <a:gd name="T9" fmla="*/ 2147483647 h 36"/>
              <a:gd name="T10" fmla="*/ 2147483647 w 58"/>
              <a:gd name="T11" fmla="*/ 0 h 36"/>
              <a:gd name="T12" fmla="*/ 2147483647 w 58"/>
              <a:gd name="T13" fmla="*/ 2147483647 h 36"/>
              <a:gd name="T14" fmla="*/ 2147483647 w 58"/>
              <a:gd name="T15" fmla="*/ 2147483647 h 36"/>
              <a:gd name="T16" fmla="*/ 2147483647 w 58"/>
              <a:gd name="T17" fmla="*/ 2147483647 h 36"/>
              <a:gd name="T18" fmla="*/ 2147483647 w 58"/>
              <a:gd name="T19" fmla="*/ 2147483647 h 36"/>
              <a:gd name="T20" fmla="*/ 2147483647 w 58"/>
              <a:gd name="T21" fmla="*/ 2147483647 h 36"/>
              <a:gd name="T22" fmla="*/ 2147483647 w 58"/>
              <a:gd name="T23" fmla="*/ 2147483647 h 36"/>
              <a:gd name="T24" fmla="*/ 2147483647 w 58"/>
              <a:gd name="T25" fmla="*/ 2147483647 h 36"/>
              <a:gd name="T26" fmla="*/ 0 w 58"/>
              <a:gd name="T27" fmla="*/ 2147483647 h 36"/>
              <a:gd name="T28" fmla="*/ 0 w 58"/>
              <a:gd name="T29" fmla="*/ 2147483647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58"/>
              <a:gd name="T46" fmla="*/ 0 h 36"/>
              <a:gd name="T47" fmla="*/ 58 w 58"/>
              <a:gd name="T48" fmla="*/ 36 h 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58" h="36">
                <a:moveTo>
                  <a:pt x="0" y="22"/>
                </a:moveTo>
                <a:lnTo>
                  <a:pt x="14" y="22"/>
                </a:lnTo>
                <a:lnTo>
                  <a:pt x="34" y="22"/>
                </a:lnTo>
                <a:lnTo>
                  <a:pt x="40" y="16"/>
                </a:lnTo>
                <a:lnTo>
                  <a:pt x="50" y="6"/>
                </a:lnTo>
                <a:lnTo>
                  <a:pt x="56" y="0"/>
                </a:lnTo>
                <a:lnTo>
                  <a:pt x="58" y="10"/>
                </a:lnTo>
                <a:lnTo>
                  <a:pt x="54" y="18"/>
                </a:lnTo>
                <a:lnTo>
                  <a:pt x="46" y="22"/>
                </a:lnTo>
                <a:lnTo>
                  <a:pt x="38" y="28"/>
                </a:lnTo>
                <a:lnTo>
                  <a:pt x="32" y="34"/>
                </a:lnTo>
                <a:lnTo>
                  <a:pt x="20" y="36"/>
                </a:lnTo>
                <a:lnTo>
                  <a:pt x="6" y="32"/>
                </a:lnTo>
                <a:lnTo>
                  <a:pt x="0" y="28"/>
                </a:lnTo>
                <a:lnTo>
                  <a:pt x="0" y="2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64" name="Freeform 244">
            <a:extLst>
              <a:ext uri="{FF2B5EF4-FFF2-40B4-BE49-F238E27FC236}">
                <a16:creationId xmlns:a16="http://schemas.microsoft.com/office/drawing/2014/main" id="{AFFD4751-772E-81F7-F09E-95A2DDB15A51}"/>
              </a:ext>
            </a:extLst>
          </p:cNvPr>
          <p:cNvSpPr>
            <a:spLocks/>
          </p:cNvSpPr>
          <p:nvPr/>
        </p:nvSpPr>
        <p:spPr bwMode="auto">
          <a:xfrm>
            <a:off x="10037234" y="5080001"/>
            <a:ext cx="38100" cy="57151"/>
          </a:xfrm>
          <a:custGeom>
            <a:avLst/>
            <a:gdLst>
              <a:gd name="T0" fmla="*/ 0 w 22"/>
              <a:gd name="T1" fmla="*/ 0 h 28"/>
              <a:gd name="T2" fmla="*/ 2147483647 w 22"/>
              <a:gd name="T3" fmla="*/ 2147483647 h 28"/>
              <a:gd name="T4" fmla="*/ 2147483647 w 22"/>
              <a:gd name="T5" fmla="*/ 2147483647 h 28"/>
              <a:gd name="T6" fmla="*/ 2147483647 w 22"/>
              <a:gd name="T7" fmla="*/ 2147483647 h 28"/>
              <a:gd name="T8" fmla="*/ 2147483647 w 22"/>
              <a:gd name="T9" fmla="*/ 2147483647 h 28"/>
              <a:gd name="T10" fmla="*/ 2147483647 w 22"/>
              <a:gd name="T11" fmla="*/ 2147483647 h 28"/>
              <a:gd name="T12" fmla="*/ 2147483647 w 22"/>
              <a:gd name="T13" fmla="*/ 2147483647 h 28"/>
              <a:gd name="T14" fmla="*/ 0 w 22"/>
              <a:gd name="T15" fmla="*/ 0 h 2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2"/>
              <a:gd name="T25" fmla="*/ 0 h 28"/>
              <a:gd name="T26" fmla="*/ 22 w 22"/>
              <a:gd name="T27" fmla="*/ 28 h 2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2" h="28">
                <a:moveTo>
                  <a:pt x="0" y="0"/>
                </a:moveTo>
                <a:lnTo>
                  <a:pt x="10" y="6"/>
                </a:lnTo>
                <a:lnTo>
                  <a:pt x="20" y="16"/>
                </a:lnTo>
                <a:lnTo>
                  <a:pt x="22" y="28"/>
                </a:lnTo>
                <a:lnTo>
                  <a:pt x="12" y="22"/>
                </a:lnTo>
                <a:lnTo>
                  <a:pt x="8" y="14"/>
                </a:lnTo>
                <a:lnTo>
                  <a:pt x="2" y="8"/>
                </a:lnTo>
                <a:lnTo>
                  <a:pt x="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65" name="Freeform 245">
            <a:extLst>
              <a:ext uri="{FF2B5EF4-FFF2-40B4-BE49-F238E27FC236}">
                <a16:creationId xmlns:a16="http://schemas.microsoft.com/office/drawing/2014/main" id="{72821712-090F-028C-A795-B8AD7180D647}"/>
              </a:ext>
            </a:extLst>
          </p:cNvPr>
          <p:cNvSpPr>
            <a:spLocks/>
          </p:cNvSpPr>
          <p:nvPr/>
        </p:nvSpPr>
        <p:spPr bwMode="auto">
          <a:xfrm>
            <a:off x="10189634" y="5215467"/>
            <a:ext cx="38100" cy="19051"/>
          </a:xfrm>
          <a:custGeom>
            <a:avLst/>
            <a:gdLst>
              <a:gd name="T0" fmla="*/ 2147483647 w 20"/>
              <a:gd name="T1" fmla="*/ 0 h 12"/>
              <a:gd name="T2" fmla="*/ 2147483647 w 20"/>
              <a:gd name="T3" fmla="*/ 0 h 12"/>
              <a:gd name="T4" fmla="*/ 2147483647 w 20"/>
              <a:gd name="T5" fmla="*/ 2147483647 h 12"/>
              <a:gd name="T6" fmla="*/ 2147483647 w 20"/>
              <a:gd name="T7" fmla="*/ 2147483647 h 12"/>
              <a:gd name="T8" fmla="*/ 2147483647 w 20"/>
              <a:gd name="T9" fmla="*/ 2147483647 h 12"/>
              <a:gd name="T10" fmla="*/ 2147483647 w 20"/>
              <a:gd name="T11" fmla="*/ 2147483647 h 12"/>
              <a:gd name="T12" fmla="*/ 2147483647 w 20"/>
              <a:gd name="T13" fmla="*/ 2147483647 h 12"/>
              <a:gd name="T14" fmla="*/ 0 w 20"/>
              <a:gd name="T15" fmla="*/ 2147483647 h 12"/>
              <a:gd name="T16" fmla="*/ 2147483647 w 20"/>
              <a:gd name="T17" fmla="*/ 0 h 1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0"/>
              <a:gd name="T28" fmla="*/ 0 h 12"/>
              <a:gd name="T29" fmla="*/ 20 w 20"/>
              <a:gd name="T30" fmla="*/ 12 h 1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0" h="12">
                <a:moveTo>
                  <a:pt x="4" y="0"/>
                </a:moveTo>
                <a:lnTo>
                  <a:pt x="10" y="0"/>
                </a:lnTo>
                <a:lnTo>
                  <a:pt x="20" y="8"/>
                </a:lnTo>
                <a:lnTo>
                  <a:pt x="20" y="10"/>
                </a:lnTo>
                <a:lnTo>
                  <a:pt x="20" y="12"/>
                </a:lnTo>
                <a:lnTo>
                  <a:pt x="18" y="12"/>
                </a:lnTo>
                <a:lnTo>
                  <a:pt x="4" y="10"/>
                </a:lnTo>
                <a:lnTo>
                  <a:pt x="0" y="4"/>
                </a:lnTo>
                <a:lnTo>
                  <a:pt x="4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66" name="Freeform 246">
            <a:extLst>
              <a:ext uri="{FF2B5EF4-FFF2-40B4-BE49-F238E27FC236}">
                <a16:creationId xmlns:a16="http://schemas.microsoft.com/office/drawing/2014/main" id="{E335B239-7DE4-1DE7-5C13-832384DE57C0}"/>
              </a:ext>
            </a:extLst>
          </p:cNvPr>
          <p:cNvSpPr>
            <a:spLocks/>
          </p:cNvSpPr>
          <p:nvPr/>
        </p:nvSpPr>
        <p:spPr bwMode="auto">
          <a:xfrm>
            <a:off x="10219268" y="5175251"/>
            <a:ext cx="29633" cy="48684"/>
          </a:xfrm>
          <a:custGeom>
            <a:avLst/>
            <a:gdLst>
              <a:gd name="T0" fmla="*/ 0 w 16"/>
              <a:gd name="T1" fmla="*/ 0 h 20"/>
              <a:gd name="T2" fmla="*/ 2147483647 w 16"/>
              <a:gd name="T3" fmla="*/ 2147483647 h 20"/>
              <a:gd name="T4" fmla="*/ 2147483647 w 16"/>
              <a:gd name="T5" fmla="*/ 2147483647 h 20"/>
              <a:gd name="T6" fmla="*/ 2147483647 w 16"/>
              <a:gd name="T7" fmla="*/ 2147483647 h 20"/>
              <a:gd name="T8" fmla="*/ 2147483647 w 16"/>
              <a:gd name="T9" fmla="*/ 2147483647 h 20"/>
              <a:gd name="T10" fmla="*/ 2147483647 w 16"/>
              <a:gd name="T11" fmla="*/ 2147483647 h 20"/>
              <a:gd name="T12" fmla="*/ 0 w 16"/>
              <a:gd name="T13" fmla="*/ 0 h 2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6"/>
              <a:gd name="T22" fmla="*/ 0 h 20"/>
              <a:gd name="T23" fmla="*/ 16 w 16"/>
              <a:gd name="T24" fmla="*/ 20 h 2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6" h="20">
                <a:moveTo>
                  <a:pt x="0" y="0"/>
                </a:moveTo>
                <a:lnTo>
                  <a:pt x="2" y="8"/>
                </a:lnTo>
                <a:lnTo>
                  <a:pt x="6" y="18"/>
                </a:lnTo>
                <a:lnTo>
                  <a:pt x="16" y="20"/>
                </a:lnTo>
                <a:lnTo>
                  <a:pt x="14" y="8"/>
                </a:lnTo>
                <a:lnTo>
                  <a:pt x="8" y="4"/>
                </a:lnTo>
                <a:lnTo>
                  <a:pt x="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67" name="Freeform 247">
            <a:extLst>
              <a:ext uri="{FF2B5EF4-FFF2-40B4-BE49-F238E27FC236}">
                <a16:creationId xmlns:a16="http://schemas.microsoft.com/office/drawing/2014/main" id="{6F85A985-298E-68A0-18D0-381037D20EB8}"/>
              </a:ext>
            </a:extLst>
          </p:cNvPr>
          <p:cNvSpPr>
            <a:spLocks/>
          </p:cNvSpPr>
          <p:nvPr/>
        </p:nvSpPr>
        <p:spPr bwMode="auto">
          <a:xfrm>
            <a:off x="10248900" y="5242985"/>
            <a:ext cx="27517" cy="21167"/>
          </a:xfrm>
          <a:custGeom>
            <a:avLst/>
            <a:gdLst>
              <a:gd name="T0" fmla="*/ 0 w 14"/>
              <a:gd name="T1" fmla="*/ 2147483647 h 10"/>
              <a:gd name="T2" fmla="*/ 2147483647 w 14"/>
              <a:gd name="T3" fmla="*/ 0 h 10"/>
              <a:gd name="T4" fmla="*/ 2147483647 w 14"/>
              <a:gd name="T5" fmla="*/ 2147483647 h 10"/>
              <a:gd name="T6" fmla="*/ 2147483647 w 14"/>
              <a:gd name="T7" fmla="*/ 2147483647 h 10"/>
              <a:gd name="T8" fmla="*/ 2147483647 w 14"/>
              <a:gd name="T9" fmla="*/ 2147483647 h 10"/>
              <a:gd name="T10" fmla="*/ 0 w 14"/>
              <a:gd name="T11" fmla="*/ 2147483647 h 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"/>
              <a:gd name="T19" fmla="*/ 0 h 10"/>
              <a:gd name="T20" fmla="*/ 14 w 14"/>
              <a:gd name="T21" fmla="*/ 10 h 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" h="10">
                <a:moveTo>
                  <a:pt x="0" y="2"/>
                </a:moveTo>
                <a:lnTo>
                  <a:pt x="6" y="0"/>
                </a:lnTo>
                <a:lnTo>
                  <a:pt x="14" y="4"/>
                </a:lnTo>
                <a:lnTo>
                  <a:pt x="14" y="10"/>
                </a:lnTo>
                <a:lnTo>
                  <a:pt x="6" y="8"/>
                </a:lnTo>
                <a:lnTo>
                  <a:pt x="0" y="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68" name="Freeform 248">
            <a:extLst>
              <a:ext uri="{FF2B5EF4-FFF2-40B4-BE49-F238E27FC236}">
                <a16:creationId xmlns:a16="http://schemas.microsoft.com/office/drawing/2014/main" id="{8798525A-8448-45E3-0D62-2165D2BC215C}"/>
              </a:ext>
            </a:extLst>
          </p:cNvPr>
          <p:cNvSpPr>
            <a:spLocks/>
          </p:cNvSpPr>
          <p:nvPr/>
        </p:nvSpPr>
        <p:spPr bwMode="auto">
          <a:xfrm>
            <a:off x="10335684" y="5562600"/>
            <a:ext cx="86784" cy="67733"/>
          </a:xfrm>
          <a:custGeom>
            <a:avLst/>
            <a:gdLst>
              <a:gd name="T0" fmla="*/ 0 w 44"/>
              <a:gd name="T1" fmla="*/ 0 h 36"/>
              <a:gd name="T2" fmla="*/ 2147483647 w 44"/>
              <a:gd name="T3" fmla="*/ 2147483647 h 36"/>
              <a:gd name="T4" fmla="*/ 2147483647 w 44"/>
              <a:gd name="T5" fmla="*/ 2147483647 h 36"/>
              <a:gd name="T6" fmla="*/ 2147483647 w 44"/>
              <a:gd name="T7" fmla="*/ 2147483647 h 36"/>
              <a:gd name="T8" fmla="*/ 2147483647 w 44"/>
              <a:gd name="T9" fmla="*/ 2147483647 h 36"/>
              <a:gd name="T10" fmla="*/ 2147483647 w 44"/>
              <a:gd name="T11" fmla="*/ 2147483647 h 36"/>
              <a:gd name="T12" fmla="*/ 2147483647 w 44"/>
              <a:gd name="T13" fmla="*/ 2147483647 h 36"/>
              <a:gd name="T14" fmla="*/ 2147483647 w 44"/>
              <a:gd name="T15" fmla="*/ 2147483647 h 36"/>
              <a:gd name="T16" fmla="*/ 2147483647 w 44"/>
              <a:gd name="T17" fmla="*/ 2147483647 h 36"/>
              <a:gd name="T18" fmla="*/ 2147483647 w 44"/>
              <a:gd name="T19" fmla="*/ 2147483647 h 36"/>
              <a:gd name="T20" fmla="*/ 0 w 44"/>
              <a:gd name="T21" fmla="*/ 0 h 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4"/>
              <a:gd name="T34" fmla="*/ 0 h 36"/>
              <a:gd name="T35" fmla="*/ 44 w 44"/>
              <a:gd name="T36" fmla="*/ 36 h 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4" h="36">
                <a:moveTo>
                  <a:pt x="0" y="0"/>
                </a:moveTo>
                <a:lnTo>
                  <a:pt x="14" y="6"/>
                </a:lnTo>
                <a:lnTo>
                  <a:pt x="24" y="18"/>
                </a:lnTo>
                <a:lnTo>
                  <a:pt x="34" y="24"/>
                </a:lnTo>
                <a:lnTo>
                  <a:pt x="44" y="32"/>
                </a:lnTo>
                <a:lnTo>
                  <a:pt x="42" y="36"/>
                </a:lnTo>
                <a:lnTo>
                  <a:pt x="30" y="28"/>
                </a:lnTo>
                <a:lnTo>
                  <a:pt x="20" y="20"/>
                </a:lnTo>
                <a:lnTo>
                  <a:pt x="10" y="12"/>
                </a:lnTo>
                <a:lnTo>
                  <a:pt x="2" y="8"/>
                </a:lnTo>
                <a:lnTo>
                  <a:pt x="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69" name="Freeform 249">
            <a:extLst>
              <a:ext uri="{FF2B5EF4-FFF2-40B4-BE49-F238E27FC236}">
                <a16:creationId xmlns:a16="http://schemas.microsoft.com/office/drawing/2014/main" id="{9C163E88-01E3-5C39-59B4-EDD5E09BB270}"/>
              </a:ext>
            </a:extLst>
          </p:cNvPr>
          <p:cNvSpPr>
            <a:spLocks/>
          </p:cNvSpPr>
          <p:nvPr/>
        </p:nvSpPr>
        <p:spPr bwMode="auto">
          <a:xfrm>
            <a:off x="10596034" y="6036734"/>
            <a:ext cx="184151" cy="260351"/>
          </a:xfrm>
          <a:custGeom>
            <a:avLst/>
            <a:gdLst>
              <a:gd name="T0" fmla="*/ 2147483647 w 88"/>
              <a:gd name="T1" fmla="*/ 2147483647 h 136"/>
              <a:gd name="T2" fmla="*/ 2147483647 w 88"/>
              <a:gd name="T3" fmla="*/ 2147483647 h 136"/>
              <a:gd name="T4" fmla="*/ 2147483647 w 88"/>
              <a:gd name="T5" fmla="*/ 2147483647 h 136"/>
              <a:gd name="T6" fmla="*/ 2147483647 w 88"/>
              <a:gd name="T7" fmla="*/ 2147483647 h 136"/>
              <a:gd name="T8" fmla="*/ 2147483647 w 88"/>
              <a:gd name="T9" fmla="*/ 2147483647 h 136"/>
              <a:gd name="T10" fmla="*/ 2147483647 w 88"/>
              <a:gd name="T11" fmla="*/ 2147483647 h 136"/>
              <a:gd name="T12" fmla="*/ 2147483647 w 88"/>
              <a:gd name="T13" fmla="*/ 2147483647 h 136"/>
              <a:gd name="T14" fmla="*/ 2147483647 w 88"/>
              <a:gd name="T15" fmla="*/ 2147483647 h 136"/>
              <a:gd name="T16" fmla="*/ 2147483647 w 88"/>
              <a:gd name="T17" fmla="*/ 2147483647 h 136"/>
              <a:gd name="T18" fmla="*/ 0 w 88"/>
              <a:gd name="T19" fmla="*/ 0 h 136"/>
              <a:gd name="T20" fmla="*/ 2147483647 w 88"/>
              <a:gd name="T21" fmla="*/ 2147483647 h 136"/>
              <a:gd name="T22" fmla="*/ 2147483647 w 88"/>
              <a:gd name="T23" fmla="*/ 2147483647 h 136"/>
              <a:gd name="T24" fmla="*/ 2147483647 w 88"/>
              <a:gd name="T25" fmla="*/ 2147483647 h 136"/>
              <a:gd name="T26" fmla="*/ 2147483647 w 88"/>
              <a:gd name="T27" fmla="*/ 2147483647 h 136"/>
              <a:gd name="T28" fmla="*/ 2147483647 w 88"/>
              <a:gd name="T29" fmla="*/ 2147483647 h 136"/>
              <a:gd name="T30" fmla="*/ 2147483647 w 88"/>
              <a:gd name="T31" fmla="*/ 2147483647 h 136"/>
              <a:gd name="T32" fmla="*/ 2147483647 w 88"/>
              <a:gd name="T33" fmla="*/ 2147483647 h 136"/>
              <a:gd name="T34" fmla="*/ 2147483647 w 88"/>
              <a:gd name="T35" fmla="*/ 2147483647 h 136"/>
              <a:gd name="T36" fmla="*/ 2147483647 w 88"/>
              <a:gd name="T37" fmla="*/ 2147483647 h 136"/>
              <a:gd name="T38" fmla="*/ 2147483647 w 88"/>
              <a:gd name="T39" fmla="*/ 2147483647 h 136"/>
              <a:gd name="T40" fmla="*/ 2147483647 w 88"/>
              <a:gd name="T41" fmla="*/ 2147483647 h 136"/>
              <a:gd name="T42" fmla="*/ 2147483647 w 88"/>
              <a:gd name="T43" fmla="*/ 2147483647 h 136"/>
              <a:gd name="T44" fmla="*/ 2147483647 w 88"/>
              <a:gd name="T45" fmla="*/ 2147483647 h 136"/>
              <a:gd name="T46" fmla="*/ 2147483647 w 88"/>
              <a:gd name="T47" fmla="*/ 2147483647 h 136"/>
              <a:gd name="T48" fmla="*/ 2147483647 w 88"/>
              <a:gd name="T49" fmla="*/ 2147483647 h 136"/>
              <a:gd name="T50" fmla="*/ 2147483647 w 88"/>
              <a:gd name="T51" fmla="*/ 2147483647 h 136"/>
              <a:gd name="T52" fmla="*/ 2147483647 w 88"/>
              <a:gd name="T53" fmla="*/ 2147483647 h 136"/>
              <a:gd name="T54" fmla="*/ 2147483647 w 88"/>
              <a:gd name="T55" fmla="*/ 2147483647 h 136"/>
              <a:gd name="T56" fmla="*/ 2147483647 w 88"/>
              <a:gd name="T57" fmla="*/ 2147483647 h 136"/>
              <a:gd name="T58" fmla="*/ 2147483647 w 88"/>
              <a:gd name="T59" fmla="*/ 2147483647 h 136"/>
              <a:gd name="T60" fmla="*/ 2147483647 w 88"/>
              <a:gd name="T61" fmla="*/ 2147483647 h 136"/>
              <a:gd name="T62" fmla="*/ 2147483647 w 88"/>
              <a:gd name="T63" fmla="*/ 2147483647 h 136"/>
              <a:gd name="T64" fmla="*/ 2147483647 w 88"/>
              <a:gd name="T65" fmla="*/ 2147483647 h 136"/>
              <a:gd name="T66" fmla="*/ 2147483647 w 88"/>
              <a:gd name="T67" fmla="*/ 2147483647 h 136"/>
              <a:gd name="T68" fmla="*/ 2147483647 w 88"/>
              <a:gd name="T69" fmla="*/ 2147483647 h 136"/>
              <a:gd name="T70" fmla="*/ 2147483647 w 88"/>
              <a:gd name="T71" fmla="*/ 2147483647 h 136"/>
              <a:gd name="T72" fmla="*/ 2147483647 w 88"/>
              <a:gd name="T73" fmla="*/ 2147483647 h 136"/>
              <a:gd name="T74" fmla="*/ 2147483647 w 88"/>
              <a:gd name="T75" fmla="*/ 2147483647 h 1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88"/>
              <a:gd name="T115" fmla="*/ 0 h 136"/>
              <a:gd name="T116" fmla="*/ 88 w 88"/>
              <a:gd name="T117" fmla="*/ 136 h 1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88" h="136">
                <a:moveTo>
                  <a:pt x="20" y="98"/>
                </a:moveTo>
                <a:lnTo>
                  <a:pt x="14" y="90"/>
                </a:lnTo>
                <a:lnTo>
                  <a:pt x="22" y="84"/>
                </a:lnTo>
                <a:lnTo>
                  <a:pt x="28" y="80"/>
                </a:lnTo>
                <a:lnTo>
                  <a:pt x="28" y="62"/>
                </a:lnTo>
                <a:lnTo>
                  <a:pt x="30" y="46"/>
                </a:lnTo>
                <a:lnTo>
                  <a:pt x="20" y="34"/>
                </a:lnTo>
                <a:lnTo>
                  <a:pt x="8" y="26"/>
                </a:lnTo>
                <a:lnTo>
                  <a:pt x="2" y="10"/>
                </a:lnTo>
                <a:lnTo>
                  <a:pt x="0" y="0"/>
                </a:lnTo>
                <a:lnTo>
                  <a:pt x="10" y="10"/>
                </a:lnTo>
                <a:lnTo>
                  <a:pt x="22" y="18"/>
                </a:lnTo>
                <a:lnTo>
                  <a:pt x="30" y="26"/>
                </a:lnTo>
                <a:lnTo>
                  <a:pt x="28" y="34"/>
                </a:lnTo>
                <a:lnTo>
                  <a:pt x="34" y="44"/>
                </a:lnTo>
                <a:lnTo>
                  <a:pt x="38" y="52"/>
                </a:lnTo>
                <a:lnTo>
                  <a:pt x="44" y="46"/>
                </a:lnTo>
                <a:lnTo>
                  <a:pt x="46" y="52"/>
                </a:lnTo>
                <a:lnTo>
                  <a:pt x="52" y="60"/>
                </a:lnTo>
                <a:lnTo>
                  <a:pt x="64" y="68"/>
                </a:lnTo>
                <a:lnTo>
                  <a:pt x="76" y="66"/>
                </a:lnTo>
                <a:lnTo>
                  <a:pt x="82" y="60"/>
                </a:lnTo>
                <a:lnTo>
                  <a:pt x="88" y="62"/>
                </a:lnTo>
                <a:lnTo>
                  <a:pt x="88" y="74"/>
                </a:lnTo>
                <a:lnTo>
                  <a:pt x="80" y="80"/>
                </a:lnTo>
                <a:lnTo>
                  <a:pt x="80" y="88"/>
                </a:lnTo>
                <a:lnTo>
                  <a:pt x="64" y="90"/>
                </a:lnTo>
                <a:lnTo>
                  <a:pt x="64" y="98"/>
                </a:lnTo>
                <a:lnTo>
                  <a:pt x="64" y="106"/>
                </a:lnTo>
                <a:lnTo>
                  <a:pt x="58" y="114"/>
                </a:lnTo>
                <a:lnTo>
                  <a:pt x="50" y="126"/>
                </a:lnTo>
                <a:lnTo>
                  <a:pt x="40" y="136"/>
                </a:lnTo>
                <a:lnTo>
                  <a:pt x="32" y="134"/>
                </a:lnTo>
                <a:lnTo>
                  <a:pt x="30" y="122"/>
                </a:lnTo>
                <a:lnTo>
                  <a:pt x="36" y="116"/>
                </a:lnTo>
                <a:lnTo>
                  <a:pt x="36" y="108"/>
                </a:lnTo>
                <a:lnTo>
                  <a:pt x="30" y="100"/>
                </a:lnTo>
                <a:lnTo>
                  <a:pt x="20" y="9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70" name="Freeform 250">
            <a:extLst>
              <a:ext uri="{FF2B5EF4-FFF2-40B4-BE49-F238E27FC236}">
                <a16:creationId xmlns:a16="http://schemas.microsoft.com/office/drawing/2014/main" id="{4F0F660F-3A6C-2CB3-7224-BA867964828C}"/>
              </a:ext>
            </a:extLst>
          </p:cNvPr>
          <p:cNvSpPr>
            <a:spLocks/>
          </p:cNvSpPr>
          <p:nvPr/>
        </p:nvSpPr>
        <p:spPr bwMode="auto">
          <a:xfrm>
            <a:off x="10403418" y="6261100"/>
            <a:ext cx="241300" cy="230717"/>
          </a:xfrm>
          <a:custGeom>
            <a:avLst/>
            <a:gdLst>
              <a:gd name="T0" fmla="*/ 2147483647 w 122"/>
              <a:gd name="T1" fmla="*/ 0 h 116"/>
              <a:gd name="T2" fmla="*/ 2147483647 w 122"/>
              <a:gd name="T3" fmla="*/ 2147483647 h 116"/>
              <a:gd name="T4" fmla="*/ 2147483647 w 122"/>
              <a:gd name="T5" fmla="*/ 2147483647 h 116"/>
              <a:gd name="T6" fmla="*/ 2147483647 w 122"/>
              <a:gd name="T7" fmla="*/ 2147483647 h 116"/>
              <a:gd name="T8" fmla="*/ 2147483647 w 122"/>
              <a:gd name="T9" fmla="*/ 2147483647 h 116"/>
              <a:gd name="T10" fmla="*/ 2147483647 w 122"/>
              <a:gd name="T11" fmla="*/ 2147483647 h 116"/>
              <a:gd name="T12" fmla="*/ 2147483647 w 122"/>
              <a:gd name="T13" fmla="*/ 2147483647 h 116"/>
              <a:gd name="T14" fmla="*/ 2147483647 w 122"/>
              <a:gd name="T15" fmla="*/ 2147483647 h 116"/>
              <a:gd name="T16" fmla="*/ 2147483647 w 122"/>
              <a:gd name="T17" fmla="*/ 2147483647 h 116"/>
              <a:gd name="T18" fmla="*/ 2147483647 w 122"/>
              <a:gd name="T19" fmla="*/ 2147483647 h 116"/>
              <a:gd name="T20" fmla="*/ 2147483647 w 122"/>
              <a:gd name="T21" fmla="*/ 2147483647 h 116"/>
              <a:gd name="T22" fmla="*/ 2147483647 w 122"/>
              <a:gd name="T23" fmla="*/ 2147483647 h 116"/>
              <a:gd name="T24" fmla="*/ 2147483647 w 122"/>
              <a:gd name="T25" fmla="*/ 2147483647 h 116"/>
              <a:gd name="T26" fmla="*/ 2147483647 w 122"/>
              <a:gd name="T27" fmla="*/ 2147483647 h 116"/>
              <a:gd name="T28" fmla="*/ 2147483647 w 122"/>
              <a:gd name="T29" fmla="*/ 2147483647 h 116"/>
              <a:gd name="T30" fmla="*/ 2147483647 w 122"/>
              <a:gd name="T31" fmla="*/ 2147483647 h 116"/>
              <a:gd name="T32" fmla="*/ 2147483647 w 122"/>
              <a:gd name="T33" fmla="*/ 2147483647 h 116"/>
              <a:gd name="T34" fmla="*/ 2147483647 w 122"/>
              <a:gd name="T35" fmla="*/ 2147483647 h 116"/>
              <a:gd name="T36" fmla="*/ 2147483647 w 122"/>
              <a:gd name="T37" fmla="*/ 2147483647 h 116"/>
              <a:gd name="T38" fmla="*/ 0 w 122"/>
              <a:gd name="T39" fmla="*/ 2147483647 h 116"/>
              <a:gd name="T40" fmla="*/ 2147483647 w 122"/>
              <a:gd name="T41" fmla="*/ 2147483647 h 116"/>
              <a:gd name="T42" fmla="*/ 2147483647 w 122"/>
              <a:gd name="T43" fmla="*/ 2147483647 h 116"/>
              <a:gd name="T44" fmla="*/ 2147483647 w 122"/>
              <a:gd name="T45" fmla="*/ 2147483647 h 116"/>
              <a:gd name="T46" fmla="*/ 2147483647 w 122"/>
              <a:gd name="T47" fmla="*/ 2147483647 h 116"/>
              <a:gd name="T48" fmla="*/ 2147483647 w 122"/>
              <a:gd name="T49" fmla="*/ 2147483647 h 116"/>
              <a:gd name="T50" fmla="*/ 2147483647 w 122"/>
              <a:gd name="T51" fmla="*/ 2147483647 h 116"/>
              <a:gd name="T52" fmla="*/ 2147483647 w 122"/>
              <a:gd name="T53" fmla="*/ 2147483647 h 116"/>
              <a:gd name="T54" fmla="*/ 2147483647 w 122"/>
              <a:gd name="T55" fmla="*/ 2147483647 h 116"/>
              <a:gd name="T56" fmla="*/ 2147483647 w 122"/>
              <a:gd name="T57" fmla="*/ 2147483647 h 116"/>
              <a:gd name="T58" fmla="*/ 2147483647 w 122"/>
              <a:gd name="T59" fmla="*/ 2147483647 h 116"/>
              <a:gd name="T60" fmla="*/ 2147483647 w 122"/>
              <a:gd name="T61" fmla="*/ 0 h 11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22"/>
              <a:gd name="T94" fmla="*/ 0 h 116"/>
              <a:gd name="T95" fmla="*/ 122 w 122"/>
              <a:gd name="T96" fmla="*/ 116 h 11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22" h="116">
                <a:moveTo>
                  <a:pt x="92" y="0"/>
                </a:moveTo>
                <a:lnTo>
                  <a:pt x="100" y="2"/>
                </a:lnTo>
                <a:lnTo>
                  <a:pt x="106" y="10"/>
                </a:lnTo>
                <a:lnTo>
                  <a:pt x="116" y="10"/>
                </a:lnTo>
                <a:lnTo>
                  <a:pt x="122" y="10"/>
                </a:lnTo>
                <a:lnTo>
                  <a:pt x="122" y="20"/>
                </a:lnTo>
                <a:lnTo>
                  <a:pt x="116" y="30"/>
                </a:lnTo>
                <a:lnTo>
                  <a:pt x="110" y="38"/>
                </a:lnTo>
                <a:lnTo>
                  <a:pt x="100" y="46"/>
                </a:lnTo>
                <a:lnTo>
                  <a:pt x="100" y="60"/>
                </a:lnTo>
                <a:lnTo>
                  <a:pt x="90" y="62"/>
                </a:lnTo>
                <a:lnTo>
                  <a:pt x="80" y="66"/>
                </a:lnTo>
                <a:lnTo>
                  <a:pt x="74" y="74"/>
                </a:lnTo>
                <a:lnTo>
                  <a:pt x="70" y="90"/>
                </a:lnTo>
                <a:lnTo>
                  <a:pt x="58" y="104"/>
                </a:lnTo>
                <a:lnTo>
                  <a:pt x="48" y="114"/>
                </a:lnTo>
                <a:lnTo>
                  <a:pt x="30" y="116"/>
                </a:lnTo>
                <a:lnTo>
                  <a:pt x="22" y="110"/>
                </a:lnTo>
                <a:lnTo>
                  <a:pt x="16" y="108"/>
                </a:lnTo>
                <a:lnTo>
                  <a:pt x="0" y="106"/>
                </a:lnTo>
                <a:lnTo>
                  <a:pt x="4" y="92"/>
                </a:lnTo>
                <a:lnTo>
                  <a:pt x="14" y="80"/>
                </a:lnTo>
                <a:lnTo>
                  <a:pt x="30" y="64"/>
                </a:lnTo>
                <a:lnTo>
                  <a:pt x="38" y="64"/>
                </a:lnTo>
                <a:lnTo>
                  <a:pt x="48" y="52"/>
                </a:lnTo>
                <a:lnTo>
                  <a:pt x="60" y="52"/>
                </a:lnTo>
                <a:lnTo>
                  <a:pt x="72" y="36"/>
                </a:lnTo>
                <a:lnTo>
                  <a:pt x="78" y="26"/>
                </a:lnTo>
                <a:lnTo>
                  <a:pt x="88" y="20"/>
                </a:lnTo>
                <a:lnTo>
                  <a:pt x="88" y="10"/>
                </a:lnTo>
                <a:lnTo>
                  <a:pt x="92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71" name="Freeform 251">
            <a:extLst>
              <a:ext uri="{FF2B5EF4-FFF2-40B4-BE49-F238E27FC236}">
                <a16:creationId xmlns:a16="http://schemas.microsoft.com/office/drawing/2014/main" id="{3B2FC468-B60B-D26D-BD2D-7B6DFF398E5A}"/>
              </a:ext>
            </a:extLst>
          </p:cNvPr>
          <p:cNvSpPr>
            <a:spLocks/>
          </p:cNvSpPr>
          <p:nvPr/>
        </p:nvSpPr>
        <p:spPr bwMode="auto">
          <a:xfrm>
            <a:off x="9726085" y="6261101"/>
            <a:ext cx="107951" cy="114300"/>
          </a:xfrm>
          <a:custGeom>
            <a:avLst/>
            <a:gdLst>
              <a:gd name="T0" fmla="*/ 2147483647 w 58"/>
              <a:gd name="T1" fmla="*/ 0 h 58"/>
              <a:gd name="T2" fmla="*/ 2147483647 w 58"/>
              <a:gd name="T3" fmla="*/ 2147483647 h 58"/>
              <a:gd name="T4" fmla="*/ 2147483647 w 58"/>
              <a:gd name="T5" fmla="*/ 2147483647 h 58"/>
              <a:gd name="T6" fmla="*/ 2147483647 w 58"/>
              <a:gd name="T7" fmla="*/ 2147483647 h 58"/>
              <a:gd name="T8" fmla="*/ 2147483647 w 58"/>
              <a:gd name="T9" fmla="*/ 2147483647 h 58"/>
              <a:gd name="T10" fmla="*/ 2147483647 w 58"/>
              <a:gd name="T11" fmla="*/ 2147483647 h 58"/>
              <a:gd name="T12" fmla="*/ 2147483647 w 58"/>
              <a:gd name="T13" fmla="*/ 2147483647 h 58"/>
              <a:gd name="T14" fmla="*/ 2147483647 w 58"/>
              <a:gd name="T15" fmla="*/ 2147483647 h 58"/>
              <a:gd name="T16" fmla="*/ 2147483647 w 58"/>
              <a:gd name="T17" fmla="*/ 2147483647 h 58"/>
              <a:gd name="T18" fmla="*/ 2147483647 w 58"/>
              <a:gd name="T19" fmla="*/ 2147483647 h 58"/>
              <a:gd name="T20" fmla="*/ 2147483647 w 58"/>
              <a:gd name="T21" fmla="*/ 2147483647 h 58"/>
              <a:gd name="T22" fmla="*/ 2147483647 w 58"/>
              <a:gd name="T23" fmla="*/ 2147483647 h 58"/>
              <a:gd name="T24" fmla="*/ 2147483647 w 58"/>
              <a:gd name="T25" fmla="*/ 2147483647 h 58"/>
              <a:gd name="T26" fmla="*/ 2147483647 w 58"/>
              <a:gd name="T27" fmla="*/ 2147483647 h 58"/>
              <a:gd name="T28" fmla="*/ 2147483647 w 58"/>
              <a:gd name="T29" fmla="*/ 2147483647 h 58"/>
              <a:gd name="T30" fmla="*/ 2147483647 w 58"/>
              <a:gd name="T31" fmla="*/ 2147483647 h 58"/>
              <a:gd name="T32" fmla="*/ 2147483647 w 58"/>
              <a:gd name="T33" fmla="*/ 2147483647 h 58"/>
              <a:gd name="T34" fmla="*/ 2147483647 w 58"/>
              <a:gd name="T35" fmla="*/ 2147483647 h 58"/>
              <a:gd name="T36" fmla="*/ 0 w 58"/>
              <a:gd name="T37" fmla="*/ 2147483647 h 58"/>
              <a:gd name="T38" fmla="*/ 2147483647 w 58"/>
              <a:gd name="T39" fmla="*/ 0 h 5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58"/>
              <a:gd name="T61" fmla="*/ 0 h 58"/>
              <a:gd name="T62" fmla="*/ 58 w 58"/>
              <a:gd name="T63" fmla="*/ 58 h 58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58" h="58">
                <a:moveTo>
                  <a:pt x="2" y="0"/>
                </a:moveTo>
                <a:lnTo>
                  <a:pt x="12" y="6"/>
                </a:lnTo>
                <a:lnTo>
                  <a:pt x="26" y="12"/>
                </a:lnTo>
                <a:lnTo>
                  <a:pt x="40" y="10"/>
                </a:lnTo>
                <a:lnTo>
                  <a:pt x="52" y="8"/>
                </a:lnTo>
                <a:lnTo>
                  <a:pt x="58" y="10"/>
                </a:lnTo>
                <a:lnTo>
                  <a:pt x="58" y="26"/>
                </a:lnTo>
                <a:lnTo>
                  <a:pt x="54" y="34"/>
                </a:lnTo>
                <a:lnTo>
                  <a:pt x="52" y="42"/>
                </a:lnTo>
                <a:lnTo>
                  <a:pt x="48" y="46"/>
                </a:lnTo>
                <a:lnTo>
                  <a:pt x="42" y="46"/>
                </a:lnTo>
                <a:lnTo>
                  <a:pt x="40" y="50"/>
                </a:lnTo>
                <a:lnTo>
                  <a:pt x="32" y="58"/>
                </a:lnTo>
                <a:lnTo>
                  <a:pt x="24" y="56"/>
                </a:lnTo>
                <a:lnTo>
                  <a:pt x="16" y="48"/>
                </a:lnTo>
                <a:lnTo>
                  <a:pt x="10" y="40"/>
                </a:lnTo>
                <a:lnTo>
                  <a:pt x="12" y="26"/>
                </a:lnTo>
                <a:lnTo>
                  <a:pt x="8" y="18"/>
                </a:lnTo>
                <a:lnTo>
                  <a:pt x="0" y="12"/>
                </a:lnTo>
                <a:lnTo>
                  <a:pt x="2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72" name="Freeform 252">
            <a:extLst>
              <a:ext uri="{FF2B5EF4-FFF2-40B4-BE49-F238E27FC236}">
                <a16:creationId xmlns:a16="http://schemas.microsoft.com/office/drawing/2014/main" id="{178C1B07-7F12-AF67-9620-91CB17D0ABB5}"/>
              </a:ext>
            </a:extLst>
          </p:cNvPr>
          <p:cNvSpPr>
            <a:spLocks/>
          </p:cNvSpPr>
          <p:nvPr/>
        </p:nvSpPr>
        <p:spPr bwMode="auto">
          <a:xfrm>
            <a:off x="8739718" y="5264151"/>
            <a:ext cx="1257300" cy="937684"/>
          </a:xfrm>
          <a:custGeom>
            <a:avLst/>
            <a:gdLst>
              <a:gd name="T0" fmla="*/ 2147483647 w 640"/>
              <a:gd name="T1" fmla="*/ 2147483647 h 476"/>
              <a:gd name="T2" fmla="*/ 2147483647 w 640"/>
              <a:gd name="T3" fmla="*/ 2147483647 h 476"/>
              <a:gd name="T4" fmla="*/ 2147483647 w 640"/>
              <a:gd name="T5" fmla="*/ 2147483647 h 476"/>
              <a:gd name="T6" fmla="*/ 2147483647 w 640"/>
              <a:gd name="T7" fmla="*/ 2147483647 h 476"/>
              <a:gd name="T8" fmla="*/ 2147483647 w 640"/>
              <a:gd name="T9" fmla="*/ 2147483647 h 476"/>
              <a:gd name="T10" fmla="*/ 2147483647 w 640"/>
              <a:gd name="T11" fmla="*/ 2147483647 h 476"/>
              <a:gd name="T12" fmla="*/ 2147483647 w 640"/>
              <a:gd name="T13" fmla="*/ 2147483647 h 476"/>
              <a:gd name="T14" fmla="*/ 2147483647 w 640"/>
              <a:gd name="T15" fmla="*/ 2147483647 h 476"/>
              <a:gd name="T16" fmla="*/ 2147483647 w 640"/>
              <a:gd name="T17" fmla="*/ 2147483647 h 476"/>
              <a:gd name="T18" fmla="*/ 2147483647 w 640"/>
              <a:gd name="T19" fmla="*/ 2147483647 h 476"/>
              <a:gd name="T20" fmla="*/ 2147483647 w 640"/>
              <a:gd name="T21" fmla="*/ 2147483647 h 476"/>
              <a:gd name="T22" fmla="*/ 2147483647 w 640"/>
              <a:gd name="T23" fmla="*/ 2147483647 h 476"/>
              <a:gd name="T24" fmla="*/ 2147483647 w 640"/>
              <a:gd name="T25" fmla="*/ 2147483647 h 476"/>
              <a:gd name="T26" fmla="*/ 2147483647 w 640"/>
              <a:gd name="T27" fmla="*/ 2147483647 h 476"/>
              <a:gd name="T28" fmla="*/ 2147483647 w 640"/>
              <a:gd name="T29" fmla="*/ 2147483647 h 476"/>
              <a:gd name="T30" fmla="*/ 2147483647 w 640"/>
              <a:gd name="T31" fmla="*/ 2147483647 h 476"/>
              <a:gd name="T32" fmla="*/ 2147483647 w 640"/>
              <a:gd name="T33" fmla="*/ 2147483647 h 476"/>
              <a:gd name="T34" fmla="*/ 2147483647 w 640"/>
              <a:gd name="T35" fmla="*/ 2147483647 h 476"/>
              <a:gd name="T36" fmla="*/ 2147483647 w 640"/>
              <a:gd name="T37" fmla="*/ 2147483647 h 476"/>
              <a:gd name="T38" fmla="*/ 2147483647 w 640"/>
              <a:gd name="T39" fmla="*/ 2147483647 h 476"/>
              <a:gd name="T40" fmla="*/ 2147483647 w 640"/>
              <a:gd name="T41" fmla="*/ 2147483647 h 476"/>
              <a:gd name="T42" fmla="*/ 2147483647 w 640"/>
              <a:gd name="T43" fmla="*/ 2147483647 h 476"/>
              <a:gd name="T44" fmla="*/ 2147483647 w 640"/>
              <a:gd name="T45" fmla="*/ 2147483647 h 476"/>
              <a:gd name="T46" fmla="*/ 2147483647 w 640"/>
              <a:gd name="T47" fmla="*/ 2147483647 h 476"/>
              <a:gd name="T48" fmla="*/ 2147483647 w 640"/>
              <a:gd name="T49" fmla="*/ 2147483647 h 476"/>
              <a:gd name="T50" fmla="*/ 2147483647 w 640"/>
              <a:gd name="T51" fmla="*/ 2147483647 h 476"/>
              <a:gd name="T52" fmla="*/ 2147483647 w 640"/>
              <a:gd name="T53" fmla="*/ 2147483647 h 476"/>
              <a:gd name="T54" fmla="*/ 2147483647 w 640"/>
              <a:gd name="T55" fmla="*/ 2147483647 h 476"/>
              <a:gd name="T56" fmla="*/ 2147483647 w 640"/>
              <a:gd name="T57" fmla="*/ 2147483647 h 476"/>
              <a:gd name="T58" fmla="*/ 2147483647 w 640"/>
              <a:gd name="T59" fmla="*/ 2147483647 h 476"/>
              <a:gd name="T60" fmla="*/ 2147483647 w 640"/>
              <a:gd name="T61" fmla="*/ 2147483647 h 476"/>
              <a:gd name="T62" fmla="*/ 2147483647 w 640"/>
              <a:gd name="T63" fmla="*/ 2147483647 h 476"/>
              <a:gd name="T64" fmla="*/ 2147483647 w 640"/>
              <a:gd name="T65" fmla="*/ 2147483647 h 476"/>
              <a:gd name="T66" fmla="*/ 2147483647 w 640"/>
              <a:gd name="T67" fmla="*/ 2147483647 h 476"/>
              <a:gd name="T68" fmla="*/ 2147483647 w 640"/>
              <a:gd name="T69" fmla="*/ 2147483647 h 476"/>
              <a:gd name="T70" fmla="*/ 2147483647 w 640"/>
              <a:gd name="T71" fmla="*/ 2147483647 h 476"/>
              <a:gd name="T72" fmla="*/ 2147483647 w 640"/>
              <a:gd name="T73" fmla="*/ 2147483647 h 476"/>
              <a:gd name="T74" fmla="*/ 2147483647 w 640"/>
              <a:gd name="T75" fmla="*/ 2147483647 h 476"/>
              <a:gd name="T76" fmla="*/ 2147483647 w 640"/>
              <a:gd name="T77" fmla="*/ 2147483647 h 476"/>
              <a:gd name="T78" fmla="*/ 2147483647 w 640"/>
              <a:gd name="T79" fmla="*/ 2147483647 h 476"/>
              <a:gd name="T80" fmla="*/ 2147483647 w 640"/>
              <a:gd name="T81" fmla="*/ 2147483647 h 476"/>
              <a:gd name="T82" fmla="*/ 2147483647 w 640"/>
              <a:gd name="T83" fmla="*/ 2147483647 h 476"/>
              <a:gd name="T84" fmla="*/ 2147483647 w 640"/>
              <a:gd name="T85" fmla="*/ 2147483647 h 476"/>
              <a:gd name="T86" fmla="*/ 2147483647 w 640"/>
              <a:gd name="T87" fmla="*/ 2147483647 h 476"/>
              <a:gd name="T88" fmla="*/ 2147483647 w 640"/>
              <a:gd name="T89" fmla="*/ 2147483647 h 476"/>
              <a:gd name="T90" fmla="*/ 2147483647 w 640"/>
              <a:gd name="T91" fmla="*/ 2147483647 h 476"/>
              <a:gd name="T92" fmla="*/ 2147483647 w 640"/>
              <a:gd name="T93" fmla="*/ 2147483647 h 476"/>
              <a:gd name="T94" fmla="*/ 2147483647 w 640"/>
              <a:gd name="T95" fmla="*/ 2147483647 h 476"/>
              <a:gd name="T96" fmla="*/ 2147483647 w 640"/>
              <a:gd name="T97" fmla="*/ 2147483647 h 476"/>
              <a:gd name="T98" fmla="*/ 2147483647 w 640"/>
              <a:gd name="T99" fmla="*/ 2147483647 h 476"/>
              <a:gd name="T100" fmla="*/ 2147483647 w 640"/>
              <a:gd name="T101" fmla="*/ 2147483647 h 476"/>
              <a:gd name="T102" fmla="*/ 2147483647 w 640"/>
              <a:gd name="T103" fmla="*/ 2147483647 h 476"/>
              <a:gd name="T104" fmla="*/ 2147483647 w 640"/>
              <a:gd name="T105" fmla="*/ 2147483647 h 476"/>
              <a:gd name="T106" fmla="*/ 2147483647 w 640"/>
              <a:gd name="T107" fmla="*/ 2147483647 h 476"/>
              <a:gd name="T108" fmla="*/ 2147483647 w 640"/>
              <a:gd name="T109" fmla="*/ 2147483647 h 476"/>
              <a:gd name="T110" fmla="*/ 2147483647 w 640"/>
              <a:gd name="T111" fmla="*/ 2147483647 h 476"/>
              <a:gd name="T112" fmla="*/ 2147483647 w 640"/>
              <a:gd name="T113" fmla="*/ 2147483647 h 476"/>
              <a:gd name="T114" fmla="*/ 2147483647 w 640"/>
              <a:gd name="T115" fmla="*/ 2147483647 h 476"/>
              <a:gd name="T116" fmla="*/ 2147483647 w 640"/>
              <a:gd name="T117" fmla="*/ 2147483647 h 47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40"/>
              <a:gd name="T178" fmla="*/ 0 h 476"/>
              <a:gd name="T179" fmla="*/ 640 w 640"/>
              <a:gd name="T180" fmla="*/ 476 h 47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40" h="476">
                <a:moveTo>
                  <a:pt x="286" y="20"/>
                </a:moveTo>
                <a:lnTo>
                  <a:pt x="296" y="22"/>
                </a:lnTo>
                <a:lnTo>
                  <a:pt x="308" y="18"/>
                </a:lnTo>
                <a:lnTo>
                  <a:pt x="310" y="12"/>
                </a:lnTo>
                <a:lnTo>
                  <a:pt x="302" y="6"/>
                </a:lnTo>
                <a:lnTo>
                  <a:pt x="308" y="4"/>
                </a:lnTo>
                <a:lnTo>
                  <a:pt x="322" y="10"/>
                </a:lnTo>
                <a:lnTo>
                  <a:pt x="330" y="14"/>
                </a:lnTo>
                <a:lnTo>
                  <a:pt x="340" y="18"/>
                </a:lnTo>
                <a:lnTo>
                  <a:pt x="348" y="20"/>
                </a:lnTo>
                <a:lnTo>
                  <a:pt x="354" y="22"/>
                </a:lnTo>
                <a:lnTo>
                  <a:pt x="362" y="22"/>
                </a:lnTo>
                <a:lnTo>
                  <a:pt x="372" y="18"/>
                </a:lnTo>
                <a:lnTo>
                  <a:pt x="380" y="22"/>
                </a:lnTo>
                <a:lnTo>
                  <a:pt x="372" y="30"/>
                </a:lnTo>
                <a:lnTo>
                  <a:pt x="366" y="40"/>
                </a:lnTo>
                <a:lnTo>
                  <a:pt x="360" y="48"/>
                </a:lnTo>
                <a:lnTo>
                  <a:pt x="352" y="54"/>
                </a:lnTo>
                <a:lnTo>
                  <a:pt x="352" y="62"/>
                </a:lnTo>
                <a:lnTo>
                  <a:pt x="358" y="68"/>
                </a:lnTo>
                <a:lnTo>
                  <a:pt x="372" y="78"/>
                </a:lnTo>
                <a:lnTo>
                  <a:pt x="388" y="84"/>
                </a:lnTo>
                <a:lnTo>
                  <a:pt x="404" y="96"/>
                </a:lnTo>
                <a:lnTo>
                  <a:pt x="416" y="102"/>
                </a:lnTo>
                <a:lnTo>
                  <a:pt x="432" y="112"/>
                </a:lnTo>
                <a:lnTo>
                  <a:pt x="442" y="100"/>
                </a:lnTo>
                <a:lnTo>
                  <a:pt x="450" y="84"/>
                </a:lnTo>
                <a:lnTo>
                  <a:pt x="452" y="66"/>
                </a:lnTo>
                <a:lnTo>
                  <a:pt x="450" y="40"/>
                </a:lnTo>
                <a:lnTo>
                  <a:pt x="456" y="22"/>
                </a:lnTo>
                <a:lnTo>
                  <a:pt x="460" y="10"/>
                </a:lnTo>
                <a:lnTo>
                  <a:pt x="464" y="0"/>
                </a:lnTo>
                <a:lnTo>
                  <a:pt x="470" y="6"/>
                </a:lnTo>
                <a:lnTo>
                  <a:pt x="478" y="20"/>
                </a:lnTo>
                <a:lnTo>
                  <a:pt x="482" y="32"/>
                </a:lnTo>
                <a:lnTo>
                  <a:pt x="484" y="54"/>
                </a:lnTo>
                <a:lnTo>
                  <a:pt x="494" y="58"/>
                </a:lnTo>
                <a:lnTo>
                  <a:pt x="506" y="62"/>
                </a:lnTo>
                <a:lnTo>
                  <a:pt x="510" y="72"/>
                </a:lnTo>
                <a:lnTo>
                  <a:pt x="512" y="82"/>
                </a:lnTo>
                <a:lnTo>
                  <a:pt x="512" y="96"/>
                </a:lnTo>
                <a:lnTo>
                  <a:pt x="522" y="102"/>
                </a:lnTo>
                <a:lnTo>
                  <a:pt x="526" y="112"/>
                </a:lnTo>
                <a:lnTo>
                  <a:pt x="526" y="124"/>
                </a:lnTo>
                <a:lnTo>
                  <a:pt x="532" y="134"/>
                </a:lnTo>
                <a:lnTo>
                  <a:pt x="544" y="138"/>
                </a:lnTo>
                <a:lnTo>
                  <a:pt x="558" y="148"/>
                </a:lnTo>
                <a:lnTo>
                  <a:pt x="568" y="162"/>
                </a:lnTo>
                <a:lnTo>
                  <a:pt x="578" y="172"/>
                </a:lnTo>
                <a:lnTo>
                  <a:pt x="578" y="182"/>
                </a:lnTo>
                <a:lnTo>
                  <a:pt x="582" y="188"/>
                </a:lnTo>
                <a:lnTo>
                  <a:pt x="594" y="188"/>
                </a:lnTo>
                <a:lnTo>
                  <a:pt x="598" y="204"/>
                </a:lnTo>
                <a:lnTo>
                  <a:pt x="612" y="214"/>
                </a:lnTo>
                <a:lnTo>
                  <a:pt x="624" y="228"/>
                </a:lnTo>
                <a:lnTo>
                  <a:pt x="630" y="242"/>
                </a:lnTo>
                <a:lnTo>
                  <a:pt x="634" y="254"/>
                </a:lnTo>
                <a:lnTo>
                  <a:pt x="636" y="270"/>
                </a:lnTo>
                <a:lnTo>
                  <a:pt x="638" y="282"/>
                </a:lnTo>
                <a:lnTo>
                  <a:pt x="640" y="300"/>
                </a:lnTo>
                <a:lnTo>
                  <a:pt x="634" y="322"/>
                </a:lnTo>
                <a:lnTo>
                  <a:pt x="632" y="340"/>
                </a:lnTo>
                <a:lnTo>
                  <a:pt x="624" y="358"/>
                </a:lnTo>
                <a:lnTo>
                  <a:pt x="612" y="368"/>
                </a:lnTo>
                <a:lnTo>
                  <a:pt x="606" y="380"/>
                </a:lnTo>
                <a:lnTo>
                  <a:pt x="596" y="402"/>
                </a:lnTo>
                <a:lnTo>
                  <a:pt x="590" y="418"/>
                </a:lnTo>
                <a:lnTo>
                  <a:pt x="582" y="432"/>
                </a:lnTo>
                <a:lnTo>
                  <a:pt x="582" y="450"/>
                </a:lnTo>
                <a:lnTo>
                  <a:pt x="576" y="454"/>
                </a:lnTo>
                <a:lnTo>
                  <a:pt x="566" y="454"/>
                </a:lnTo>
                <a:lnTo>
                  <a:pt x="550" y="452"/>
                </a:lnTo>
                <a:lnTo>
                  <a:pt x="546" y="464"/>
                </a:lnTo>
                <a:lnTo>
                  <a:pt x="534" y="472"/>
                </a:lnTo>
                <a:lnTo>
                  <a:pt x="532" y="474"/>
                </a:lnTo>
                <a:lnTo>
                  <a:pt x="526" y="476"/>
                </a:lnTo>
                <a:lnTo>
                  <a:pt x="520" y="472"/>
                </a:lnTo>
                <a:lnTo>
                  <a:pt x="516" y="468"/>
                </a:lnTo>
                <a:lnTo>
                  <a:pt x="510" y="462"/>
                </a:lnTo>
                <a:lnTo>
                  <a:pt x="506" y="458"/>
                </a:lnTo>
                <a:lnTo>
                  <a:pt x="500" y="460"/>
                </a:lnTo>
                <a:lnTo>
                  <a:pt x="486" y="474"/>
                </a:lnTo>
                <a:lnTo>
                  <a:pt x="474" y="470"/>
                </a:lnTo>
                <a:lnTo>
                  <a:pt x="462" y="464"/>
                </a:lnTo>
                <a:lnTo>
                  <a:pt x="450" y="464"/>
                </a:lnTo>
                <a:lnTo>
                  <a:pt x="438" y="462"/>
                </a:lnTo>
                <a:lnTo>
                  <a:pt x="430" y="452"/>
                </a:lnTo>
                <a:lnTo>
                  <a:pt x="424" y="444"/>
                </a:lnTo>
                <a:lnTo>
                  <a:pt x="426" y="434"/>
                </a:lnTo>
                <a:lnTo>
                  <a:pt x="418" y="424"/>
                </a:lnTo>
                <a:lnTo>
                  <a:pt x="410" y="416"/>
                </a:lnTo>
                <a:lnTo>
                  <a:pt x="402" y="416"/>
                </a:lnTo>
                <a:lnTo>
                  <a:pt x="400" y="408"/>
                </a:lnTo>
                <a:lnTo>
                  <a:pt x="406" y="398"/>
                </a:lnTo>
                <a:lnTo>
                  <a:pt x="398" y="394"/>
                </a:lnTo>
                <a:lnTo>
                  <a:pt x="390" y="402"/>
                </a:lnTo>
                <a:lnTo>
                  <a:pt x="380" y="408"/>
                </a:lnTo>
                <a:lnTo>
                  <a:pt x="386" y="388"/>
                </a:lnTo>
                <a:lnTo>
                  <a:pt x="392" y="382"/>
                </a:lnTo>
                <a:lnTo>
                  <a:pt x="394" y="376"/>
                </a:lnTo>
                <a:lnTo>
                  <a:pt x="390" y="366"/>
                </a:lnTo>
                <a:lnTo>
                  <a:pt x="382" y="376"/>
                </a:lnTo>
                <a:lnTo>
                  <a:pt x="376" y="386"/>
                </a:lnTo>
                <a:lnTo>
                  <a:pt x="366" y="394"/>
                </a:lnTo>
                <a:lnTo>
                  <a:pt x="360" y="402"/>
                </a:lnTo>
                <a:lnTo>
                  <a:pt x="352" y="398"/>
                </a:lnTo>
                <a:lnTo>
                  <a:pt x="350" y="386"/>
                </a:lnTo>
                <a:lnTo>
                  <a:pt x="340" y="372"/>
                </a:lnTo>
                <a:lnTo>
                  <a:pt x="334" y="364"/>
                </a:lnTo>
                <a:lnTo>
                  <a:pt x="328" y="358"/>
                </a:lnTo>
                <a:lnTo>
                  <a:pt x="298" y="350"/>
                </a:lnTo>
                <a:lnTo>
                  <a:pt x="258" y="344"/>
                </a:lnTo>
                <a:lnTo>
                  <a:pt x="246" y="348"/>
                </a:lnTo>
                <a:lnTo>
                  <a:pt x="228" y="356"/>
                </a:lnTo>
                <a:lnTo>
                  <a:pt x="200" y="358"/>
                </a:lnTo>
                <a:lnTo>
                  <a:pt x="184" y="368"/>
                </a:lnTo>
                <a:lnTo>
                  <a:pt x="172" y="372"/>
                </a:lnTo>
                <a:lnTo>
                  <a:pt x="170" y="380"/>
                </a:lnTo>
                <a:lnTo>
                  <a:pt x="164" y="386"/>
                </a:lnTo>
                <a:lnTo>
                  <a:pt x="108" y="386"/>
                </a:lnTo>
                <a:lnTo>
                  <a:pt x="100" y="394"/>
                </a:lnTo>
                <a:lnTo>
                  <a:pt x="90" y="394"/>
                </a:lnTo>
                <a:lnTo>
                  <a:pt x="80" y="406"/>
                </a:lnTo>
                <a:lnTo>
                  <a:pt x="54" y="408"/>
                </a:lnTo>
                <a:lnTo>
                  <a:pt x="42" y="400"/>
                </a:lnTo>
                <a:lnTo>
                  <a:pt x="30" y="394"/>
                </a:lnTo>
                <a:lnTo>
                  <a:pt x="28" y="384"/>
                </a:lnTo>
                <a:lnTo>
                  <a:pt x="40" y="378"/>
                </a:lnTo>
                <a:lnTo>
                  <a:pt x="40" y="356"/>
                </a:lnTo>
                <a:lnTo>
                  <a:pt x="40" y="342"/>
                </a:lnTo>
                <a:lnTo>
                  <a:pt x="30" y="328"/>
                </a:lnTo>
                <a:lnTo>
                  <a:pt x="30" y="310"/>
                </a:lnTo>
                <a:lnTo>
                  <a:pt x="18" y="280"/>
                </a:lnTo>
                <a:lnTo>
                  <a:pt x="10" y="264"/>
                </a:lnTo>
                <a:lnTo>
                  <a:pt x="4" y="254"/>
                </a:lnTo>
                <a:lnTo>
                  <a:pt x="0" y="246"/>
                </a:lnTo>
                <a:lnTo>
                  <a:pt x="6" y="248"/>
                </a:lnTo>
                <a:lnTo>
                  <a:pt x="10" y="254"/>
                </a:lnTo>
                <a:lnTo>
                  <a:pt x="18" y="254"/>
                </a:lnTo>
                <a:lnTo>
                  <a:pt x="20" y="244"/>
                </a:lnTo>
                <a:lnTo>
                  <a:pt x="12" y="238"/>
                </a:lnTo>
                <a:lnTo>
                  <a:pt x="6" y="218"/>
                </a:lnTo>
                <a:lnTo>
                  <a:pt x="6" y="204"/>
                </a:lnTo>
                <a:lnTo>
                  <a:pt x="12" y="188"/>
                </a:lnTo>
                <a:lnTo>
                  <a:pt x="14" y="180"/>
                </a:lnTo>
                <a:lnTo>
                  <a:pt x="20" y="186"/>
                </a:lnTo>
                <a:lnTo>
                  <a:pt x="24" y="178"/>
                </a:lnTo>
                <a:lnTo>
                  <a:pt x="34" y="178"/>
                </a:lnTo>
                <a:lnTo>
                  <a:pt x="48" y="162"/>
                </a:lnTo>
                <a:lnTo>
                  <a:pt x="62" y="158"/>
                </a:lnTo>
                <a:lnTo>
                  <a:pt x="86" y="154"/>
                </a:lnTo>
                <a:lnTo>
                  <a:pt x="110" y="146"/>
                </a:lnTo>
                <a:lnTo>
                  <a:pt x="122" y="144"/>
                </a:lnTo>
                <a:lnTo>
                  <a:pt x="144" y="118"/>
                </a:lnTo>
                <a:lnTo>
                  <a:pt x="142" y="106"/>
                </a:lnTo>
                <a:lnTo>
                  <a:pt x="146" y="98"/>
                </a:lnTo>
                <a:lnTo>
                  <a:pt x="156" y="92"/>
                </a:lnTo>
                <a:lnTo>
                  <a:pt x="160" y="98"/>
                </a:lnTo>
                <a:lnTo>
                  <a:pt x="164" y="102"/>
                </a:lnTo>
                <a:lnTo>
                  <a:pt x="168" y="96"/>
                </a:lnTo>
                <a:lnTo>
                  <a:pt x="168" y="84"/>
                </a:lnTo>
                <a:lnTo>
                  <a:pt x="176" y="88"/>
                </a:lnTo>
                <a:lnTo>
                  <a:pt x="180" y="84"/>
                </a:lnTo>
                <a:lnTo>
                  <a:pt x="182" y="72"/>
                </a:lnTo>
                <a:lnTo>
                  <a:pt x="192" y="66"/>
                </a:lnTo>
                <a:lnTo>
                  <a:pt x="198" y="60"/>
                </a:lnTo>
                <a:lnTo>
                  <a:pt x="204" y="60"/>
                </a:lnTo>
                <a:lnTo>
                  <a:pt x="220" y="48"/>
                </a:lnTo>
                <a:lnTo>
                  <a:pt x="230" y="54"/>
                </a:lnTo>
                <a:lnTo>
                  <a:pt x="236" y="60"/>
                </a:lnTo>
                <a:lnTo>
                  <a:pt x="242" y="66"/>
                </a:lnTo>
                <a:lnTo>
                  <a:pt x="254" y="64"/>
                </a:lnTo>
                <a:lnTo>
                  <a:pt x="262" y="62"/>
                </a:lnTo>
                <a:lnTo>
                  <a:pt x="256" y="52"/>
                </a:lnTo>
                <a:lnTo>
                  <a:pt x="268" y="40"/>
                </a:lnTo>
                <a:lnTo>
                  <a:pt x="274" y="28"/>
                </a:lnTo>
                <a:lnTo>
                  <a:pt x="282" y="24"/>
                </a:lnTo>
                <a:lnTo>
                  <a:pt x="286" y="2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73" name="Freeform 253">
            <a:extLst>
              <a:ext uri="{FF2B5EF4-FFF2-40B4-BE49-F238E27FC236}">
                <a16:creationId xmlns:a16="http://schemas.microsoft.com/office/drawing/2014/main" id="{B81C5161-4BC6-2830-C1CF-176D961C1EF1}"/>
              </a:ext>
            </a:extLst>
          </p:cNvPr>
          <p:cNvSpPr>
            <a:spLocks/>
          </p:cNvSpPr>
          <p:nvPr/>
        </p:nvSpPr>
        <p:spPr bwMode="auto">
          <a:xfrm>
            <a:off x="8951384" y="4334934"/>
            <a:ext cx="137584" cy="194733"/>
          </a:xfrm>
          <a:custGeom>
            <a:avLst/>
            <a:gdLst>
              <a:gd name="T0" fmla="*/ 2147483647 w 70"/>
              <a:gd name="T1" fmla="*/ 2147483647 h 96"/>
              <a:gd name="T2" fmla="*/ 2147483647 w 70"/>
              <a:gd name="T3" fmla="*/ 2147483647 h 96"/>
              <a:gd name="T4" fmla="*/ 2147483647 w 70"/>
              <a:gd name="T5" fmla="*/ 2147483647 h 96"/>
              <a:gd name="T6" fmla="*/ 2147483647 w 70"/>
              <a:gd name="T7" fmla="*/ 2147483647 h 96"/>
              <a:gd name="T8" fmla="*/ 2147483647 w 70"/>
              <a:gd name="T9" fmla="*/ 2147483647 h 96"/>
              <a:gd name="T10" fmla="*/ 2147483647 w 70"/>
              <a:gd name="T11" fmla="*/ 2147483647 h 96"/>
              <a:gd name="T12" fmla="*/ 2147483647 w 70"/>
              <a:gd name="T13" fmla="*/ 2147483647 h 96"/>
              <a:gd name="T14" fmla="*/ 2147483647 w 70"/>
              <a:gd name="T15" fmla="*/ 2147483647 h 96"/>
              <a:gd name="T16" fmla="*/ 2147483647 w 70"/>
              <a:gd name="T17" fmla="*/ 2147483647 h 96"/>
              <a:gd name="T18" fmla="*/ 2147483647 w 70"/>
              <a:gd name="T19" fmla="*/ 2147483647 h 96"/>
              <a:gd name="T20" fmla="*/ 2147483647 w 70"/>
              <a:gd name="T21" fmla="*/ 2147483647 h 96"/>
              <a:gd name="T22" fmla="*/ 2147483647 w 70"/>
              <a:gd name="T23" fmla="*/ 2147483647 h 96"/>
              <a:gd name="T24" fmla="*/ 2147483647 w 70"/>
              <a:gd name="T25" fmla="*/ 2147483647 h 96"/>
              <a:gd name="T26" fmla="*/ 2147483647 w 70"/>
              <a:gd name="T27" fmla="*/ 2147483647 h 96"/>
              <a:gd name="T28" fmla="*/ 2147483647 w 70"/>
              <a:gd name="T29" fmla="*/ 2147483647 h 96"/>
              <a:gd name="T30" fmla="*/ 2147483647 w 70"/>
              <a:gd name="T31" fmla="*/ 2147483647 h 96"/>
              <a:gd name="T32" fmla="*/ 2147483647 w 70"/>
              <a:gd name="T33" fmla="*/ 2147483647 h 96"/>
              <a:gd name="T34" fmla="*/ 2147483647 w 70"/>
              <a:gd name="T35" fmla="*/ 2147483647 h 96"/>
              <a:gd name="T36" fmla="*/ 2147483647 w 70"/>
              <a:gd name="T37" fmla="*/ 2147483647 h 96"/>
              <a:gd name="T38" fmla="*/ 2147483647 w 70"/>
              <a:gd name="T39" fmla="*/ 2147483647 h 96"/>
              <a:gd name="T40" fmla="*/ 2147483647 w 70"/>
              <a:gd name="T41" fmla="*/ 2147483647 h 96"/>
              <a:gd name="T42" fmla="*/ 2147483647 w 70"/>
              <a:gd name="T43" fmla="*/ 2147483647 h 96"/>
              <a:gd name="T44" fmla="*/ 2147483647 w 70"/>
              <a:gd name="T45" fmla="*/ 2147483647 h 96"/>
              <a:gd name="T46" fmla="*/ 2147483647 w 70"/>
              <a:gd name="T47" fmla="*/ 2147483647 h 96"/>
              <a:gd name="T48" fmla="*/ 2147483647 w 70"/>
              <a:gd name="T49" fmla="*/ 2147483647 h 96"/>
              <a:gd name="T50" fmla="*/ 2147483647 w 70"/>
              <a:gd name="T51" fmla="*/ 2147483647 h 96"/>
              <a:gd name="T52" fmla="*/ 2147483647 w 70"/>
              <a:gd name="T53" fmla="*/ 2147483647 h 96"/>
              <a:gd name="T54" fmla="*/ 2147483647 w 70"/>
              <a:gd name="T55" fmla="*/ 0 h 96"/>
              <a:gd name="T56" fmla="*/ 2147483647 w 70"/>
              <a:gd name="T57" fmla="*/ 2147483647 h 96"/>
              <a:gd name="T58" fmla="*/ 2147483647 w 70"/>
              <a:gd name="T59" fmla="*/ 2147483647 h 96"/>
              <a:gd name="T60" fmla="*/ 2147483647 w 70"/>
              <a:gd name="T61" fmla="*/ 2147483647 h 96"/>
              <a:gd name="T62" fmla="*/ 0 w 70"/>
              <a:gd name="T63" fmla="*/ 2147483647 h 96"/>
              <a:gd name="T64" fmla="*/ 2147483647 w 70"/>
              <a:gd name="T65" fmla="*/ 2147483647 h 96"/>
              <a:gd name="T66" fmla="*/ 2147483647 w 70"/>
              <a:gd name="T67" fmla="*/ 2147483647 h 96"/>
              <a:gd name="T68" fmla="*/ 2147483647 w 70"/>
              <a:gd name="T69" fmla="*/ 2147483647 h 9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70"/>
              <a:gd name="T106" fmla="*/ 0 h 96"/>
              <a:gd name="T107" fmla="*/ 70 w 70"/>
              <a:gd name="T108" fmla="*/ 96 h 9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70" h="96">
                <a:moveTo>
                  <a:pt x="4" y="58"/>
                </a:moveTo>
                <a:lnTo>
                  <a:pt x="14" y="64"/>
                </a:lnTo>
                <a:lnTo>
                  <a:pt x="16" y="76"/>
                </a:lnTo>
                <a:lnTo>
                  <a:pt x="24" y="78"/>
                </a:lnTo>
                <a:lnTo>
                  <a:pt x="30" y="72"/>
                </a:lnTo>
                <a:lnTo>
                  <a:pt x="38" y="74"/>
                </a:lnTo>
                <a:lnTo>
                  <a:pt x="40" y="82"/>
                </a:lnTo>
                <a:lnTo>
                  <a:pt x="48" y="80"/>
                </a:lnTo>
                <a:lnTo>
                  <a:pt x="52" y="84"/>
                </a:lnTo>
                <a:lnTo>
                  <a:pt x="62" y="90"/>
                </a:lnTo>
                <a:lnTo>
                  <a:pt x="66" y="96"/>
                </a:lnTo>
                <a:lnTo>
                  <a:pt x="70" y="90"/>
                </a:lnTo>
                <a:lnTo>
                  <a:pt x="62" y="84"/>
                </a:lnTo>
                <a:lnTo>
                  <a:pt x="62" y="78"/>
                </a:lnTo>
                <a:lnTo>
                  <a:pt x="58" y="72"/>
                </a:lnTo>
                <a:lnTo>
                  <a:pt x="50" y="72"/>
                </a:lnTo>
                <a:lnTo>
                  <a:pt x="46" y="68"/>
                </a:lnTo>
                <a:lnTo>
                  <a:pt x="40" y="70"/>
                </a:lnTo>
                <a:lnTo>
                  <a:pt x="32" y="66"/>
                </a:lnTo>
                <a:lnTo>
                  <a:pt x="28" y="62"/>
                </a:lnTo>
                <a:lnTo>
                  <a:pt x="26" y="54"/>
                </a:lnTo>
                <a:lnTo>
                  <a:pt x="28" y="42"/>
                </a:lnTo>
                <a:lnTo>
                  <a:pt x="34" y="40"/>
                </a:lnTo>
                <a:lnTo>
                  <a:pt x="40" y="26"/>
                </a:lnTo>
                <a:lnTo>
                  <a:pt x="38" y="14"/>
                </a:lnTo>
                <a:lnTo>
                  <a:pt x="38" y="4"/>
                </a:lnTo>
                <a:lnTo>
                  <a:pt x="28" y="2"/>
                </a:lnTo>
                <a:lnTo>
                  <a:pt x="12" y="0"/>
                </a:lnTo>
                <a:lnTo>
                  <a:pt x="10" y="16"/>
                </a:lnTo>
                <a:lnTo>
                  <a:pt x="10" y="28"/>
                </a:lnTo>
                <a:lnTo>
                  <a:pt x="12" y="36"/>
                </a:lnTo>
                <a:lnTo>
                  <a:pt x="0" y="38"/>
                </a:lnTo>
                <a:lnTo>
                  <a:pt x="2" y="44"/>
                </a:lnTo>
                <a:lnTo>
                  <a:pt x="4" y="48"/>
                </a:lnTo>
                <a:lnTo>
                  <a:pt x="4" y="5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74" name="Freeform 254">
            <a:extLst>
              <a:ext uri="{FF2B5EF4-FFF2-40B4-BE49-F238E27FC236}">
                <a16:creationId xmlns:a16="http://schemas.microsoft.com/office/drawing/2014/main" id="{D26156EE-C388-A553-C805-53847627B0AE}"/>
              </a:ext>
            </a:extLst>
          </p:cNvPr>
          <p:cNvSpPr>
            <a:spLocks/>
          </p:cNvSpPr>
          <p:nvPr/>
        </p:nvSpPr>
        <p:spPr bwMode="auto">
          <a:xfrm>
            <a:off x="8866717" y="4578351"/>
            <a:ext cx="84667" cy="86784"/>
          </a:xfrm>
          <a:custGeom>
            <a:avLst/>
            <a:gdLst>
              <a:gd name="T0" fmla="*/ 0 w 42"/>
              <a:gd name="T1" fmla="*/ 2147483647 h 46"/>
              <a:gd name="T2" fmla="*/ 2147483647 w 42"/>
              <a:gd name="T3" fmla="*/ 2147483647 h 46"/>
              <a:gd name="T4" fmla="*/ 2147483647 w 42"/>
              <a:gd name="T5" fmla="*/ 2147483647 h 46"/>
              <a:gd name="T6" fmla="*/ 2147483647 w 42"/>
              <a:gd name="T7" fmla="*/ 2147483647 h 46"/>
              <a:gd name="T8" fmla="*/ 2147483647 w 42"/>
              <a:gd name="T9" fmla="*/ 0 h 46"/>
              <a:gd name="T10" fmla="*/ 2147483647 w 42"/>
              <a:gd name="T11" fmla="*/ 2147483647 h 46"/>
              <a:gd name="T12" fmla="*/ 2147483647 w 42"/>
              <a:gd name="T13" fmla="*/ 2147483647 h 46"/>
              <a:gd name="T14" fmla="*/ 2147483647 w 42"/>
              <a:gd name="T15" fmla="*/ 2147483647 h 46"/>
              <a:gd name="T16" fmla="*/ 2147483647 w 42"/>
              <a:gd name="T17" fmla="*/ 2147483647 h 46"/>
              <a:gd name="T18" fmla="*/ 2147483647 w 42"/>
              <a:gd name="T19" fmla="*/ 2147483647 h 46"/>
              <a:gd name="T20" fmla="*/ 0 w 42"/>
              <a:gd name="T21" fmla="*/ 2147483647 h 4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2"/>
              <a:gd name="T34" fmla="*/ 0 h 46"/>
              <a:gd name="T35" fmla="*/ 42 w 42"/>
              <a:gd name="T36" fmla="*/ 46 h 4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2" h="46">
                <a:moveTo>
                  <a:pt x="0" y="46"/>
                </a:moveTo>
                <a:lnTo>
                  <a:pt x="8" y="34"/>
                </a:lnTo>
                <a:lnTo>
                  <a:pt x="20" y="20"/>
                </a:lnTo>
                <a:lnTo>
                  <a:pt x="32" y="10"/>
                </a:lnTo>
                <a:lnTo>
                  <a:pt x="36" y="0"/>
                </a:lnTo>
                <a:lnTo>
                  <a:pt x="38" y="6"/>
                </a:lnTo>
                <a:lnTo>
                  <a:pt x="42" y="12"/>
                </a:lnTo>
                <a:lnTo>
                  <a:pt x="32" y="16"/>
                </a:lnTo>
                <a:lnTo>
                  <a:pt x="20" y="30"/>
                </a:lnTo>
                <a:lnTo>
                  <a:pt x="14" y="38"/>
                </a:lnTo>
                <a:lnTo>
                  <a:pt x="0" y="4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75" name="Freeform 255">
            <a:extLst>
              <a:ext uri="{FF2B5EF4-FFF2-40B4-BE49-F238E27FC236}">
                <a16:creationId xmlns:a16="http://schemas.microsoft.com/office/drawing/2014/main" id="{2E62FB3D-3867-8AAD-771E-2EA890AFD0FC}"/>
              </a:ext>
            </a:extLst>
          </p:cNvPr>
          <p:cNvSpPr>
            <a:spLocks/>
          </p:cNvSpPr>
          <p:nvPr/>
        </p:nvSpPr>
        <p:spPr bwMode="auto">
          <a:xfrm>
            <a:off x="9010651" y="4627034"/>
            <a:ext cx="146051" cy="103717"/>
          </a:xfrm>
          <a:custGeom>
            <a:avLst/>
            <a:gdLst>
              <a:gd name="T0" fmla="*/ 2147483647 w 74"/>
              <a:gd name="T1" fmla="*/ 2147483647 h 60"/>
              <a:gd name="T2" fmla="*/ 2147483647 w 74"/>
              <a:gd name="T3" fmla="*/ 2147483647 h 60"/>
              <a:gd name="T4" fmla="*/ 2147483647 w 74"/>
              <a:gd name="T5" fmla="*/ 2147483647 h 60"/>
              <a:gd name="T6" fmla="*/ 2147483647 w 74"/>
              <a:gd name="T7" fmla="*/ 2147483647 h 60"/>
              <a:gd name="T8" fmla="*/ 2147483647 w 74"/>
              <a:gd name="T9" fmla="*/ 2147483647 h 60"/>
              <a:gd name="T10" fmla="*/ 2147483647 w 74"/>
              <a:gd name="T11" fmla="*/ 2147483647 h 60"/>
              <a:gd name="T12" fmla="*/ 2147483647 w 74"/>
              <a:gd name="T13" fmla="*/ 2147483647 h 60"/>
              <a:gd name="T14" fmla="*/ 2147483647 w 74"/>
              <a:gd name="T15" fmla="*/ 2147483647 h 60"/>
              <a:gd name="T16" fmla="*/ 2147483647 w 74"/>
              <a:gd name="T17" fmla="*/ 2147483647 h 60"/>
              <a:gd name="T18" fmla="*/ 2147483647 w 74"/>
              <a:gd name="T19" fmla="*/ 2147483647 h 60"/>
              <a:gd name="T20" fmla="*/ 2147483647 w 74"/>
              <a:gd name="T21" fmla="*/ 2147483647 h 60"/>
              <a:gd name="T22" fmla="*/ 0 w 74"/>
              <a:gd name="T23" fmla="*/ 2147483647 h 60"/>
              <a:gd name="T24" fmla="*/ 2147483647 w 74"/>
              <a:gd name="T25" fmla="*/ 2147483647 h 60"/>
              <a:gd name="T26" fmla="*/ 2147483647 w 74"/>
              <a:gd name="T27" fmla="*/ 2147483647 h 60"/>
              <a:gd name="T28" fmla="*/ 2147483647 w 74"/>
              <a:gd name="T29" fmla="*/ 2147483647 h 60"/>
              <a:gd name="T30" fmla="*/ 2147483647 w 74"/>
              <a:gd name="T31" fmla="*/ 2147483647 h 60"/>
              <a:gd name="T32" fmla="*/ 2147483647 w 74"/>
              <a:gd name="T33" fmla="*/ 2147483647 h 60"/>
              <a:gd name="T34" fmla="*/ 2147483647 w 74"/>
              <a:gd name="T35" fmla="*/ 2147483647 h 60"/>
              <a:gd name="T36" fmla="*/ 2147483647 w 74"/>
              <a:gd name="T37" fmla="*/ 2147483647 h 60"/>
              <a:gd name="T38" fmla="*/ 2147483647 w 74"/>
              <a:gd name="T39" fmla="*/ 2147483647 h 60"/>
              <a:gd name="T40" fmla="*/ 2147483647 w 74"/>
              <a:gd name="T41" fmla="*/ 2147483647 h 60"/>
              <a:gd name="T42" fmla="*/ 2147483647 w 74"/>
              <a:gd name="T43" fmla="*/ 2147483647 h 60"/>
              <a:gd name="T44" fmla="*/ 2147483647 w 74"/>
              <a:gd name="T45" fmla="*/ 2147483647 h 60"/>
              <a:gd name="T46" fmla="*/ 2147483647 w 74"/>
              <a:gd name="T47" fmla="*/ 0 h 60"/>
              <a:gd name="T48" fmla="*/ 2147483647 w 74"/>
              <a:gd name="T49" fmla="*/ 2147483647 h 60"/>
              <a:gd name="T50" fmla="*/ 2147483647 w 74"/>
              <a:gd name="T51" fmla="*/ 2147483647 h 60"/>
              <a:gd name="T52" fmla="*/ 2147483647 w 74"/>
              <a:gd name="T53" fmla="*/ 2147483647 h 60"/>
              <a:gd name="T54" fmla="*/ 2147483647 w 74"/>
              <a:gd name="T55" fmla="*/ 2147483647 h 60"/>
              <a:gd name="T56" fmla="*/ 2147483647 w 74"/>
              <a:gd name="T57" fmla="*/ 2147483647 h 60"/>
              <a:gd name="T58" fmla="*/ 2147483647 w 74"/>
              <a:gd name="T59" fmla="*/ 2147483647 h 60"/>
              <a:gd name="T60" fmla="*/ 2147483647 w 74"/>
              <a:gd name="T61" fmla="*/ 2147483647 h 60"/>
              <a:gd name="T62" fmla="*/ 2147483647 w 74"/>
              <a:gd name="T63" fmla="*/ 2147483647 h 60"/>
              <a:gd name="T64" fmla="*/ 2147483647 w 74"/>
              <a:gd name="T65" fmla="*/ 2147483647 h 6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74"/>
              <a:gd name="T100" fmla="*/ 0 h 60"/>
              <a:gd name="T101" fmla="*/ 74 w 74"/>
              <a:gd name="T102" fmla="*/ 60 h 60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74" h="60">
                <a:moveTo>
                  <a:pt x="58" y="58"/>
                </a:moveTo>
                <a:lnTo>
                  <a:pt x="40" y="60"/>
                </a:lnTo>
                <a:lnTo>
                  <a:pt x="34" y="48"/>
                </a:lnTo>
                <a:lnTo>
                  <a:pt x="34" y="38"/>
                </a:lnTo>
                <a:lnTo>
                  <a:pt x="40" y="36"/>
                </a:lnTo>
                <a:lnTo>
                  <a:pt x="32" y="30"/>
                </a:lnTo>
                <a:lnTo>
                  <a:pt x="24" y="32"/>
                </a:lnTo>
                <a:lnTo>
                  <a:pt x="18" y="34"/>
                </a:lnTo>
                <a:lnTo>
                  <a:pt x="12" y="36"/>
                </a:lnTo>
                <a:lnTo>
                  <a:pt x="8" y="44"/>
                </a:lnTo>
                <a:lnTo>
                  <a:pt x="4" y="50"/>
                </a:lnTo>
                <a:lnTo>
                  <a:pt x="0" y="38"/>
                </a:lnTo>
                <a:lnTo>
                  <a:pt x="4" y="28"/>
                </a:lnTo>
                <a:lnTo>
                  <a:pt x="14" y="24"/>
                </a:lnTo>
                <a:lnTo>
                  <a:pt x="22" y="20"/>
                </a:lnTo>
                <a:lnTo>
                  <a:pt x="26" y="14"/>
                </a:lnTo>
                <a:lnTo>
                  <a:pt x="32" y="22"/>
                </a:lnTo>
                <a:lnTo>
                  <a:pt x="36" y="24"/>
                </a:lnTo>
                <a:lnTo>
                  <a:pt x="42" y="18"/>
                </a:lnTo>
                <a:lnTo>
                  <a:pt x="50" y="8"/>
                </a:lnTo>
                <a:lnTo>
                  <a:pt x="54" y="10"/>
                </a:lnTo>
                <a:lnTo>
                  <a:pt x="58" y="10"/>
                </a:lnTo>
                <a:lnTo>
                  <a:pt x="58" y="4"/>
                </a:lnTo>
                <a:lnTo>
                  <a:pt x="62" y="0"/>
                </a:lnTo>
                <a:lnTo>
                  <a:pt x="68" y="6"/>
                </a:lnTo>
                <a:lnTo>
                  <a:pt x="72" y="14"/>
                </a:lnTo>
                <a:lnTo>
                  <a:pt x="74" y="28"/>
                </a:lnTo>
                <a:lnTo>
                  <a:pt x="74" y="42"/>
                </a:lnTo>
                <a:lnTo>
                  <a:pt x="66" y="44"/>
                </a:lnTo>
                <a:lnTo>
                  <a:pt x="64" y="36"/>
                </a:lnTo>
                <a:lnTo>
                  <a:pt x="58" y="42"/>
                </a:lnTo>
                <a:lnTo>
                  <a:pt x="54" y="46"/>
                </a:lnTo>
                <a:lnTo>
                  <a:pt x="58" y="5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76" name="Freeform 256">
            <a:extLst>
              <a:ext uri="{FF2B5EF4-FFF2-40B4-BE49-F238E27FC236}">
                <a16:creationId xmlns:a16="http://schemas.microsoft.com/office/drawing/2014/main" id="{98CC384F-AC5C-F3B0-A98A-B5A74A4F7900}"/>
              </a:ext>
            </a:extLst>
          </p:cNvPr>
          <p:cNvSpPr>
            <a:spLocks/>
          </p:cNvSpPr>
          <p:nvPr/>
        </p:nvSpPr>
        <p:spPr bwMode="auto">
          <a:xfrm>
            <a:off x="9088967" y="4529667"/>
            <a:ext cx="38100" cy="48684"/>
          </a:xfrm>
          <a:custGeom>
            <a:avLst/>
            <a:gdLst>
              <a:gd name="T0" fmla="*/ 0 w 18"/>
              <a:gd name="T1" fmla="*/ 2147483647 h 22"/>
              <a:gd name="T2" fmla="*/ 2147483647 w 18"/>
              <a:gd name="T3" fmla="*/ 0 h 22"/>
              <a:gd name="T4" fmla="*/ 2147483647 w 18"/>
              <a:gd name="T5" fmla="*/ 2147483647 h 22"/>
              <a:gd name="T6" fmla="*/ 2147483647 w 18"/>
              <a:gd name="T7" fmla="*/ 2147483647 h 22"/>
              <a:gd name="T8" fmla="*/ 2147483647 w 18"/>
              <a:gd name="T9" fmla="*/ 2147483647 h 22"/>
              <a:gd name="T10" fmla="*/ 2147483647 w 18"/>
              <a:gd name="T11" fmla="*/ 2147483647 h 22"/>
              <a:gd name="T12" fmla="*/ 2147483647 w 18"/>
              <a:gd name="T13" fmla="*/ 2147483647 h 22"/>
              <a:gd name="T14" fmla="*/ 0 w 18"/>
              <a:gd name="T15" fmla="*/ 2147483647 h 2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8"/>
              <a:gd name="T25" fmla="*/ 0 h 22"/>
              <a:gd name="T26" fmla="*/ 18 w 18"/>
              <a:gd name="T27" fmla="*/ 22 h 2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8" h="22">
                <a:moveTo>
                  <a:pt x="0" y="4"/>
                </a:moveTo>
                <a:lnTo>
                  <a:pt x="12" y="0"/>
                </a:lnTo>
                <a:lnTo>
                  <a:pt x="18" y="2"/>
                </a:lnTo>
                <a:lnTo>
                  <a:pt x="18" y="16"/>
                </a:lnTo>
                <a:lnTo>
                  <a:pt x="18" y="22"/>
                </a:lnTo>
                <a:lnTo>
                  <a:pt x="10" y="18"/>
                </a:lnTo>
                <a:lnTo>
                  <a:pt x="4" y="12"/>
                </a:lnTo>
                <a:lnTo>
                  <a:pt x="0" y="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77" name="Freeform 257">
            <a:extLst>
              <a:ext uri="{FF2B5EF4-FFF2-40B4-BE49-F238E27FC236}">
                <a16:creationId xmlns:a16="http://schemas.microsoft.com/office/drawing/2014/main" id="{8225A016-872D-0C3D-86D3-CF32FCE175D7}"/>
              </a:ext>
            </a:extLst>
          </p:cNvPr>
          <p:cNvSpPr>
            <a:spLocks/>
          </p:cNvSpPr>
          <p:nvPr/>
        </p:nvSpPr>
        <p:spPr bwMode="auto">
          <a:xfrm>
            <a:off x="8961967" y="4500034"/>
            <a:ext cx="38100" cy="48684"/>
          </a:xfrm>
          <a:custGeom>
            <a:avLst/>
            <a:gdLst>
              <a:gd name="T0" fmla="*/ 0 w 20"/>
              <a:gd name="T1" fmla="*/ 0 h 24"/>
              <a:gd name="T2" fmla="*/ 2147483647 w 20"/>
              <a:gd name="T3" fmla="*/ 2147483647 h 24"/>
              <a:gd name="T4" fmla="*/ 2147483647 w 20"/>
              <a:gd name="T5" fmla="*/ 2147483647 h 24"/>
              <a:gd name="T6" fmla="*/ 2147483647 w 20"/>
              <a:gd name="T7" fmla="*/ 2147483647 h 24"/>
              <a:gd name="T8" fmla="*/ 2147483647 w 20"/>
              <a:gd name="T9" fmla="*/ 2147483647 h 24"/>
              <a:gd name="T10" fmla="*/ 2147483647 w 20"/>
              <a:gd name="T11" fmla="*/ 2147483647 h 24"/>
              <a:gd name="T12" fmla="*/ 2147483647 w 20"/>
              <a:gd name="T13" fmla="*/ 2147483647 h 24"/>
              <a:gd name="T14" fmla="*/ 0 w 20"/>
              <a:gd name="T15" fmla="*/ 0 h 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"/>
              <a:gd name="T25" fmla="*/ 0 h 24"/>
              <a:gd name="T26" fmla="*/ 20 w 20"/>
              <a:gd name="T27" fmla="*/ 24 h 2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" h="24">
                <a:moveTo>
                  <a:pt x="0" y="0"/>
                </a:moveTo>
                <a:lnTo>
                  <a:pt x="10" y="2"/>
                </a:lnTo>
                <a:lnTo>
                  <a:pt x="20" y="10"/>
                </a:lnTo>
                <a:lnTo>
                  <a:pt x="18" y="22"/>
                </a:lnTo>
                <a:lnTo>
                  <a:pt x="12" y="24"/>
                </a:lnTo>
                <a:lnTo>
                  <a:pt x="6" y="10"/>
                </a:lnTo>
                <a:lnTo>
                  <a:pt x="2" y="6"/>
                </a:lnTo>
                <a:lnTo>
                  <a:pt x="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78" name="Freeform 258">
            <a:extLst>
              <a:ext uri="{FF2B5EF4-FFF2-40B4-BE49-F238E27FC236}">
                <a16:creationId xmlns:a16="http://schemas.microsoft.com/office/drawing/2014/main" id="{1D0A4110-0D55-30C7-3EC3-7A7A8D8938B9}"/>
              </a:ext>
            </a:extLst>
          </p:cNvPr>
          <p:cNvSpPr>
            <a:spLocks/>
          </p:cNvSpPr>
          <p:nvPr/>
        </p:nvSpPr>
        <p:spPr bwMode="auto">
          <a:xfrm>
            <a:off x="9021234" y="4557185"/>
            <a:ext cx="38100" cy="40217"/>
          </a:xfrm>
          <a:custGeom>
            <a:avLst/>
            <a:gdLst>
              <a:gd name="T0" fmla="*/ 0 w 22"/>
              <a:gd name="T1" fmla="*/ 0 h 20"/>
              <a:gd name="T2" fmla="*/ 0 w 22"/>
              <a:gd name="T3" fmla="*/ 2147483647 h 20"/>
              <a:gd name="T4" fmla="*/ 0 w 22"/>
              <a:gd name="T5" fmla="*/ 2147483647 h 20"/>
              <a:gd name="T6" fmla="*/ 2147483647 w 22"/>
              <a:gd name="T7" fmla="*/ 2147483647 h 20"/>
              <a:gd name="T8" fmla="*/ 2147483647 w 22"/>
              <a:gd name="T9" fmla="*/ 2147483647 h 20"/>
              <a:gd name="T10" fmla="*/ 2147483647 w 22"/>
              <a:gd name="T11" fmla="*/ 2147483647 h 20"/>
              <a:gd name="T12" fmla="*/ 2147483647 w 22"/>
              <a:gd name="T13" fmla="*/ 0 h 20"/>
              <a:gd name="T14" fmla="*/ 2147483647 w 22"/>
              <a:gd name="T15" fmla="*/ 2147483647 h 20"/>
              <a:gd name="T16" fmla="*/ 0 w 22"/>
              <a:gd name="T17" fmla="*/ 0 h 2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2"/>
              <a:gd name="T28" fmla="*/ 0 h 20"/>
              <a:gd name="T29" fmla="*/ 22 w 22"/>
              <a:gd name="T30" fmla="*/ 20 h 2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2" h="20">
                <a:moveTo>
                  <a:pt x="0" y="0"/>
                </a:moveTo>
                <a:lnTo>
                  <a:pt x="0" y="10"/>
                </a:lnTo>
                <a:lnTo>
                  <a:pt x="0" y="20"/>
                </a:lnTo>
                <a:lnTo>
                  <a:pt x="6" y="16"/>
                </a:lnTo>
                <a:lnTo>
                  <a:pt x="18" y="8"/>
                </a:lnTo>
                <a:lnTo>
                  <a:pt x="22" y="2"/>
                </a:lnTo>
                <a:lnTo>
                  <a:pt x="14" y="0"/>
                </a:lnTo>
                <a:lnTo>
                  <a:pt x="8" y="2"/>
                </a:lnTo>
                <a:lnTo>
                  <a:pt x="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79" name="Freeform 259">
            <a:extLst>
              <a:ext uri="{FF2B5EF4-FFF2-40B4-BE49-F238E27FC236}">
                <a16:creationId xmlns:a16="http://schemas.microsoft.com/office/drawing/2014/main" id="{946D84D5-32A5-2900-FE98-24D64E76D06B}"/>
              </a:ext>
            </a:extLst>
          </p:cNvPr>
          <p:cNvSpPr>
            <a:spLocks/>
          </p:cNvSpPr>
          <p:nvPr/>
        </p:nvSpPr>
        <p:spPr bwMode="auto">
          <a:xfrm>
            <a:off x="9029701" y="4578351"/>
            <a:ext cx="48684" cy="57151"/>
          </a:xfrm>
          <a:custGeom>
            <a:avLst/>
            <a:gdLst>
              <a:gd name="T0" fmla="*/ 0 w 24"/>
              <a:gd name="T1" fmla="*/ 2147483647 h 28"/>
              <a:gd name="T2" fmla="*/ 2147483647 w 24"/>
              <a:gd name="T3" fmla="*/ 2147483647 h 28"/>
              <a:gd name="T4" fmla="*/ 2147483647 w 24"/>
              <a:gd name="T5" fmla="*/ 2147483647 h 28"/>
              <a:gd name="T6" fmla="*/ 2147483647 w 24"/>
              <a:gd name="T7" fmla="*/ 2147483647 h 28"/>
              <a:gd name="T8" fmla="*/ 2147483647 w 24"/>
              <a:gd name="T9" fmla="*/ 2147483647 h 28"/>
              <a:gd name="T10" fmla="*/ 2147483647 w 24"/>
              <a:gd name="T11" fmla="*/ 2147483647 h 28"/>
              <a:gd name="T12" fmla="*/ 2147483647 w 24"/>
              <a:gd name="T13" fmla="*/ 2147483647 h 28"/>
              <a:gd name="T14" fmla="*/ 2147483647 w 24"/>
              <a:gd name="T15" fmla="*/ 0 h 28"/>
              <a:gd name="T16" fmla="*/ 2147483647 w 24"/>
              <a:gd name="T17" fmla="*/ 2147483647 h 28"/>
              <a:gd name="T18" fmla="*/ 2147483647 w 24"/>
              <a:gd name="T19" fmla="*/ 2147483647 h 28"/>
              <a:gd name="T20" fmla="*/ 2147483647 w 24"/>
              <a:gd name="T21" fmla="*/ 2147483647 h 28"/>
              <a:gd name="T22" fmla="*/ 0 w 24"/>
              <a:gd name="T23" fmla="*/ 2147483647 h 2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4"/>
              <a:gd name="T37" fmla="*/ 0 h 28"/>
              <a:gd name="T38" fmla="*/ 24 w 24"/>
              <a:gd name="T39" fmla="*/ 28 h 2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4" h="28">
                <a:moveTo>
                  <a:pt x="0" y="18"/>
                </a:moveTo>
                <a:lnTo>
                  <a:pt x="6" y="26"/>
                </a:lnTo>
                <a:lnTo>
                  <a:pt x="14" y="28"/>
                </a:lnTo>
                <a:lnTo>
                  <a:pt x="14" y="16"/>
                </a:lnTo>
                <a:lnTo>
                  <a:pt x="18" y="12"/>
                </a:lnTo>
                <a:lnTo>
                  <a:pt x="24" y="8"/>
                </a:lnTo>
                <a:lnTo>
                  <a:pt x="22" y="4"/>
                </a:lnTo>
                <a:lnTo>
                  <a:pt x="16" y="0"/>
                </a:lnTo>
                <a:lnTo>
                  <a:pt x="10" y="2"/>
                </a:lnTo>
                <a:lnTo>
                  <a:pt x="8" y="10"/>
                </a:lnTo>
                <a:lnTo>
                  <a:pt x="4" y="16"/>
                </a:lnTo>
                <a:lnTo>
                  <a:pt x="0" y="1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80" name="Freeform 260">
            <a:extLst>
              <a:ext uri="{FF2B5EF4-FFF2-40B4-BE49-F238E27FC236}">
                <a16:creationId xmlns:a16="http://schemas.microsoft.com/office/drawing/2014/main" id="{DE9D4485-24D2-E490-F6B3-259D19A90B0C}"/>
              </a:ext>
            </a:extLst>
          </p:cNvPr>
          <p:cNvSpPr>
            <a:spLocks/>
          </p:cNvSpPr>
          <p:nvPr/>
        </p:nvSpPr>
        <p:spPr bwMode="auto">
          <a:xfrm>
            <a:off x="8951384" y="4123268"/>
            <a:ext cx="69851" cy="105833"/>
          </a:xfrm>
          <a:custGeom>
            <a:avLst/>
            <a:gdLst>
              <a:gd name="T0" fmla="*/ 2147483647 w 30"/>
              <a:gd name="T1" fmla="*/ 2147483647 h 54"/>
              <a:gd name="T2" fmla="*/ 2147483647 w 30"/>
              <a:gd name="T3" fmla="*/ 2147483647 h 54"/>
              <a:gd name="T4" fmla="*/ 2147483647 w 30"/>
              <a:gd name="T5" fmla="*/ 2147483647 h 54"/>
              <a:gd name="T6" fmla="*/ 2147483647 w 30"/>
              <a:gd name="T7" fmla="*/ 2147483647 h 54"/>
              <a:gd name="T8" fmla="*/ 2147483647 w 30"/>
              <a:gd name="T9" fmla="*/ 2147483647 h 54"/>
              <a:gd name="T10" fmla="*/ 2147483647 w 30"/>
              <a:gd name="T11" fmla="*/ 2147483647 h 54"/>
              <a:gd name="T12" fmla="*/ 2147483647 w 30"/>
              <a:gd name="T13" fmla="*/ 2147483647 h 54"/>
              <a:gd name="T14" fmla="*/ 0 w 30"/>
              <a:gd name="T15" fmla="*/ 2147483647 h 54"/>
              <a:gd name="T16" fmla="*/ 2147483647 w 30"/>
              <a:gd name="T17" fmla="*/ 2147483647 h 54"/>
              <a:gd name="T18" fmla="*/ 2147483647 w 30"/>
              <a:gd name="T19" fmla="*/ 2147483647 h 54"/>
              <a:gd name="T20" fmla="*/ 2147483647 w 30"/>
              <a:gd name="T21" fmla="*/ 0 h 54"/>
              <a:gd name="T22" fmla="*/ 2147483647 w 30"/>
              <a:gd name="T23" fmla="*/ 2147483647 h 5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0"/>
              <a:gd name="T37" fmla="*/ 0 h 54"/>
              <a:gd name="T38" fmla="*/ 30 w 30"/>
              <a:gd name="T39" fmla="*/ 54 h 5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0" h="54">
                <a:moveTo>
                  <a:pt x="30" y="4"/>
                </a:moveTo>
                <a:lnTo>
                  <a:pt x="26" y="18"/>
                </a:lnTo>
                <a:lnTo>
                  <a:pt x="22" y="28"/>
                </a:lnTo>
                <a:lnTo>
                  <a:pt x="20" y="36"/>
                </a:lnTo>
                <a:lnTo>
                  <a:pt x="16" y="48"/>
                </a:lnTo>
                <a:lnTo>
                  <a:pt x="10" y="54"/>
                </a:lnTo>
                <a:lnTo>
                  <a:pt x="4" y="42"/>
                </a:lnTo>
                <a:lnTo>
                  <a:pt x="0" y="26"/>
                </a:lnTo>
                <a:lnTo>
                  <a:pt x="8" y="12"/>
                </a:lnTo>
                <a:lnTo>
                  <a:pt x="18" y="4"/>
                </a:lnTo>
                <a:lnTo>
                  <a:pt x="22" y="0"/>
                </a:lnTo>
                <a:lnTo>
                  <a:pt x="30" y="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81" name="Freeform 261">
            <a:extLst>
              <a:ext uri="{FF2B5EF4-FFF2-40B4-BE49-F238E27FC236}">
                <a16:creationId xmlns:a16="http://schemas.microsoft.com/office/drawing/2014/main" id="{A37282D1-AFFD-E6D8-DCA7-B35DA819BB24}"/>
              </a:ext>
            </a:extLst>
          </p:cNvPr>
          <p:cNvSpPr>
            <a:spLocks/>
          </p:cNvSpPr>
          <p:nvPr/>
        </p:nvSpPr>
        <p:spPr bwMode="auto">
          <a:xfrm>
            <a:off x="8604251" y="4288367"/>
            <a:ext cx="78317" cy="57151"/>
          </a:xfrm>
          <a:custGeom>
            <a:avLst/>
            <a:gdLst>
              <a:gd name="T0" fmla="*/ 2147483647 w 38"/>
              <a:gd name="T1" fmla="*/ 2147483647 h 30"/>
              <a:gd name="T2" fmla="*/ 2147483647 w 38"/>
              <a:gd name="T3" fmla="*/ 0 h 30"/>
              <a:gd name="T4" fmla="*/ 2147483647 w 38"/>
              <a:gd name="T5" fmla="*/ 0 h 30"/>
              <a:gd name="T6" fmla="*/ 2147483647 w 38"/>
              <a:gd name="T7" fmla="*/ 2147483647 h 30"/>
              <a:gd name="T8" fmla="*/ 2147483647 w 38"/>
              <a:gd name="T9" fmla="*/ 2147483647 h 30"/>
              <a:gd name="T10" fmla="*/ 2147483647 w 38"/>
              <a:gd name="T11" fmla="*/ 2147483647 h 30"/>
              <a:gd name="T12" fmla="*/ 2147483647 w 38"/>
              <a:gd name="T13" fmla="*/ 2147483647 h 30"/>
              <a:gd name="T14" fmla="*/ 2147483647 w 38"/>
              <a:gd name="T15" fmla="*/ 2147483647 h 30"/>
              <a:gd name="T16" fmla="*/ 2147483647 w 38"/>
              <a:gd name="T17" fmla="*/ 2147483647 h 30"/>
              <a:gd name="T18" fmla="*/ 2147483647 w 38"/>
              <a:gd name="T19" fmla="*/ 2147483647 h 30"/>
              <a:gd name="T20" fmla="*/ 0 w 38"/>
              <a:gd name="T21" fmla="*/ 2147483647 h 30"/>
              <a:gd name="T22" fmla="*/ 0 w 38"/>
              <a:gd name="T23" fmla="*/ 2147483647 h 30"/>
              <a:gd name="T24" fmla="*/ 2147483647 w 38"/>
              <a:gd name="T25" fmla="*/ 2147483647 h 3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8"/>
              <a:gd name="T40" fmla="*/ 0 h 30"/>
              <a:gd name="T41" fmla="*/ 38 w 38"/>
              <a:gd name="T42" fmla="*/ 30 h 30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8" h="30">
                <a:moveTo>
                  <a:pt x="10" y="6"/>
                </a:moveTo>
                <a:lnTo>
                  <a:pt x="20" y="0"/>
                </a:lnTo>
                <a:lnTo>
                  <a:pt x="30" y="0"/>
                </a:lnTo>
                <a:lnTo>
                  <a:pt x="38" y="2"/>
                </a:lnTo>
                <a:lnTo>
                  <a:pt x="34" y="8"/>
                </a:lnTo>
                <a:lnTo>
                  <a:pt x="30" y="14"/>
                </a:lnTo>
                <a:lnTo>
                  <a:pt x="30" y="24"/>
                </a:lnTo>
                <a:lnTo>
                  <a:pt x="22" y="26"/>
                </a:lnTo>
                <a:lnTo>
                  <a:pt x="16" y="30"/>
                </a:lnTo>
                <a:lnTo>
                  <a:pt x="6" y="28"/>
                </a:lnTo>
                <a:lnTo>
                  <a:pt x="0" y="20"/>
                </a:lnTo>
                <a:lnTo>
                  <a:pt x="0" y="10"/>
                </a:lnTo>
                <a:lnTo>
                  <a:pt x="10" y="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82" name="Freeform 262">
            <a:extLst>
              <a:ext uri="{FF2B5EF4-FFF2-40B4-BE49-F238E27FC236}">
                <a16:creationId xmlns:a16="http://schemas.microsoft.com/office/drawing/2014/main" id="{8CE8E25F-1004-B445-5FBB-B59DEC1BE5AE}"/>
              </a:ext>
            </a:extLst>
          </p:cNvPr>
          <p:cNvSpPr>
            <a:spLocks/>
          </p:cNvSpPr>
          <p:nvPr/>
        </p:nvSpPr>
        <p:spPr bwMode="auto">
          <a:xfrm>
            <a:off x="9582151" y="3399367"/>
            <a:ext cx="171451" cy="152400"/>
          </a:xfrm>
          <a:custGeom>
            <a:avLst/>
            <a:gdLst>
              <a:gd name="T0" fmla="*/ 2147483647 w 92"/>
              <a:gd name="T1" fmla="*/ 0 h 78"/>
              <a:gd name="T2" fmla="*/ 2147483647 w 92"/>
              <a:gd name="T3" fmla="*/ 2147483647 h 78"/>
              <a:gd name="T4" fmla="*/ 2147483647 w 92"/>
              <a:gd name="T5" fmla="*/ 2147483647 h 78"/>
              <a:gd name="T6" fmla="*/ 2147483647 w 92"/>
              <a:gd name="T7" fmla="*/ 2147483647 h 78"/>
              <a:gd name="T8" fmla="*/ 2147483647 w 92"/>
              <a:gd name="T9" fmla="*/ 2147483647 h 78"/>
              <a:gd name="T10" fmla="*/ 2147483647 w 92"/>
              <a:gd name="T11" fmla="*/ 2147483647 h 78"/>
              <a:gd name="T12" fmla="*/ 2147483647 w 92"/>
              <a:gd name="T13" fmla="*/ 2147483647 h 78"/>
              <a:gd name="T14" fmla="*/ 2147483647 w 92"/>
              <a:gd name="T15" fmla="*/ 2147483647 h 78"/>
              <a:gd name="T16" fmla="*/ 2147483647 w 92"/>
              <a:gd name="T17" fmla="*/ 2147483647 h 78"/>
              <a:gd name="T18" fmla="*/ 2147483647 w 92"/>
              <a:gd name="T19" fmla="*/ 2147483647 h 78"/>
              <a:gd name="T20" fmla="*/ 2147483647 w 92"/>
              <a:gd name="T21" fmla="*/ 2147483647 h 78"/>
              <a:gd name="T22" fmla="*/ 2147483647 w 92"/>
              <a:gd name="T23" fmla="*/ 2147483647 h 78"/>
              <a:gd name="T24" fmla="*/ 2147483647 w 92"/>
              <a:gd name="T25" fmla="*/ 2147483647 h 78"/>
              <a:gd name="T26" fmla="*/ 2147483647 w 92"/>
              <a:gd name="T27" fmla="*/ 2147483647 h 78"/>
              <a:gd name="T28" fmla="*/ 2147483647 w 92"/>
              <a:gd name="T29" fmla="*/ 2147483647 h 78"/>
              <a:gd name="T30" fmla="*/ 2147483647 w 92"/>
              <a:gd name="T31" fmla="*/ 2147483647 h 78"/>
              <a:gd name="T32" fmla="*/ 2147483647 w 92"/>
              <a:gd name="T33" fmla="*/ 2147483647 h 78"/>
              <a:gd name="T34" fmla="*/ 2147483647 w 92"/>
              <a:gd name="T35" fmla="*/ 2147483647 h 78"/>
              <a:gd name="T36" fmla="*/ 2147483647 w 92"/>
              <a:gd name="T37" fmla="*/ 2147483647 h 78"/>
              <a:gd name="T38" fmla="*/ 2147483647 w 92"/>
              <a:gd name="T39" fmla="*/ 2147483647 h 78"/>
              <a:gd name="T40" fmla="*/ 2147483647 w 92"/>
              <a:gd name="T41" fmla="*/ 2147483647 h 78"/>
              <a:gd name="T42" fmla="*/ 2147483647 w 92"/>
              <a:gd name="T43" fmla="*/ 2147483647 h 78"/>
              <a:gd name="T44" fmla="*/ 2147483647 w 92"/>
              <a:gd name="T45" fmla="*/ 2147483647 h 78"/>
              <a:gd name="T46" fmla="*/ 2147483647 w 92"/>
              <a:gd name="T47" fmla="*/ 2147483647 h 78"/>
              <a:gd name="T48" fmla="*/ 2147483647 w 92"/>
              <a:gd name="T49" fmla="*/ 2147483647 h 78"/>
              <a:gd name="T50" fmla="*/ 2147483647 w 92"/>
              <a:gd name="T51" fmla="*/ 2147483647 h 78"/>
              <a:gd name="T52" fmla="*/ 2147483647 w 92"/>
              <a:gd name="T53" fmla="*/ 2147483647 h 78"/>
              <a:gd name="T54" fmla="*/ 2147483647 w 92"/>
              <a:gd name="T55" fmla="*/ 2147483647 h 78"/>
              <a:gd name="T56" fmla="*/ 2147483647 w 92"/>
              <a:gd name="T57" fmla="*/ 2147483647 h 78"/>
              <a:gd name="T58" fmla="*/ 2147483647 w 92"/>
              <a:gd name="T59" fmla="*/ 2147483647 h 78"/>
              <a:gd name="T60" fmla="*/ 2147483647 w 92"/>
              <a:gd name="T61" fmla="*/ 2147483647 h 78"/>
              <a:gd name="T62" fmla="*/ 0 w 92"/>
              <a:gd name="T63" fmla="*/ 2147483647 h 78"/>
              <a:gd name="T64" fmla="*/ 0 w 92"/>
              <a:gd name="T65" fmla="*/ 2147483647 h 78"/>
              <a:gd name="T66" fmla="*/ 2147483647 w 92"/>
              <a:gd name="T67" fmla="*/ 2147483647 h 78"/>
              <a:gd name="T68" fmla="*/ 2147483647 w 92"/>
              <a:gd name="T69" fmla="*/ 2147483647 h 78"/>
              <a:gd name="T70" fmla="*/ 2147483647 w 92"/>
              <a:gd name="T71" fmla="*/ 2147483647 h 78"/>
              <a:gd name="T72" fmla="*/ 2147483647 w 92"/>
              <a:gd name="T73" fmla="*/ 2147483647 h 78"/>
              <a:gd name="T74" fmla="*/ 2147483647 w 92"/>
              <a:gd name="T75" fmla="*/ 2147483647 h 78"/>
              <a:gd name="T76" fmla="*/ 2147483647 w 92"/>
              <a:gd name="T77" fmla="*/ 2147483647 h 78"/>
              <a:gd name="T78" fmla="*/ 2147483647 w 92"/>
              <a:gd name="T79" fmla="*/ 2147483647 h 78"/>
              <a:gd name="T80" fmla="*/ 2147483647 w 92"/>
              <a:gd name="T81" fmla="*/ 0 h 7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92"/>
              <a:gd name="T124" fmla="*/ 0 h 78"/>
              <a:gd name="T125" fmla="*/ 92 w 92"/>
              <a:gd name="T126" fmla="*/ 78 h 7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92" h="78">
                <a:moveTo>
                  <a:pt x="30" y="0"/>
                </a:moveTo>
                <a:lnTo>
                  <a:pt x="38" y="6"/>
                </a:lnTo>
                <a:lnTo>
                  <a:pt x="48" y="16"/>
                </a:lnTo>
                <a:lnTo>
                  <a:pt x="66" y="26"/>
                </a:lnTo>
                <a:lnTo>
                  <a:pt x="76" y="30"/>
                </a:lnTo>
                <a:lnTo>
                  <a:pt x="84" y="24"/>
                </a:lnTo>
                <a:lnTo>
                  <a:pt x="90" y="24"/>
                </a:lnTo>
                <a:lnTo>
                  <a:pt x="84" y="30"/>
                </a:lnTo>
                <a:lnTo>
                  <a:pt x="88" y="36"/>
                </a:lnTo>
                <a:lnTo>
                  <a:pt x="92" y="40"/>
                </a:lnTo>
                <a:lnTo>
                  <a:pt x="84" y="46"/>
                </a:lnTo>
                <a:lnTo>
                  <a:pt x="80" y="48"/>
                </a:lnTo>
                <a:lnTo>
                  <a:pt x="74" y="46"/>
                </a:lnTo>
                <a:lnTo>
                  <a:pt x="68" y="48"/>
                </a:lnTo>
                <a:lnTo>
                  <a:pt x="58" y="52"/>
                </a:lnTo>
                <a:lnTo>
                  <a:pt x="52" y="60"/>
                </a:lnTo>
                <a:lnTo>
                  <a:pt x="52" y="66"/>
                </a:lnTo>
                <a:lnTo>
                  <a:pt x="44" y="62"/>
                </a:lnTo>
                <a:lnTo>
                  <a:pt x="36" y="56"/>
                </a:lnTo>
                <a:lnTo>
                  <a:pt x="28" y="54"/>
                </a:lnTo>
                <a:lnTo>
                  <a:pt x="24" y="56"/>
                </a:lnTo>
                <a:lnTo>
                  <a:pt x="22" y="60"/>
                </a:lnTo>
                <a:lnTo>
                  <a:pt x="16" y="56"/>
                </a:lnTo>
                <a:lnTo>
                  <a:pt x="10" y="54"/>
                </a:lnTo>
                <a:lnTo>
                  <a:pt x="8" y="58"/>
                </a:lnTo>
                <a:lnTo>
                  <a:pt x="10" y="64"/>
                </a:lnTo>
                <a:lnTo>
                  <a:pt x="16" y="66"/>
                </a:lnTo>
                <a:lnTo>
                  <a:pt x="14" y="72"/>
                </a:lnTo>
                <a:lnTo>
                  <a:pt x="8" y="74"/>
                </a:lnTo>
                <a:lnTo>
                  <a:pt x="2" y="78"/>
                </a:lnTo>
                <a:lnTo>
                  <a:pt x="2" y="68"/>
                </a:lnTo>
                <a:lnTo>
                  <a:pt x="0" y="60"/>
                </a:lnTo>
                <a:lnTo>
                  <a:pt x="0" y="52"/>
                </a:lnTo>
                <a:lnTo>
                  <a:pt x="6" y="50"/>
                </a:lnTo>
                <a:lnTo>
                  <a:pt x="10" y="44"/>
                </a:lnTo>
                <a:lnTo>
                  <a:pt x="10" y="38"/>
                </a:lnTo>
                <a:lnTo>
                  <a:pt x="16" y="38"/>
                </a:lnTo>
                <a:lnTo>
                  <a:pt x="22" y="42"/>
                </a:lnTo>
                <a:lnTo>
                  <a:pt x="28" y="40"/>
                </a:lnTo>
                <a:lnTo>
                  <a:pt x="30" y="16"/>
                </a:lnTo>
                <a:lnTo>
                  <a:pt x="30" y="0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83" name="Freeform 263">
            <a:extLst>
              <a:ext uri="{FF2B5EF4-FFF2-40B4-BE49-F238E27FC236}">
                <a16:creationId xmlns:a16="http://schemas.microsoft.com/office/drawing/2014/main" id="{ABC3ADB1-1A8A-BE54-69FF-1EBEFCDB88CA}"/>
              </a:ext>
            </a:extLst>
          </p:cNvPr>
          <p:cNvSpPr>
            <a:spLocks/>
          </p:cNvSpPr>
          <p:nvPr/>
        </p:nvSpPr>
        <p:spPr bwMode="auto">
          <a:xfrm>
            <a:off x="9338732" y="3814234"/>
            <a:ext cx="78317" cy="48684"/>
          </a:xfrm>
          <a:custGeom>
            <a:avLst/>
            <a:gdLst>
              <a:gd name="T0" fmla="*/ 2147483647 w 40"/>
              <a:gd name="T1" fmla="*/ 2147483647 h 26"/>
              <a:gd name="T2" fmla="*/ 2147483647 w 40"/>
              <a:gd name="T3" fmla="*/ 2147483647 h 26"/>
              <a:gd name="T4" fmla="*/ 2147483647 w 40"/>
              <a:gd name="T5" fmla="*/ 2147483647 h 26"/>
              <a:gd name="T6" fmla="*/ 2147483647 w 40"/>
              <a:gd name="T7" fmla="*/ 2147483647 h 26"/>
              <a:gd name="T8" fmla="*/ 2147483647 w 40"/>
              <a:gd name="T9" fmla="*/ 2147483647 h 26"/>
              <a:gd name="T10" fmla="*/ 2147483647 w 40"/>
              <a:gd name="T11" fmla="*/ 2147483647 h 26"/>
              <a:gd name="T12" fmla="*/ 0 w 40"/>
              <a:gd name="T13" fmla="*/ 2147483647 h 26"/>
              <a:gd name="T14" fmla="*/ 2147483647 w 40"/>
              <a:gd name="T15" fmla="*/ 2147483647 h 26"/>
              <a:gd name="T16" fmla="*/ 2147483647 w 40"/>
              <a:gd name="T17" fmla="*/ 2147483647 h 26"/>
              <a:gd name="T18" fmla="*/ 2147483647 w 40"/>
              <a:gd name="T19" fmla="*/ 2147483647 h 26"/>
              <a:gd name="T20" fmla="*/ 2147483647 w 40"/>
              <a:gd name="T21" fmla="*/ 0 h 26"/>
              <a:gd name="T22" fmla="*/ 2147483647 w 40"/>
              <a:gd name="T23" fmla="*/ 0 h 26"/>
              <a:gd name="T24" fmla="*/ 2147483647 w 40"/>
              <a:gd name="T25" fmla="*/ 2147483647 h 26"/>
              <a:gd name="T26" fmla="*/ 2147483647 w 40"/>
              <a:gd name="T27" fmla="*/ 2147483647 h 26"/>
              <a:gd name="T28" fmla="*/ 2147483647 w 40"/>
              <a:gd name="T29" fmla="*/ 2147483647 h 26"/>
              <a:gd name="T30" fmla="*/ 2147483647 w 40"/>
              <a:gd name="T31" fmla="*/ 2147483647 h 2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40"/>
              <a:gd name="T49" fmla="*/ 0 h 26"/>
              <a:gd name="T50" fmla="*/ 40 w 40"/>
              <a:gd name="T51" fmla="*/ 26 h 2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40" h="26">
                <a:moveTo>
                  <a:pt x="30" y="16"/>
                </a:moveTo>
                <a:lnTo>
                  <a:pt x="24" y="14"/>
                </a:lnTo>
                <a:lnTo>
                  <a:pt x="18" y="18"/>
                </a:lnTo>
                <a:lnTo>
                  <a:pt x="14" y="26"/>
                </a:lnTo>
                <a:lnTo>
                  <a:pt x="6" y="24"/>
                </a:lnTo>
                <a:lnTo>
                  <a:pt x="6" y="18"/>
                </a:lnTo>
                <a:lnTo>
                  <a:pt x="0" y="14"/>
                </a:lnTo>
                <a:lnTo>
                  <a:pt x="8" y="8"/>
                </a:lnTo>
                <a:lnTo>
                  <a:pt x="16" y="8"/>
                </a:lnTo>
                <a:lnTo>
                  <a:pt x="24" y="6"/>
                </a:lnTo>
                <a:lnTo>
                  <a:pt x="28" y="0"/>
                </a:lnTo>
                <a:lnTo>
                  <a:pt x="36" y="0"/>
                </a:lnTo>
                <a:lnTo>
                  <a:pt x="40" y="6"/>
                </a:lnTo>
                <a:lnTo>
                  <a:pt x="38" y="8"/>
                </a:lnTo>
                <a:lnTo>
                  <a:pt x="34" y="14"/>
                </a:lnTo>
                <a:lnTo>
                  <a:pt x="30" y="16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84" name="Freeform 264">
            <a:extLst>
              <a:ext uri="{FF2B5EF4-FFF2-40B4-BE49-F238E27FC236}">
                <a16:creationId xmlns:a16="http://schemas.microsoft.com/office/drawing/2014/main" id="{34921396-DE61-78D5-2F7E-5C3ABAE08A3C}"/>
              </a:ext>
            </a:extLst>
          </p:cNvPr>
          <p:cNvSpPr>
            <a:spLocks/>
          </p:cNvSpPr>
          <p:nvPr/>
        </p:nvSpPr>
        <p:spPr bwMode="auto">
          <a:xfrm>
            <a:off x="9254067" y="3824817"/>
            <a:ext cx="74084" cy="95251"/>
          </a:xfrm>
          <a:custGeom>
            <a:avLst/>
            <a:gdLst>
              <a:gd name="T0" fmla="*/ 2147483647 w 38"/>
              <a:gd name="T1" fmla="*/ 2147483647 h 50"/>
              <a:gd name="T2" fmla="*/ 2147483647 w 38"/>
              <a:gd name="T3" fmla="*/ 2147483647 h 50"/>
              <a:gd name="T4" fmla="*/ 2147483647 w 38"/>
              <a:gd name="T5" fmla="*/ 0 h 50"/>
              <a:gd name="T6" fmla="*/ 2147483647 w 38"/>
              <a:gd name="T7" fmla="*/ 0 h 50"/>
              <a:gd name="T8" fmla="*/ 2147483647 w 38"/>
              <a:gd name="T9" fmla="*/ 2147483647 h 50"/>
              <a:gd name="T10" fmla="*/ 2147483647 w 38"/>
              <a:gd name="T11" fmla="*/ 2147483647 h 50"/>
              <a:gd name="T12" fmla="*/ 2147483647 w 38"/>
              <a:gd name="T13" fmla="*/ 2147483647 h 50"/>
              <a:gd name="T14" fmla="*/ 2147483647 w 38"/>
              <a:gd name="T15" fmla="*/ 2147483647 h 50"/>
              <a:gd name="T16" fmla="*/ 2147483647 w 38"/>
              <a:gd name="T17" fmla="*/ 2147483647 h 50"/>
              <a:gd name="T18" fmla="*/ 2147483647 w 38"/>
              <a:gd name="T19" fmla="*/ 2147483647 h 50"/>
              <a:gd name="T20" fmla="*/ 2147483647 w 38"/>
              <a:gd name="T21" fmla="*/ 2147483647 h 50"/>
              <a:gd name="T22" fmla="*/ 2147483647 w 38"/>
              <a:gd name="T23" fmla="*/ 2147483647 h 50"/>
              <a:gd name="T24" fmla="*/ 2147483647 w 38"/>
              <a:gd name="T25" fmla="*/ 2147483647 h 50"/>
              <a:gd name="T26" fmla="*/ 2147483647 w 38"/>
              <a:gd name="T27" fmla="*/ 2147483647 h 50"/>
              <a:gd name="T28" fmla="*/ 2147483647 w 38"/>
              <a:gd name="T29" fmla="*/ 2147483647 h 50"/>
              <a:gd name="T30" fmla="*/ 2147483647 w 38"/>
              <a:gd name="T31" fmla="*/ 2147483647 h 50"/>
              <a:gd name="T32" fmla="*/ 2147483647 w 38"/>
              <a:gd name="T33" fmla="*/ 2147483647 h 50"/>
              <a:gd name="T34" fmla="*/ 2147483647 w 38"/>
              <a:gd name="T35" fmla="*/ 2147483647 h 50"/>
              <a:gd name="T36" fmla="*/ 2147483647 w 38"/>
              <a:gd name="T37" fmla="*/ 2147483647 h 50"/>
              <a:gd name="T38" fmla="*/ 2147483647 w 38"/>
              <a:gd name="T39" fmla="*/ 2147483647 h 50"/>
              <a:gd name="T40" fmla="*/ 2147483647 w 38"/>
              <a:gd name="T41" fmla="*/ 2147483647 h 50"/>
              <a:gd name="T42" fmla="*/ 0 w 38"/>
              <a:gd name="T43" fmla="*/ 2147483647 h 50"/>
              <a:gd name="T44" fmla="*/ 2147483647 w 38"/>
              <a:gd name="T45" fmla="*/ 2147483647 h 5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38"/>
              <a:gd name="T70" fmla="*/ 0 h 50"/>
              <a:gd name="T71" fmla="*/ 38 w 38"/>
              <a:gd name="T72" fmla="*/ 50 h 5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38" h="50">
                <a:moveTo>
                  <a:pt x="4" y="12"/>
                </a:moveTo>
                <a:lnTo>
                  <a:pt x="10" y="8"/>
                </a:lnTo>
                <a:lnTo>
                  <a:pt x="16" y="0"/>
                </a:lnTo>
                <a:lnTo>
                  <a:pt x="24" y="0"/>
                </a:lnTo>
                <a:lnTo>
                  <a:pt x="28" y="6"/>
                </a:lnTo>
                <a:lnTo>
                  <a:pt x="34" y="10"/>
                </a:lnTo>
                <a:lnTo>
                  <a:pt x="38" y="16"/>
                </a:lnTo>
                <a:lnTo>
                  <a:pt x="36" y="24"/>
                </a:lnTo>
                <a:lnTo>
                  <a:pt x="32" y="26"/>
                </a:lnTo>
                <a:lnTo>
                  <a:pt x="30" y="32"/>
                </a:lnTo>
                <a:lnTo>
                  <a:pt x="30" y="40"/>
                </a:lnTo>
                <a:lnTo>
                  <a:pt x="26" y="50"/>
                </a:lnTo>
                <a:lnTo>
                  <a:pt x="18" y="48"/>
                </a:lnTo>
                <a:lnTo>
                  <a:pt x="18" y="44"/>
                </a:lnTo>
                <a:lnTo>
                  <a:pt x="20" y="36"/>
                </a:lnTo>
                <a:lnTo>
                  <a:pt x="12" y="36"/>
                </a:lnTo>
                <a:lnTo>
                  <a:pt x="14" y="30"/>
                </a:lnTo>
                <a:lnTo>
                  <a:pt x="18" y="24"/>
                </a:lnTo>
                <a:lnTo>
                  <a:pt x="18" y="20"/>
                </a:lnTo>
                <a:lnTo>
                  <a:pt x="16" y="14"/>
                </a:lnTo>
                <a:lnTo>
                  <a:pt x="8" y="16"/>
                </a:lnTo>
                <a:lnTo>
                  <a:pt x="0" y="18"/>
                </a:lnTo>
                <a:lnTo>
                  <a:pt x="4" y="1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85" name="Freeform 265">
            <a:extLst>
              <a:ext uri="{FF2B5EF4-FFF2-40B4-BE49-F238E27FC236}">
                <a16:creationId xmlns:a16="http://schemas.microsoft.com/office/drawing/2014/main" id="{8FC45D34-0871-532A-8492-5DADE0C8AF25}"/>
              </a:ext>
            </a:extLst>
          </p:cNvPr>
          <p:cNvSpPr>
            <a:spLocks/>
          </p:cNvSpPr>
          <p:nvPr/>
        </p:nvSpPr>
        <p:spPr bwMode="auto">
          <a:xfrm>
            <a:off x="9300633" y="3541185"/>
            <a:ext cx="338667" cy="302684"/>
          </a:xfrm>
          <a:custGeom>
            <a:avLst/>
            <a:gdLst>
              <a:gd name="T0" fmla="*/ 2147483647 w 174"/>
              <a:gd name="T1" fmla="*/ 2147483647 h 148"/>
              <a:gd name="T2" fmla="*/ 2147483647 w 174"/>
              <a:gd name="T3" fmla="*/ 2147483647 h 148"/>
              <a:gd name="T4" fmla="*/ 2147483647 w 174"/>
              <a:gd name="T5" fmla="*/ 2147483647 h 148"/>
              <a:gd name="T6" fmla="*/ 2147483647 w 174"/>
              <a:gd name="T7" fmla="*/ 2147483647 h 148"/>
              <a:gd name="T8" fmla="*/ 2147483647 w 174"/>
              <a:gd name="T9" fmla="*/ 2147483647 h 148"/>
              <a:gd name="T10" fmla="*/ 2147483647 w 174"/>
              <a:gd name="T11" fmla="*/ 2147483647 h 148"/>
              <a:gd name="T12" fmla="*/ 2147483647 w 174"/>
              <a:gd name="T13" fmla="*/ 2147483647 h 148"/>
              <a:gd name="T14" fmla="*/ 2147483647 w 174"/>
              <a:gd name="T15" fmla="*/ 2147483647 h 148"/>
              <a:gd name="T16" fmla="*/ 2147483647 w 174"/>
              <a:gd name="T17" fmla="*/ 2147483647 h 148"/>
              <a:gd name="T18" fmla="*/ 2147483647 w 174"/>
              <a:gd name="T19" fmla="*/ 2147483647 h 148"/>
              <a:gd name="T20" fmla="*/ 2147483647 w 174"/>
              <a:gd name="T21" fmla="*/ 2147483647 h 148"/>
              <a:gd name="T22" fmla="*/ 2147483647 w 174"/>
              <a:gd name="T23" fmla="*/ 2147483647 h 148"/>
              <a:gd name="T24" fmla="*/ 2147483647 w 174"/>
              <a:gd name="T25" fmla="*/ 2147483647 h 148"/>
              <a:gd name="T26" fmla="*/ 2147483647 w 174"/>
              <a:gd name="T27" fmla="*/ 2147483647 h 148"/>
              <a:gd name="T28" fmla="*/ 2147483647 w 174"/>
              <a:gd name="T29" fmla="*/ 2147483647 h 148"/>
              <a:gd name="T30" fmla="*/ 2147483647 w 174"/>
              <a:gd name="T31" fmla="*/ 2147483647 h 148"/>
              <a:gd name="T32" fmla="*/ 2147483647 w 174"/>
              <a:gd name="T33" fmla="*/ 2147483647 h 148"/>
              <a:gd name="T34" fmla="*/ 2147483647 w 174"/>
              <a:gd name="T35" fmla="*/ 2147483647 h 148"/>
              <a:gd name="T36" fmla="*/ 2147483647 w 174"/>
              <a:gd name="T37" fmla="*/ 2147483647 h 148"/>
              <a:gd name="T38" fmla="*/ 2147483647 w 174"/>
              <a:gd name="T39" fmla="*/ 2147483647 h 148"/>
              <a:gd name="T40" fmla="*/ 2147483647 w 174"/>
              <a:gd name="T41" fmla="*/ 2147483647 h 148"/>
              <a:gd name="T42" fmla="*/ 2147483647 w 174"/>
              <a:gd name="T43" fmla="*/ 2147483647 h 148"/>
              <a:gd name="T44" fmla="*/ 2147483647 w 174"/>
              <a:gd name="T45" fmla="*/ 2147483647 h 148"/>
              <a:gd name="T46" fmla="*/ 2147483647 w 174"/>
              <a:gd name="T47" fmla="*/ 2147483647 h 148"/>
              <a:gd name="T48" fmla="*/ 2147483647 w 174"/>
              <a:gd name="T49" fmla="*/ 2147483647 h 148"/>
              <a:gd name="T50" fmla="*/ 2147483647 w 174"/>
              <a:gd name="T51" fmla="*/ 2147483647 h 148"/>
              <a:gd name="T52" fmla="*/ 2147483647 w 174"/>
              <a:gd name="T53" fmla="*/ 2147483647 h 148"/>
              <a:gd name="T54" fmla="*/ 2147483647 w 174"/>
              <a:gd name="T55" fmla="*/ 2147483647 h 148"/>
              <a:gd name="T56" fmla="*/ 2147483647 w 174"/>
              <a:gd name="T57" fmla="*/ 2147483647 h 148"/>
              <a:gd name="T58" fmla="*/ 2147483647 w 174"/>
              <a:gd name="T59" fmla="*/ 2147483647 h 148"/>
              <a:gd name="T60" fmla="*/ 2147483647 w 174"/>
              <a:gd name="T61" fmla="*/ 2147483647 h 148"/>
              <a:gd name="T62" fmla="*/ 2147483647 w 174"/>
              <a:gd name="T63" fmla="*/ 2147483647 h 148"/>
              <a:gd name="T64" fmla="*/ 2147483647 w 174"/>
              <a:gd name="T65" fmla="*/ 2147483647 h 148"/>
              <a:gd name="T66" fmla="*/ 2147483647 w 174"/>
              <a:gd name="T67" fmla="*/ 2147483647 h 14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74"/>
              <a:gd name="T103" fmla="*/ 0 h 148"/>
              <a:gd name="T104" fmla="*/ 174 w 174"/>
              <a:gd name="T105" fmla="*/ 148 h 148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74" h="148">
                <a:moveTo>
                  <a:pt x="0" y="134"/>
                </a:moveTo>
                <a:lnTo>
                  <a:pt x="12" y="128"/>
                </a:lnTo>
                <a:lnTo>
                  <a:pt x="26" y="118"/>
                </a:lnTo>
                <a:lnTo>
                  <a:pt x="32" y="112"/>
                </a:lnTo>
                <a:lnTo>
                  <a:pt x="44" y="110"/>
                </a:lnTo>
                <a:lnTo>
                  <a:pt x="60" y="110"/>
                </a:lnTo>
                <a:lnTo>
                  <a:pt x="76" y="110"/>
                </a:lnTo>
                <a:lnTo>
                  <a:pt x="80" y="100"/>
                </a:lnTo>
                <a:lnTo>
                  <a:pt x="88" y="90"/>
                </a:lnTo>
                <a:lnTo>
                  <a:pt x="92" y="82"/>
                </a:lnTo>
                <a:lnTo>
                  <a:pt x="98" y="74"/>
                </a:lnTo>
                <a:lnTo>
                  <a:pt x="100" y="80"/>
                </a:lnTo>
                <a:lnTo>
                  <a:pt x="100" y="86"/>
                </a:lnTo>
                <a:lnTo>
                  <a:pt x="110" y="82"/>
                </a:lnTo>
                <a:lnTo>
                  <a:pt x="126" y="72"/>
                </a:lnTo>
                <a:lnTo>
                  <a:pt x="140" y="52"/>
                </a:lnTo>
                <a:lnTo>
                  <a:pt x="146" y="36"/>
                </a:lnTo>
                <a:lnTo>
                  <a:pt x="144" y="30"/>
                </a:lnTo>
                <a:lnTo>
                  <a:pt x="142" y="18"/>
                </a:lnTo>
                <a:lnTo>
                  <a:pt x="146" y="10"/>
                </a:lnTo>
                <a:lnTo>
                  <a:pt x="150" y="8"/>
                </a:lnTo>
                <a:lnTo>
                  <a:pt x="160" y="12"/>
                </a:lnTo>
                <a:lnTo>
                  <a:pt x="162" y="6"/>
                </a:lnTo>
                <a:lnTo>
                  <a:pt x="158" y="2"/>
                </a:lnTo>
                <a:lnTo>
                  <a:pt x="164" y="0"/>
                </a:lnTo>
                <a:lnTo>
                  <a:pt x="166" y="10"/>
                </a:lnTo>
                <a:lnTo>
                  <a:pt x="166" y="18"/>
                </a:lnTo>
                <a:lnTo>
                  <a:pt x="172" y="28"/>
                </a:lnTo>
                <a:lnTo>
                  <a:pt x="174" y="36"/>
                </a:lnTo>
                <a:lnTo>
                  <a:pt x="168" y="48"/>
                </a:lnTo>
                <a:lnTo>
                  <a:pt x="160" y="58"/>
                </a:lnTo>
                <a:lnTo>
                  <a:pt x="158" y="66"/>
                </a:lnTo>
                <a:lnTo>
                  <a:pt x="158" y="80"/>
                </a:lnTo>
                <a:lnTo>
                  <a:pt x="154" y="86"/>
                </a:lnTo>
                <a:lnTo>
                  <a:pt x="152" y="96"/>
                </a:lnTo>
                <a:lnTo>
                  <a:pt x="152" y="98"/>
                </a:lnTo>
                <a:lnTo>
                  <a:pt x="152" y="102"/>
                </a:lnTo>
                <a:lnTo>
                  <a:pt x="152" y="108"/>
                </a:lnTo>
                <a:lnTo>
                  <a:pt x="152" y="110"/>
                </a:lnTo>
                <a:lnTo>
                  <a:pt x="148" y="118"/>
                </a:lnTo>
                <a:lnTo>
                  <a:pt x="142" y="122"/>
                </a:lnTo>
                <a:lnTo>
                  <a:pt x="138" y="116"/>
                </a:lnTo>
                <a:lnTo>
                  <a:pt x="132" y="114"/>
                </a:lnTo>
                <a:lnTo>
                  <a:pt x="126" y="116"/>
                </a:lnTo>
                <a:lnTo>
                  <a:pt x="128" y="124"/>
                </a:lnTo>
                <a:lnTo>
                  <a:pt x="126" y="128"/>
                </a:lnTo>
                <a:lnTo>
                  <a:pt x="118" y="122"/>
                </a:lnTo>
                <a:lnTo>
                  <a:pt x="116" y="126"/>
                </a:lnTo>
                <a:lnTo>
                  <a:pt x="110" y="126"/>
                </a:lnTo>
                <a:lnTo>
                  <a:pt x="102" y="126"/>
                </a:lnTo>
                <a:lnTo>
                  <a:pt x="92" y="126"/>
                </a:lnTo>
                <a:lnTo>
                  <a:pt x="90" y="122"/>
                </a:lnTo>
                <a:lnTo>
                  <a:pt x="88" y="126"/>
                </a:lnTo>
                <a:lnTo>
                  <a:pt x="92" y="132"/>
                </a:lnTo>
                <a:lnTo>
                  <a:pt x="84" y="136"/>
                </a:lnTo>
                <a:lnTo>
                  <a:pt x="80" y="144"/>
                </a:lnTo>
                <a:lnTo>
                  <a:pt x="74" y="148"/>
                </a:lnTo>
                <a:lnTo>
                  <a:pt x="68" y="140"/>
                </a:lnTo>
                <a:lnTo>
                  <a:pt x="62" y="136"/>
                </a:lnTo>
                <a:lnTo>
                  <a:pt x="70" y="130"/>
                </a:lnTo>
                <a:lnTo>
                  <a:pt x="72" y="124"/>
                </a:lnTo>
                <a:lnTo>
                  <a:pt x="56" y="124"/>
                </a:lnTo>
                <a:lnTo>
                  <a:pt x="50" y="128"/>
                </a:lnTo>
                <a:lnTo>
                  <a:pt x="38" y="130"/>
                </a:lnTo>
                <a:lnTo>
                  <a:pt x="28" y="134"/>
                </a:lnTo>
                <a:lnTo>
                  <a:pt x="18" y="134"/>
                </a:lnTo>
                <a:lnTo>
                  <a:pt x="10" y="140"/>
                </a:lnTo>
                <a:lnTo>
                  <a:pt x="2" y="138"/>
                </a:lnTo>
                <a:lnTo>
                  <a:pt x="0" y="13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86" name="Freeform 266">
            <a:extLst>
              <a:ext uri="{FF2B5EF4-FFF2-40B4-BE49-F238E27FC236}">
                <a16:creationId xmlns:a16="http://schemas.microsoft.com/office/drawing/2014/main" id="{74322CDA-AC46-F2A8-5D6A-07BE84A4CAD2}"/>
              </a:ext>
            </a:extLst>
          </p:cNvPr>
          <p:cNvSpPr>
            <a:spLocks/>
          </p:cNvSpPr>
          <p:nvPr/>
        </p:nvSpPr>
        <p:spPr bwMode="auto">
          <a:xfrm>
            <a:off x="9156701" y="3659718"/>
            <a:ext cx="97367" cy="143933"/>
          </a:xfrm>
          <a:custGeom>
            <a:avLst/>
            <a:gdLst>
              <a:gd name="T0" fmla="*/ 2147483647 w 50"/>
              <a:gd name="T1" fmla="*/ 2147483647 h 72"/>
              <a:gd name="T2" fmla="*/ 2147483647 w 50"/>
              <a:gd name="T3" fmla="*/ 2147483647 h 72"/>
              <a:gd name="T4" fmla="*/ 2147483647 w 50"/>
              <a:gd name="T5" fmla="*/ 2147483647 h 72"/>
              <a:gd name="T6" fmla="*/ 2147483647 w 50"/>
              <a:gd name="T7" fmla="*/ 2147483647 h 72"/>
              <a:gd name="T8" fmla="*/ 2147483647 w 50"/>
              <a:gd name="T9" fmla="*/ 2147483647 h 72"/>
              <a:gd name="T10" fmla="*/ 2147483647 w 50"/>
              <a:gd name="T11" fmla="*/ 2147483647 h 72"/>
              <a:gd name="T12" fmla="*/ 2147483647 w 50"/>
              <a:gd name="T13" fmla="*/ 2147483647 h 72"/>
              <a:gd name="T14" fmla="*/ 2147483647 w 50"/>
              <a:gd name="T15" fmla="*/ 2147483647 h 72"/>
              <a:gd name="T16" fmla="*/ 2147483647 w 50"/>
              <a:gd name="T17" fmla="*/ 0 h 72"/>
              <a:gd name="T18" fmla="*/ 2147483647 w 50"/>
              <a:gd name="T19" fmla="*/ 2147483647 h 72"/>
              <a:gd name="T20" fmla="*/ 2147483647 w 50"/>
              <a:gd name="T21" fmla="*/ 2147483647 h 72"/>
              <a:gd name="T22" fmla="*/ 2147483647 w 50"/>
              <a:gd name="T23" fmla="*/ 2147483647 h 72"/>
              <a:gd name="T24" fmla="*/ 2147483647 w 50"/>
              <a:gd name="T25" fmla="*/ 2147483647 h 72"/>
              <a:gd name="T26" fmla="*/ 2147483647 w 50"/>
              <a:gd name="T27" fmla="*/ 2147483647 h 72"/>
              <a:gd name="T28" fmla="*/ 2147483647 w 50"/>
              <a:gd name="T29" fmla="*/ 2147483647 h 72"/>
              <a:gd name="T30" fmla="*/ 2147483647 w 50"/>
              <a:gd name="T31" fmla="*/ 2147483647 h 72"/>
              <a:gd name="T32" fmla="*/ 2147483647 w 50"/>
              <a:gd name="T33" fmla="*/ 2147483647 h 72"/>
              <a:gd name="T34" fmla="*/ 2147483647 w 50"/>
              <a:gd name="T35" fmla="*/ 2147483647 h 72"/>
              <a:gd name="T36" fmla="*/ 2147483647 w 50"/>
              <a:gd name="T37" fmla="*/ 2147483647 h 72"/>
              <a:gd name="T38" fmla="*/ 2147483647 w 50"/>
              <a:gd name="T39" fmla="*/ 2147483647 h 72"/>
              <a:gd name="T40" fmla="*/ 2147483647 w 50"/>
              <a:gd name="T41" fmla="*/ 2147483647 h 72"/>
              <a:gd name="T42" fmla="*/ 2147483647 w 50"/>
              <a:gd name="T43" fmla="*/ 2147483647 h 72"/>
              <a:gd name="T44" fmla="*/ 2147483647 w 50"/>
              <a:gd name="T45" fmla="*/ 2147483647 h 72"/>
              <a:gd name="T46" fmla="*/ 2147483647 w 50"/>
              <a:gd name="T47" fmla="*/ 2147483647 h 72"/>
              <a:gd name="T48" fmla="*/ 0 w 50"/>
              <a:gd name="T49" fmla="*/ 2147483647 h 72"/>
              <a:gd name="T50" fmla="*/ 2147483647 w 50"/>
              <a:gd name="T51" fmla="*/ 2147483647 h 72"/>
              <a:gd name="T52" fmla="*/ 2147483647 w 50"/>
              <a:gd name="T53" fmla="*/ 2147483647 h 72"/>
              <a:gd name="T54" fmla="*/ 2147483647 w 50"/>
              <a:gd name="T55" fmla="*/ 2147483647 h 72"/>
              <a:gd name="T56" fmla="*/ 2147483647 w 50"/>
              <a:gd name="T57" fmla="*/ 2147483647 h 72"/>
              <a:gd name="T58" fmla="*/ 2147483647 w 50"/>
              <a:gd name="T59" fmla="*/ 2147483647 h 72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50"/>
              <a:gd name="T91" fmla="*/ 0 h 72"/>
              <a:gd name="T92" fmla="*/ 50 w 50"/>
              <a:gd name="T93" fmla="*/ 72 h 72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50" h="72">
                <a:moveTo>
                  <a:pt x="2" y="32"/>
                </a:moveTo>
                <a:lnTo>
                  <a:pt x="2" y="28"/>
                </a:lnTo>
                <a:lnTo>
                  <a:pt x="8" y="30"/>
                </a:lnTo>
                <a:lnTo>
                  <a:pt x="12" y="28"/>
                </a:lnTo>
                <a:lnTo>
                  <a:pt x="10" y="22"/>
                </a:lnTo>
                <a:lnTo>
                  <a:pt x="6" y="20"/>
                </a:lnTo>
                <a:lnTo>
                  <a:pt x="10" y="6"/>
                </a:lnTo>
                <a:lnTo>
                  <a:pt x="20" y="2"/>
                </a:lnTo>
                <a:lnTo>
                  <a:pt x="30" y="0"/>
                </a:lnTo>
                <a:lnTo>
                  <a:pt x="38" y="8"/>
                </a:lnTo>
                <a:lnTo>
                  <a:pt x="44" y="18"/>
                </a:lnTo>
                <a:lnTo>
                  <a:pt x="48" y="30"/>
                </a:lnTo>
                <a:lnTo>
                  <a:pt x="50" y="40"/>
                </a:lnTo>
                <a:lnTo>
                  <a:pt x="48" y="54"/>
                </a:lnTo>
                <a:lnTo>
                  <a:pt x="50" y="54"/>
                </a:lnTo>
                <a:lnTo>
                  <a:pt x="50" y="56"/>
                </a:lnTo>
                <a:lnTo>
                  <a:pt x="46" y="58"/>
                </a:lnTo>
                <a:lnTo>
                  <a:pt x="38" y="62"/>
                </a:lnTo>
                <a:lnTo>
                  <a:pt x="34" y="64"/>
                </a:lnTo>
                <a:lnTo>
                  <a:pt x="28" y="60"/>
                </a:lnTo>
                <a:lnTo>
                  <a:pt x="24" y="64"/>
                </a:lnTo>
                <a:lnTo>
                  <a:pt x="16" y="70"/>
                </a:lnTo>
                <a:lnTo>
                  <a:pt x="12" y="68"/>
                </a:lnTo>
                <a:lnTo>
                  <a:pt x="2" y="72"/>
                </a:lnTo>
                <a:lnTo>
                  <a:pt x="0" y="66"/>
                </a:lnTo>
                <a:lnTo>
                  <a:pt x="2" y="58"/>
                </a:lnTo>
                <a:lnTo>
                  <a:pt x="2" y="48"/>
                </a:lnTo>
                <a:lnTo>
                  <a:pt x="6" y="46"/>
                </a:lnTo>
                <a:lnTo>
                  <a:pt x="6" y="38"/>
                </a:lnTo>
                <a:lnTo>
                  <a:pt x="2" y="3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87" name="Freeform 267">
            <a:extLst>
              <a:ext uri="{FF2B5EF4-FFF2-40B4-BE49-F238E27FC236}">
                <a16:creationId xmlns:a16="http://schemas.microsoft.com/office/drawing/2014/main" id="{DD36DBCA-2F9C-4F04-6D3D-53BB61CBAEA7}"/>
              </a:ext>
            </a:extLst>
          </p:cNvPr>
          <p:cNvSpPr>
            <a:spLocks/>
          </p:cNvSpPr>
          <p:nvPr/>
        </p:nvSpPr>
        <p:spPr bwMode="auto">
          <a:xfrm>
            <a:off x="9097434" y="3494618"/>
            <a:ext cx="192617" cy="192617"/>
          </a:xfrm>
          <a:custGeom>
            <a:avLst/>
            <a:gdLst>
              <a:gd name="T0" fmla="*/ 2147483647 w 98"/>
              <a:gd name="T1" fmla="*/ 2147483647 h 96"/>
              <a:gd name="T2" fmla="*/ 2147483647 w 98"/>
              <a:gd name="T3" fmla="*/ 2147483647 h 96"/>
              <a:gd name="T4" fmla="*/ 2147483647 w 98"/>
              <a:gd name="T5" fmla="*/ 2147483647 h 96"/>
              <a:gd name="T6" fmla="*/ 2147483647 w 98"/>
              <a:gd name="T7" fmla="*/ 2147483647 h 96"/>
              <a:gd name="T8" fmla="*/ 2147483647 w 98"/>
              <a:gd name="T9" fmla="*/ 2147483647 h 96"/>
              <a:gd name="T10" fmla="*/ 2147483647 w 98"/>
              <a:gd name="T11" fmla="*/ 2147483647 h 96"/>
              <a:gd name="T12" fmla="*/ 2147483647 w 98"/>
              <a:gd name="T13" fmla="*/ 2147483647 h 96"/>
              <a:gd name="T14" fmla="*/ 0 w 98"/>
              <a:gd name="T15" fmla="*/ 2147483647 h 96"/>
              <a:gd name="T16" fmla="*/ 2147483647 w 98"/>
              <a:gd name="T17" fmla="*/ 2147483647 h 96"/>
              <a:gd name="T18" fmla="*/ 2147483647 w 98"/>
              <a:gd name="T19" fmla="*/ 2147483647 h 96"/>
              <a:gd name="T20" fmla="*/ 2147483647 w 98"/>
              <a:gd name="T21" fmla="*/ 2147483647 h 96"/>
              <a:gd name="T22" fmla="*/ 2147483647 w 98"/>
              <a:gd name="T23" fmla="*/ 2147483647 h 96"/>
              <a:gd name="T24" fmla="*/ 2147483647 w 98"/>
              <a:gd name="T25" fmla="*/ 2147483647 h 96"/>
              <a:gd name="T26" fmla="*/ 2147483647 w 98"/>
              <a:gd name="T27" fmla="*/ 2147483647 h 96"/>
              <a:gd name="T28" fmla="*/ 2147483647 w 98"/>
              <a:gd name="T29" fmla="*/ 2147483647 h 96"/>
              <a:gd name="T30" fmla="*/ 2147483647 w 98"/>
              <a:gd name="T31" fmla="*/ 2147483647 h 96"/>
              <a:gd name="T32" fmla="*/ 2147483647 w 98"/>
              <a:gd name="T33" fmla="*/ 2147483647 h 96"/>
              <a:gd name="T34" fmla="*/ 2147483647 w 98"/>
              <a:gd name="T35" fmla="*/ 2147483647 h 96"/>
              <a:gd name="T36" fmla="*/ 2147483647 w 98"/>
              <a:gd name="T37" fmla="*/ 2147483647 h 96"/>
              <a:gd name="T38" fmla="*/ 2147483647 w 98"/>
              <a:gd name="T39" fmla="*/ 0 h 96"/>
              <a:gd name="T40" fmla="*/ 2147483647 w 98"/>
              <a:gd name="T41" fmla="*/ 2147483647 h 96"/>
              <a:gd name="T42" fmla="*/ 2147483647 w 98"/>
              <a:gd name="T43" fmla="*/ 2147483647 h 96"/>
              <a:gd name="T44" fmla="*/ 2147483647 w 98"/>
              <a:gd name="T45" fmla="*/ 2147483647 h 96"/>
              <a:gd name="T46" fmla="*/ 2147483647 w 98"/>
              <a:gd name="T47" fmla="*/ 2147483647 h 96"/>
              <a:gd name="T48" fmla="*/ 2147483647 w 98"/>
              <a:gd name="T49" fmla="*/ 2147483647 h 96"/>
              <a:gd name="T50" fmla="*/ 2147483647 w 98"/>
              <a:gd name="T51" fmla="*/ 2147483647 h 96"/>
              <a:gd name="T52" fmla="*/ 2147483647 w 98"/>
              <a:gd name="T53" fmla="*/ 2147483647 h 96"/>
              <a:gd name="T54" fmla="*/ 2147483647 w 98"/>
              <a:gd name="T55" fmla="*/ 2147483647 h 96"/>
              <a:gd name="T56" fmla="*/ 2147483647 w 98"/>
              <a:gd name="T57" fmla="*/ 2147483647 h 96"/>
              <a:gd name="T58" fmla="*/ 2147483647 w 98"/>
              <a:gd name="T59" fmla="*/ 2147483647 h 96"/>
              <a:gd name="T60" fmla="*/ 2147483647 w 98"/>
              <a:gd name="T61" fmla="*/ 2147483647 h 96"/>
              <a:gd name="T62" fmla="*/ 2147483647 w 98"/>
              <a:gd name="T63" fmla="*/ 2147483647 h 96"/>
              <a:gd name="T64" fmla="*/ 2147483647 w 98"/>
              <a:gd name="T65" fmla="*/ 2147483647 h 96"/>
              <a:gd name="T66" fmla="*/ 2147483647 w 98"/>
              <a:gd name="T67" fmla="*/ 2147483647 h 96"/>
              <a:gd name="T68" fmla="*/ 2147483647 w 98"/>
              <a:gd name="T69" fmla="*/ 2147483647 h 96"/>
              <a:gd name="T70" fmla="*/ 2147483647 w 98"/>
              <a:gd name="T71" fmla="*/ 2147483647 h 96"/>
              <a:gd name="T72" fmla="*/ 2147483647 w 98"/>
              <a:gd name="T73" fmla="*/ 2147483647 h 9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98"/>
              <a:gd name="T112" fmla="*/ 0 h 96"/>
              <a:gd name="T113" fmla="*/ 98 w 98"/>
              <a:gd name="T114" fmla="*/ 96 h 9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98" h="96">
                <a:moveTo>
                  <a:pt x="24" y="92"/>
                </a:moveTo>
                <a:lnTo>
                  <a:pt x="12" y="94"/>
                </a:lnTo>
                <a:lnTo>
                  <a:pt x="8" y="88"/>
                </a:lnTo>
                <a:lnTo>
                  <a:pt x="12" y="80"/>
                </a:lnTo>
                <a:lnTo>
                  <a:pt x="12" y="70"/>
                </a:lnTo>
                <a:lnTo>
                  <a:pt x="16" y="60"/>
                </a:lnTo>
                <a:lnTo>
                  <a:pt x="6" y="60"/>
                </a:lnTo>
                <a:lnTo>
                  <a:pt x="0" y="56"/>
                </a:lnTo>
                <a:lnTo>
                  <a:pt x="6" y="48"/>
                </a:lnTo>
                <a:lnTo>
                  <a:pt x="22" y="38"/>
                </a:lnTo>
                <a:lnTo>
                  <a:pt x="28" y="32"/>
                </a:lnTo>
                <a:lnTo>
                  <a:pt x="36" y="24"/>
                </a:lnTo>
                <a:lnTo>
                  <a:pt x="40" y="22"/>
                </a:lnTo>
                <a:lnTo>
                  <a:pt x="50" y="26"/>
                </a:lnTo>
                <a:lnTo>
                  <a:pt x="60" y="24"/>
                </a:lnTo>
                <a:lnTo>
                  <a:pt x="62" y="16"/>
                </a:lnTo>
                <a:lnTo>
                  <a:pt x="72" y="16"/>
                </a:lnTo>
                <a:lnTo>
                  <a:pt x="80" y="10"/>
                </a:lnTo>
                <a:lnTo>
                  <a:pt x="82" y="4"/>
                </a:lnTo>
                <a:lnTo>
                  <a:pt x="88" y="0"/>
                </a:lnTo>
                <a:lnTo>
                  <a:pt x="98" y="8"/>
                </a:lnTo>
                <a:lnTo>
                  <a:pt x="92" y="12"/>
                </a:lnTo>
                <a:lnTo>
                  <a:pt x="84" y="18"/>
                </a:lnTo>
                <a:lnTo>
                  <a:pt x="80" y="28"/>
                </a:lnTo>
                <a:lnTo>
                  <a:pt x="78" y="38"/>
                </a:lnTo>
                <a:lnTo>
                  <a:pt x="76" y="42"/>
                </a:lnTo>
                <a:lnTo>
                  <a:pt x="68" y="46"/>
                </a:lnTo>
                <a:lnTo>
                  <a:pt x="52" y="52"/>
                </a:lnTo>
                <a:lnTo>
                  <a:pt x="48" y="58"/>
                </a:lnTo>
                <a:lnTo>
                  <a:pt x="48" y="66"/>
                </a:lnTo>
                <a:lnTo>
                  <a:pt x="52" y="76"/>
                </a:lnTo>
                <a:lnTo>
                  <a:pt x="56" y="80"/>
                </a:lnTo>
                <a:lnTo>
                  <a:pt x="60" y="84"/>
                </a:lnTo>
                <a:lnTo>
                  <a:pt x="50" y="86"/>
                </a:lnTo>
                <a:lnTo>
                  <a:pt x="40" y="90"/>
                </a:lnTo>
                <a:lnTo>
                  <a:pt x="36" y="96"/>
                </a:lnTo>
                <a:lnTo>
                  <a:pt x="24" y="9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88" name="Freeform 268">
            <a:extLst>
              <a:ext uri="{FF2B5EF4-FFF2-40B4-BE49-F238E27FC236}">
                <a16:creationId xmlns:a16="http://schemas.microsoft.com/office/drawing/2014/main" id="{5848C6D0-AD90-9E83-0AE1-772DA9866F20}"/>
              </a:ext>
            </a:extLst>
          </p:cNvPr>
          <p:cNvSpPr>
            <a:spLocks/>
          </p:cNvSpPr>
          <p:nvPr/>
        </p:nvSpPr>
        <p:spPr bwMode="auto">
          <a:xfrm>
            <a:off x="7512051" y="3069168"/>
            <a:ext cx="1905000" cy="1208617"/>
          </a:xfrm>
          <a:custGeom>
            <a:avLst/>
            <a:gdLst>
              <a:gd name="T0" fmla="*/ 2147483647 w 972"/>
              <a:gd name="T1" fmla="*/ 2147483647 h 612"/>
              <a:gd name="T2" fmla="*/ 2147483647 w 972"/>
              <a:gd name="T3" fmla="*/ 2147483647 h 612"/>
              <a:gd name="T4" fmla="*/ 2147483647 w 972"/>
              <a:gd name="T5" fmla="*/ 2147483647 h 612"/>
              <a:gd name="T6" fmla="*/ 2147483647 w 972"/>
              <a:gd name="T7" fmla="*/ 2147483647 h 612"/>
              <a:gd name="T8" fmla="*/ 2147483647 w 972"/>
              <a:gd name="T9" fmla="*/ 2147483647 h 612"/>
              <a:gd name="T10" fmla="*/ 2147483647 w 972"/>
              <a:gd name="T11" fmla="*/ 2147483647 h 612"/>
              <a:gd name="T12" fmla="*/ 2147483647 w 972"/>
              <a:gd name="T13" fmla="*/ 2147483647 h 612"/>
              <a:gd name="T14" fmla="*/ 2147483647 w 972"/>
              <a:gd name="T15" fmla="*/ 2147483647 h 612"/>
              <a:gd name="T16" fmla="*/ 2147483647 w 972"/>
              <a:gd name="T17" fmla="*/ 2147483647 h 612"/>
              <a:gd name="T18" fmla="*/ 2147483647 w 972"/>
              <a:gd name="T19" fmla="*/ 2147483647 h 612"/>
              <a:gd name="T20" fmla="*/ 2147483647 w 972"/>
              <a:gd name="T21" fmla="*/ 2147483647 h 612"/>
              <a:gd name="T22" fmla="*/ 2147483647 w 972"/>
              <a:gd name="T23" fmla="*/ 2147483647 h 612"/>
              <a:gd name="T24" fmla="*/ 2147483647 w 972"/>
              <a:gd name="T25" fmla="*/ 2147483647 h 612"/>
              <a:gd name="T26" fmla="*/ 2147483647 w 972"/>
              <a:gd name="T27" fmla="*/ 0 h 612"/>
              <a:gd name="T28" fmla="*/ 2147483647 w 972"/>
              <a:gd name="T29" fmla="*/ 2147483647 h 612"/>
              <a:gd name="T30" fmla="*/ 2147483647 w 972"/>
              <a:gd name="T31" fmla="*/ 2147483647 h 612"/>
              <a:gd name="T32" fmla="*/ 2147483647 w 972"/>
              <a:gd name="T33" fmla="*/ 2147483647 h 612"/>
              <a:gd name="T34" fmla="*/ 2147483647 w 972"/>
              <a:gd name="T35" fmla="*/ 2147483647 h 612"/>
              <a:gd name="T36" fmla="*/ 2147483647 w 972"/>
              <a:gd name="T37" fmla="*/ 2147483647 h 612"/>
              <a:gd name="T38" fmla="*/ 2147483647 w 972"/>
              <a:gd name="T39" fmla="*/ 2147483647 h 612"/>
              <a:gd name="T40" fmla="*/ 2147483647 w 972"/>
              <a:gd name="T41" fmla="*/ 2147483647 h 612"/>
              <a:gd name="T42" fmla="*/ 2147483647 w 972"/>
              <a:gd name="T43" fmla="*/ 2147483647 h 612"/>
              <a:gd name="T44" fmla="*/ 2147483647 w 972"/>
              <a:gd name="T45" fmla="*/ 2147483647 h 612"/>
              <a:gd name="T46" fmla="*/ 2147483647 w 972"/>
              <a:gd name="T47" fmla="*/ 2147483647 h 612"/>
              <a:gd name="T48" fmla="*/ 2147483647 w 972"/>
              <a:gd name="T49" fmla="*/ 2147483647 h 612"/>
              <a:gd name="T50" fmla="*/ 2147483647 w 972"/>
              <a:gd name="T51" fmla="*/ 2147483647 h 612"/>
              <a:gd name="T52" fmla="*/ 2147483647 w 972"/>
              <a:gd name="T53" fmla="*/ 2147483647 h 612"/>
              <a:gd name="T54" fmla="*/ 2147483647 w 972"/>
              <a:gd name="T55" fmla="*/ 2147483647 h 612"/>
              <a:gd name="T56" fmla="*/ 2147483647 w 972"/>
              <a:gd name="T57" fmla="*/ 2147483647 h 612"/>
              <a:gd name="T58" fmla="*/ 2147483647 w 972"/>
              <a:gd name="T59" fmla="*/ 2147483647 h 612"/>
              <a:gd name="T60" fmla="*/ 2147483647 w 972"/>
              <a:gd name="T61" fmla="*/ 2147483647 h 612"/>
              <a:gd name="T62" fmla="*/ 2147483647 w 972"/>
              <a:gd name="T63" fmla="*/ 2147483647 h 612"/>
              <a:gd name="T64" fmla="*/ 2147483647 w 972"/>
              <a:gd name="T65" fmla="*/ 2147483647 h 612"/>
              <a:gd name="T66" fmla="*/ 2147483647 w 972"/>
              <a:gd name="T67" fmla="*/ 2147483647 h 612"/>
              <a:gd name="T68" fmla="*/ 2147483647 w 972"/>
              <a:gd name="T69" fmla="*/ 2147483647 h 612"/>
              <a:gd name="T70" fmla="*/ 2147483647 w 972"/>
              <a:gd name="T71" fmla="*/ 2147483647 h 612"/>
              <a:gd name="T72" fmla="*/ 2147483647 w 972"/>
              <a:gd name="T73" fmla="*/ 2147483647 h 612"/>
              <a:gd name="T74" fmla="*/ 2147483647 w 972"/>
              <a:gd name="T75" fmla="*/ 2147483647 h 612"/>
              <a:gd name="T76" fmla="*/ 2147483647 w 972"/>
              <a:gd name="T77" fmla="*/ 2147483647 h 612"/>
              <a:gd name="T78" fmla="*/ 2147483647 w 972"/>
              <a:gd name="T79" fmla="*/ 2147483647 h 612"/>
              <a:gd name="T80" fmla="*/ 2147483647 w 972"/>
              <a:gd name="T81" fmla="*/ 2147483647 h 612"/>
              <a:gd name="T82" fmla="*/ 2147483647 w 972"/>
              <a:gd name="T83" fmla="*/ 2147483647 h 612"/>
              <a:gd name="T84" fmla="*/ 2147483647 w 972"/>
              <a:gd name="T85" fmla="*/ 2147483647 h 612"/>
              <a:gd name="T86" fmla="*/ 2147483647 w 972"/>
              <a:gd name="T87" fmla="*/ 2147483647 h 612"/>
              <a:gd name="T88" fmla="*/ 2147483647 w 972"/>
              <a:gd name="T89" fmla="*/ 2147483647 h 612"/>
              <a:gd name="T90" fmla="*/ 2147483647 w 972"/>
              <a:gd name="T91" fmla="*/ 2147483647 h 612"/>
              <a:gd name="T92" fmla="*/ 2147483647 w 972"/>
              <a:gd name="T93" fmla="*/ 2147483647 h 612"/>
              <a:gd name="T94" fmla="*/ 2147483647 w 972"/>
              <a:gd name="T95" fmla="*/ 2147483647 h 612"/>
              <a:gd name="T96" fmla="*/ 2147483647 w 972"/>
              <a:gd name="T97" fmla="*/ 2147483647 h 612"/>
              <a:gd name="T98" fmla="*/ 2147483647 w 972"/>
              <a:gd name="T99" fmla="*/ 2147483647 h 612"/>
              <a:gd name="T100" fmla="*/ 2147483647 w 972"/>
              <a:gd name="T101" fmla="*/ 2147483647 h 61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972"/>
              <a:gd name="T154" fmla="*/ 0 h 612"/>
              <a:gd name="T155" fmla="*/ 972 w 972"/>
              <a:gd name="T156" fmla="*/ 612 h 612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972" h="612">
                <a:moveTo>
                  <a:pt x="108" y="228"/>
                </a:moveTo>
                <a:lnTo>
                  <a:pt x="108" y="218"/>
                </a:lnTo>
                <a:lnTo>
                  <a:pt x="116" y="210"/>
                </a:lnTo>
                <a:lnTo>
                  <a:pt x="110" y="194"/>
                </a:lnTo>
                <a:lnTo>
                  <a:pt x="108" y="176"/>
                </a:lnTo>
                <a:lnTo>
                  <a:pt x="120" y="170"/>
                </a:lnTo>
                <a:lnTo>
                  <a:pt x="138" y="170"/>
                </a:lnTo>
                <a:lnTo>
                  <a:pt x="142" y="156"/>
                </a:lnTo>
                <a:lnTo>
                  <a:pt x="152" y="132"/>
                </a:lnTo>
                <a:lnTo>
                  <a:pt x="170" y="134"/>
                </a:lnTo>
                <a:lnTo>
                  <a:pt x="184" y="134"/>
                </a:lnTo>
                <a:lnTo>
                  <a:pt x="194" y="132"/>
                </a:lnTo>
                <a:lnTo>
                  <a:pt x="194" y="118"/>
                </a:lnTo>
                <a:lnTo>
                  <a:pt x="198" y="104"/>
                </a:lnTo>
                <a:lnTo>
                  <a:pt x="210" y="104"/>
                </a:lnTo>
                <a:lnTo>
                  <a:pt x="212" y="94"/>
                </a:lnTo>
                <a:lnTo>
                  <a:pt x="228" y="94"/>
                </a:lnTo>
                <a:lnTo>
                  <a:pt x="232" y="104"/>
                </a:lnTo>
                <a:lnTo>
                  <a:pt x="242" y="114"/>
                </a:lnTo>
                <a:lnTo>
                  <a:pt x="258" y="116"/>
                </a:lnTo>
                <a:lnTo>
                  <a:pt x="272" y="130"/>
                </a:lnTo>
                <a:lnTo>
                  <a:pt x="280" y="142"/>
                </a:lnTo>
                <a:lnTo>
                  <a:pt x="280" y="150"/>
                </a:lnTo>
                <a:lnTo>
                  <a:pt x="274" y="158"/>
                </a:lnTo>
                <a:lnTo>
                  <a:pt x="278" y="170"/>
                </a:lnTo>
                <a:lnTo>
                  <a:pt x="286" y="174"/>
                </a:lnTo>
                <a:lnTo>
                  <a:pt x="320" y="176"/>
                </a:lnTo>
                <a:lnTo>
                  <a:pt x="330" y="186"/>
                </a:lnTo>
                <a:lnTo>
                  <a:pt x="352" y="198"/>
                </a:lnTo>
                <a:lnTo>
                  <a:pt x="358" y="212"/>
                </a:lnTo>
                <a:lnTo>
                  <a:pt x="364" y="220"/>
                </a:lnTo>
                <a:lnTo>
                  <a:pt x="418" y="222"/>
                </a:lnTo>
                <a:lnTo>
                  <a:pt x="446" y="224"/>
                </a:lnTo>
                <a:lnTo>
                  <a:pt x="470" y="236"/>
                </a:lnTo>
                <a:lnTo>
                  <a:pt x="506" y="240"/>
                </a:lnTo>
                <a:lnTo>
                  <a:pt x="528" y="226"/>
                </a:lnTo>
                <a:lnTo>
                  <a:pt x="572" y="226"/>
                </a:lnTo>
                <a:lnTo>
                  <a:pt x="590" y="216"/>
                </a:lnTo>
                <a:lnTo>
                  <a:pt x="590" y="210"/>
                </a:lnTo>
                <a:lnTo>
                  <a:pt x="608" y="200"/>
                </a:lnTo>
                <a:lnTo>
                  <a:pt x="602" y="188"/>
                </a:lnTo>
                <a:lnTo>
                  <a:pt x="608" y="176"/>
                </a:lnTo>
                <a:lnTo>
                  <a:pt x="622" y="176"/>
                </a:lnTo>
                <a:lnTo>
                  <a:pt x="640" y="178"/>
                </a:lnTo>
                <a:lnTo>
                  <a:pt x="654" y="164"/>
                </a:lnTo>
                <a:lnTo>
                  <a:pt x="670" y="164"/>
                </a:lnTo>
                <a:lnTo>
                  <a:pt x="688" y="150"/>
                </a:lnTo>
                <a:lnTo>
                  <a:pt x="708" y="142"/>
                </a:lnTo>
                <a:lnTo>
                  <a:pt x="720" y="142"/>
                </a:lnTo>
                <a:lnTo>
                  <a:pt x="736" y="144"/>
                </a:lnTo>
                <a:lnTo>
                  <a:pt x="734" y="134"/>
                </a:lnTo>
                <a:lnTo>
                  <a:pt x="714" y="114"/>
                </a:lnTo>
                <a:lnTo>
                  <a:pt x="704" y="112"/>
                </a:lnTo>
                <a:lnTo>
                  <a:pt x="696" y="118"/>
                </a:lnTo>
                <a:lnTo>
                  <a:pt x="668" y="116"/>
                </a:lnTo>
                <a:lnTo>
                  <a:pt x="672" y="102"/>
                </a:lnTo>
                <a:lnTo>
                  <a:pt x="680" y="84"/>
                </a:lnTo>
                <a:lnTo>
                  <a:pt x="686" y="76"/>
                </a:lnTo>
                <a:lnTo>
                  <a:pt x="704" y="86"/>
                </a:lnTo>
                <a:lnTo>
                  <a:pt x="714" y="76"/>
                </a:lnTo>
                <a:lnTo>
                  <a:pt x="726" y="74"/>
                </a:lnTo>
                <a:lnTo>
                  <a:pt x="730" y="58"/>
                </a:lnTo>
                <a:lnTo>
                  <a:pt x="740" y="40"/>
                </a:lnTo>
                <a:lnTo>
                  <a:pt x="750" y="34"/>
                </a:lnTo>
                <a:lnTo>
                  <a:pt x="750" y="20"/>
                </a:lnTo>
                <a:lnTo>
                  <a:pt x="738" y="18"/>
                </a:lnTo>
                <a:lnTo>
                  <a:pt x="740" y="10"/>
                </a:lnTo>
                <a:lnTo>
                  <a:pt x="754" y="4"/>
                </a:lnTo>
                <a:lnTo>
                  <a:pt x="780" y="2"/>
                </a:lnTo>
                <a:lnTo>
                  <a:pt x="798" y="0"/>
                </a:lnTo>
                <a:lnTo>
                  <a:pt x="814" y="6"/>
                </a:lnTo>
                <a:lnTo>
                  <a:pt x="828" y="12"/>
                </a:lnTo>
                <a:lnTo>
                  <a:pt x="840" y="32"/>
                </a:lnTo>
                <a:lnTo>
                  <a:pt x="848" y="52"/>
                </a:lnTo>
                <a:lnTo>
                  <a:pt x="856" y="68"/>
                </a:lnTo>
                <a:lnTo>
                  <a:pt x="862" y="84"/>
                </a:lnTo>
                <a:lnTo>
                  <a:pt x="878" y="84"/>
                </a:lnTo>
                <a:lnTo>
                  <a:pt x="888" y="90"/>
                </a:lnTo>
                <a:lnTo>
                  <a:pt x="902" y="98"/>
                </a:lnTo>
                <a:lnTo>
                  <a:pt x="908" y="100"/>
                </a:lnTo>
                <a:lnTo>
                  <a:pt x="912" y="120"/>
                </a:lnTo>
                <a:lnTo>
                  <a:pt x="934" y="122"/>
                </a:lnTo>
                <a:lnTo>
                  <a:pt x="940" y="114"/>
                </a:lnTo>
                <a:lnTo>
                  <a:pt x="954" y="112"/>
                </a:lnTo>
                <a:lnTo>
                  <a:pt x="970" y="110"/>
                </a:lnTo>
                <a:lnTo>
                  <a:pt x="972" y="124"/>
                </a:lnTo>
                <a:lnTo>
                  <a:pt x="964" y="128"/>
                </a:lnTo>
                <a:lnTo>
                  <a:pt x="958" y="150"/>
                </a:lnTo>
                <a:lnTo>
                  <a:pt x="946" y="172"/>
                </a:lnTo>
                <a:lnTo>
                  <a:pt x="934" y="174"/>
                </a:lnTo>
                <a:lnTo>
                  <a:pt x="928" y="168"/>
                </a:lnTo>
                <a:lnTo>
                  <a:pt x="914" y="178"/>
                </a:lnTo>
                <a:lnTo>
                  <a:pt x="914" y="214"/>
                </a:lnTo>
                <a:lnTo>
                  <a:pt x="906" y="224"/>
                </a:lnTo>
                <a:lnTo>
                  <a:pt x="896" y="216"/>
                </a:lnTo>
                <a:lnTo>
                  <a:pt x="880" y="232"/>
                </a:lnTo>
                <a:lnTo>
                  <a:pt x="870" y="232"/>
                </a:lnTo>
                <a:lnTo>
                  <a:pt x="868" y="240"/>
                </a:lnTo>
                <a:lnTo>
                  <a:pt x="858" y="242"/>
                </a:lnTo>
                <a:lnTo>
                  <a:pt x="848" y="238"/>
                </a:lnTo>
                <a:lnTo>
                  <a:pt x="844" y="240"/>
                </a:lnTo>
                <a:lnTo>
                  <a:pt x="830" y="254"/>
                </a:lnTo>
                <a:lnTo>
                  <a:pt x="818" y="262"/>
                </a:lnTo>
                <a:lnTo>
                  <a:pt x="808" y="272"/>
                </a:lnTo>
                <a:lnTo>
                  <a:pt x="798" y="274"/>
                </a:lnTo>
                <a:lnTo>
                  <a:pt x="788" y="276"/>
                </a:lnTo>
                <a:lnTo>
                  <a:pt x="760" y="294"/>
                </a:lnTo>
                <a:lnTo>
                  <a:pt x="758" y="282"/>
                </a:lnTo>
                <a:lnTo>
                  <a:pt x="762" y="272"/>
                </a:lnTo>
                <a:lnTo>
                  <a:pt x="772" y="266"/>
                </a:lnTo>
                <a:lnTo>
                  <a:pt x="770" y="256"/>
                </a:lnTo>
                <a:lnTo>
                  <a:pt x="762" y="256"/>
                </a:lnTo>
                <a:lnTo>
                  <a:pt x="750" y="258"/>
                </a:lnTo>
                <a:lnTo>
                  <a:pt x="728" y="276"/>
                </a:lnTo>
                <a:lnTo>
                  <a:pt x="724" y="286"/>
                </a:lnTo>
                <a:lnTo>
                  <a:pt x="704" y="286"/>
                </a:lnTo>
                <a:lnTo>
                  <a:pt x="700" y="294"/>
                </a:lnTo>
                <a:lnTo>
                  <a:pt x="706" y="308"/>
                </a:lnTo>
                <a:lnTo>
                  <a:pt x="720" y="310"/>
                </a:lnTo>
                <a:lnTo>
                  <a:pt x="720" y="316"/>
                </a:lnTo>
                <a:lnTo>
                  <a:pt x="722" y="324"/>
                </a:lnTo>
                <a:lnTo>
                  <a:pt x="734" y="322"/>
                </a:lnTo>
                <a:lnTo>
                  <a:pt x="742" y="314"/>
                </a:lnTo>
                <a:lnTo>
                  <a:pt x="750" y="312"/>
                </a:lnTo>
                <a:lnTo>
                  <a:pt x="758" y="316"/>
                </a:lnTo>
                <a:lnTo>
                  <a:pt x="774" y="320"/>
                </a:lnTo>
                <a:lnTo>
                  <a:pt x="778" y="328"/>
                </a:lnTo>
                <a:lnTo>
                  <a:pt x="772" y="330"/>
                </a:lnTo>
                <a:lnTo>
                  <a:pt x="760" y="330"/>
                </a:lnTo>
                <a:lnTo>
                  <a:pt x="752" y="334"/>
                </a:lnTo>
                <a:lnTo>
                  <a:pt x="750" y="340"/>
                </a:lnTo>
                <a:lnTo>
                  <a:pt x="740" y="344"/>
                </a:lnTo>
                <a:lnTo>
                  <a:pt x="730" y="358"/>
                </a:lnTo>
                <a:lnTo>
                  <a:pt x="726" y="368"/>
                </a:lnTo>
                <a:lnTo>
                  <a:pt x="736" y="372"/>
                </a:lnTo>
                <a:lnTo>
                  <a:pt x="742" y="378"/>
                </a:lnTo>
                <a:lnTo>
                  <a:pt x="750" y="398"/>
                </a:lnTo>
                <a:lnTo>
                  <a:pt x="752" y="406"/>
                </a:lnTo>
                <a:lnTo>
                  <a:pt x="768" y="418"/>
                </a:lnTo>
                <a:lnTo>
                  <a:pt x="766" y="422"/>
                </a:lnTo>
                <a:lnTo>
                  <a:pt x="756" y="418"/>
                </a:lnTo>
                <a:lnTo>
                  <a:pt x="752" y="426"/>
                </a:lnTo>
                <a:lnTo>
                  <a:pt x="764" y="430"/>
                </a:lnTo>
                <a:lnTo>
                  <a:pt x="768" y="436"/>
                </a:lnTo>
                <a:lnTo>
                  <a:pt x="760" y="438"/>
                </a:lnTo>
                <a:lnTo>
                  <a:pt x="750" y="440"/>
                </a:lnTo>
                <a:lnTo>
                  <a:pt x="744" y="444"/>
                </a:lnTo>
                <a:lnTo>
                  <a:pt x="742" y="446"/>
                </a:lnTo>
                <a:lnTo>
                  <a:pt x="756" y="448"/>
                </a:lnTo>
                <a:lnTo>
                  <a:pt x="766" y="450"/>
                </a:lnTo>
                <a:lnTo>
                  <a:pt x="766" y="462"/>
                </a:lnTo>
                <a:lnTo>
                  <a:pt x="758" y="480"/>
                </a:lnTo>
                <a:lnTo>
                  <a:pt x="738" y="504"/>
                </a:lnTo>
                <a:lnTo>
                  <a:pt x="724" y="524"/>
                </a:lnTo>
                <a:lnTo>
                  <a:pt x="714" y="542"/>
                </a:lnTo>
                <a:lnTo>
                  <a:pt x="692" y="560"/>
                </a:lnTo>
                <a:lnTo>
                  <a:pt x="678" y="572"/>
                </a:lnTo>
                <a:lnTo>
                  <a:pt x="656" y="576"/>
                </a:lnTo>
                <a:lnTo>
                  <a:pt x="644" y="576"/>
                </a:lnTo>
                <a:lnTo>
                  <a:pt x="638" y="568"/>
                </a:lnTo>
                <a:lnTo>
                  <a:pt x="632" y="570"/>
                </a:lnTo>
                <a:lnTo>
                  <a:pt x="632" y="584"/>
                </a:lnTo>
                <a:lnTo>
                  <a:pt x="618" y="588"/>
                </a:lnTo>
                <a:lnTo>
                  <a:pt x="598" y="594"/>
                </a:lnTo>
                <a:lnTo>
                  <a:pt x="586" y="596"/>
                </a:lnTo>
                <a:lnTo>
                  <a:pt x="582" y="604"/>
                </a:lnTo>
                <a:lnTo>
                  <a:pt x="584" y="612"/>
                </a:lnTo>
                <a:lnTo>
                  <a:pt x="576" y="608"/>
                </a:lnTo>
                <a:lnTo>
                  <a:pt x="576" y="600"/>
                </a:lnTo>
                <a:lnTo>
                  <a:pt x="576" y="594"/>
                </a:lnTo>
                <a:lnTo>
                  <a:pt x="566" y="594"/>
                </a:lnTo>
                <a:lnTo>
                  <a:pt x="556" y="590"/>
                </a:lnTo>
                <a:lnTo>
                  <a:pt x="546" y="594"/>
                </a:lnTo>
                <a:lnTo>
                  <a:pt x="536" y="594"/>
                </a:lnTo>
                <a:lnTo>
                  <a:pt x="528" y="590"/>
                </a:lnTo>
                <a:lnTo>
                  <a:pt x="526" y="574"/>
                </a:lnTo>
                <a:lnTo>
                  <a:pt x="514" y="572"/>
                </a:lnTo>
                <a:lnTo>
                  <a:pt x="508" y="568"/>
                </a:lnTo>
                <a:lnTo>
                  <a:pt x="500" y="568"/>
                </a:lnTo>
                <a:lnTo>
                  <a:pt x="492" y="576"/>
                </a:lnTo>
                <a:lnTo>
                  <a:pt x="458" y="576"/>
                </a:lnTo>
                <a:lnTo>
                  <a:pt x="456" y="580"/>
                </a:lnTo>
                <a:lnTo>
                  <a:pt x="444" y="580"/>
                </a:lnTo>
                <a:lnTo>
                  <a:pt x="444" y="588"/>
                </a:lnTo>
                <a:lnTo>
                  <a:pt x="450" y="590"/>
                </a:lnTo>
                <a:lnTo>
                  <a:pt x="448" y="598"/>
                </a:lnTo>
                <a:lnTo>
                  <a:pt x="440" y="598"/>
                </a:lnTo>
                <a:lnTo>
                  <a:pt x="436" y="594"/>
                </a:lnTo>
                <a:lnTo>
                  <a:pt x="428" y="594"/>
                </a:lnTo>
                <a:lnTo>
                  <a:pt x="420" y="594"/>
                </a:lnTo>
                <a:lnTo>
                  <a:pt x="420" y="588"/>
                </a:lnTo>
                <a:lnTo>
                  <a:pt x="412" y="586"/>
                </a:lnTo>
                <a:lnTo>
                  <a:pt x="412" y="570"/>
                </a:lnTo>
                <a:lnTo>
                  <a:pt x="402" y="566"/>
                </a:lnTo>
                <a:lnTo>
                  <a:pt x="402" y="552"/>
                </a:lnTo>
                <a:lnTo>
                  <a:pt x="382" y="546"/>
                </a:lnTo>
                <a:lnTo>
                  <a:pt x="382" y="542"/>
                </a:lnTo>
                <a:lnTo>
                  <a:pt x="398" y="520"/>
                </a:lnTo>
                <a:lnTo>
                  <a:pt x="400" y="496"/>
                </a:lnTo>
                <a:lnTo>
                  <a:pt x="392" y="490"/>
                </a:lnTo>
                <a:lnTo>
                  <a:pt x="386" y="480"/>
                </a:lnTo>
                <a:lnTo>
                  <a:pt x="378" y="478"/>
                </a:lnTo>
                <a:lnTo>
                  <a:pt x="362" y="476"/>
                </a:lnTo>
                <a:lnTo>
                  <a:pt x="362" y="462"/>
                </a:lnTo>
                <a:lnTo>
                  <a:pt x="352" y="464"/>
                </a:lnTo>
                <a:lnTo>
                  <a:pt x="330" y="464"/>
                </a:lnTo>
                <a:lnTo>
                  <a:pt x="324" y="472"/>
                </a:lnTo>
                <a:lnTo>
                  <a:pt x="312" y="472"/>
                </a:lnTo>
                <a:lnTo>
                  <a:pt x="302" y="486"/>
                </a:lnTo>
                <a:lnTo>
                  <a:pt x="292" y="488"/>
                </a:lnTo>
                <a:lnTo>
                  <a:pt x="278" y="486"/>
                </a:lnTo>
                <a:lnTo>
                  <a:pt x="266" y="482"/>
                </a:lnTo>
                <a:lnTo>
                  <a:pt x="256" y="482"/>
                </a:lnTo>
                <a:lnTo>
                  <a:pt x="250" y="488"/>
                </a:lnTo>
                <a:lnTo>
                  <a:pt x="230" y="488"/>
                </a:lnTo>
                <a:lnTo>
                  <a:pt x="208" y="486"/>
                </a:lnTo>
                <a:lnTo>
                  <a:pt x="192" y="484"/>
                </a:lnTo>
                <a:lnTo>
                  <a:pt x="174" y="472"/>
                </a:lnTo>
                <a:lnTo>
                  <a:pt x="162" y="464"/>
                </a:lnTo>
                <a:lnTo>
                  <a:pt x="146" y="456"/>
                </a:lnTo>
                <a:lnTo>
                  <a:pt x="132" y="442"/>
                </a:lnTo>
                <a:lnTo>
                  <a:pt x="118" y="448"/>
                </a:lnTo>
                <a:lnTo>
                  <a:pt x="106" y="438"/>
                </a:lnTo>
                <a:lnTo>
                  <a:pt x="80" y="426"/>
                </a:lnTo>
                <a:lnTo>
                  <a:pt x="80" y="418"/>
                </a:lnTo>
                <a:lnTo>
                  <a:pt x="84" y="408"/>
                </a:lnTo>
                <a:lnTo>
                  <a:pt x="94" y="406"/>
                </a:lnTo>
                <a:lnTo>
                  <a:pt x="96" y="398"/>
                </a:lnTo>
                <a:lnTo>
                  <a:pt x="84" y="390"/>
                </a:lnTo>
                <a:lnTo>
                  <a:pt x="84" y="380"/>
                </a:lnTo>
                <a:lnTo>
                  <a:pt x="100" y="372"/>
                </a:lnTo>
                <a:lnTo>
                  <a:pt x="108" y="364"/>
                </a:lnTo>
                <a:lnTo>
                  <a:pt x="108" y="356"/>
                </a:lnTo>
                <a:lnTo>
                  <a:pt x="90" y="344"/>
                </a:lnTo>
                <a:lnTo>
                  <a:pt x="70" y="352"/>
                </a:lnTo>
                <a:lnTo>
                  <a:pt x="58" y="350"/>
                </a:lnTo>
                <a:lnTo>
                  <a:pt x="38" y="342"/>
                </a:lnTo>
                <a:lnTo>
                  <a:pt x="38" y="332"/>
                </a:lnTo>
                <a:lnTo>
                  <a:pt x="20" y="326"/>
                </a:lnTo>
                <a:lnTo>
                  <a:pt x="20" y="318"/>
                </a:lnTo>
                <a:lnTo>
                  <a:pt x="20" y="298"/>
                </a:lnTo>
                <a:lnTo>
                  <a:pt x="8" y="300"/>
                </a:lnTo>
                <a:lnTo>
                  <a:pt x="2" y="298"/>
                </a:lnTo>
                <a:lnTo>
                  <a:pt x="0" y="290"/>
                </a:lnTo>
                <a:lnTo>
                  <a:pt x="2" y="284"/>
                </a:lnTo>
                <a:lnTo>
                  <a:pt x="4" y="274"/>
                </a:lnTo>
                <a:lnTo>
                  <a:pt x="16" y="266"/>
                </a:lnTo>
                <a:lnTo>
                  <a:pt x="18" y="260"/>
                </a:lnTo>
                <a:lnTo>
                  <a:pt x="32" y="260"/>
                </a:lnTo>
                <a:lnTo>
                  <a:pt x="32" y="266"/>
                </a:lnTo>
                <a:lnTo>
                  <a:pt x="48" y="262"/>
                </a:lnTo>
                <a:lnTo>
                  <a:pt x="52" y="252"/>
                </a:lnTo>
                <a:lnTo>
                  <a:pt x="72" y="252"/>
                </a:lnTo>
                <a:lnTo>
                  <a:pt x="76" y="244"/>
                </a:lnTo>
                <a:lnTo>
                  <a:pt x="102" y="232"/>
                </a:lnTo>
                <a:lnTo>
                  <a:pt x="108" y="228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89" name="Freeform 269">
            <a:extLst>
              <a:ext uri="{FF2B5EF4-FFF2-40B4-BE49-F238E27FC236}">
                <a16:creationId xmlns:a16="http://schemas.microsoft.com/office/drawing/2014/main" id="{C2616E19-92AD-15DF-9537-23A0491A8A13}"/>
              </a:ext>
            </a:extLst>
          </p:cNvPr>
          <p:cNvSpPr>
            <a:spLocks/>
          </p:cNvSpPr>
          <p:nvPr/>
        </p:nvSpPr>
        <p:spPr bwMode="auto">
          <a:xfrm>
            <a:off x="8324851" y="4210051"/>
            <a:ext cx="241300" cy="270933"/>
          </a:xfrm>
          <a:custGeom>
            <a:avLst/>
            <a:gdLst>
              <a:gd name="T0" fmla="*/ 2147483647 w 124"/>
              <a:gd name="T1" fmla="*/ 2147483647 h 136"/>
              <a:gd name="T2" fmla="*/ 2147483647 w 124"/>
              <a:gd name="T3" fmla="*/ 2147483647 h 136"/>
              <a:gd name="T4" fmla="*/ 2147483647 w 124"/>
              <a:gd name="T5" fmla="*/ 2147483647 h 136"/>
              <a:gd name="T6" fmla="*/ 2147483647 w 124"/>
              <a:gd name="T7" fmla="*/ 2147483647 h 136"/>
              <a:gd name="T8" fmla="*/ 2147483647 w 124"/>
              <a:gd name="T9" fmla="*/ 2147483647 h 136"/>
              <a:gd name="T10" fmla="*/ 2147483647 w 124"/>
              <a:gd name="T11" fmla="*/ 2147483647 h 136"/>
              <a:gd name="T12" fmla="*/ 2147483647 w 124"/>
              <a:gd name="T13" fmla="*/ 0 h 136"/>
              <a:gd name="T14" fmla="*/ 2147483647 w 124"/>
              <a:gd name="T15" fmla="*/ 0 h 136"/>
              <a:gd name="T16" fmla="*/ 2147483647 w 124"/>
              <a:gd name="T17" fmla="*/ 2147483647 h 136"/>
              <a:gd name="T18" fmla="*/ 2147483647 w 124"/>
              <a:gd name="T19" fmla="*/ 2147483647 h 136"/>
              <a:gd name="T20" fmla="*/ 2147483647 w 124"/>
              <a:gd name="T21" fmla="*/ 2147483647 h 136"/>
              <a:gd name="T22" fmla="*/ 2147483647 w 124"/>
              <a:gd name="T23" fmla="*/ 2147483647 h 136"/>
              <a:gd name="T24" fmla="*/ 2147483647 w 124"/>
              <a:gd name="T25" fmla="*/ 2147483647 h 136"/>
              <a:gd name="T26" fmla="*/ 2147483647 w 124"/>
              <a:gd name="T27" fmla="*/ 2147483647 h 136"/>
              <a:gd name="T28" fmla="*/ 2147483647 w 124"/>
              <a:gd name="T29" fmla="*/ 2147483647 h 136"/>
              <a:gd name="T30" fmla="*/ 2147483647 w 124"/>
              <a:gd name="T31" fmla="*/ 2147483647 h 136"/>
              <a:gd name="T32" fmla="*/ 2147483647 w 124"/>
              <a:gd name="T33" fmla="*/ 2147483647 h 136"/>
              <a:gd name="T34" fmla="*/ 2147483647 w 124"/>
              <a:gd name="T35" fmla="*/ 2147483647 h 136"/>
              <a:gd name="T36" fmla="*/ 2147483647 w 124"/>
              <a:gd name="T37" fmla="*/ 2147483647 h 136"/>
              <a:gd name="T38" fmla="*/ 2147483647 w 124"/>
              <a:gd name="T39" fmla="*/ 2147483647 h 136"/>
              <a:gd name="T40" fmla="*/ 2147483647 w 124"/>
              <a:gd name="T41" fmla="*/ 2147483647 h 136"/>
              <a:gd name="T42" fmla="*/ 2147483647 w 124"/>
              <a:gd name="T43" fmla="*/ 2147483647 h 136"/>
              <a:gd name="T44" fmla="*/ 2147483647 w 124"/>
              <a:gd name="T45" fmla="*/ 2147483647 h 136"/>
              <a:gd name="T46" fmla="*/ 2147483647 w 124"/>
              <a:gd name="T47" fmla="*/ 2147483647 h 136"/>
              <a:gd name="T48" fmla="*/ 2147483647 w 124"/>
              <a:gd name="T49" fmla="*/ 2147483647 h 136"/>
              <a:gd name="T50" fmla="*/ 2147483647 w 124"/>
              <a:gd name="T51" fmla="*/ 2147483647 h 136"/>
              <a:gd name="T52" fmla="*/ 2147483647 w 124"/>
              <a:gd name="T53" fmla="*/ 2147483647 h 136"/>
              <a:gd name="T54" fmla="*/ 2147483647 w 124"/>
              <a:gd name="T55" fmla="*/ 2147483647 h 136"/>
              <a:gd name="T56" fmla="*/ 2147483647 w 124"/>
              <a:gd name="T57" fmla="*/ 2147483647 h 136"/>
              <a:gd name="T58" fmla="*/ 2147483647 w 124"/>
              <a:gd name="T59" fmla="*/ 2147483647 h 136"/>
              <a:gd name="T60" fmla="*/ 2147483647 w 124"/>
              <a:gd name="T61" fmla="*/ 2147483647 h 136"/>
              <a:gd name="T62" fmla="*/ 2147483647 w 124"/>
              <a:gd name="T63" fmla="*/ 2147483647 h 136"/>
              <a:gd name="T64" fmla="*/ 2147483647 w 124"/>
              <a:gd name="T65" fmla="*/ 2147483647 h 136"/>
              <a:gd name="T66" fmla="*/ 2147483647 w 124"/>
              <a:gd name="T67" fmla="*/ 2147483647 h 136"/>
              <a:gd name="T68" fmla="*/ 2147483647 w 124"/>
              <a:gd name="T69" fmla="*/ 2147483647 h 136"/>
              <a:gd name="T70" fmla="*/ 2147483647 w 124"/>
              <a:gd name="T71" fmla="*/ 2147483647 h 136"/>
              <a:gd name="T72" fmla="*/ 2147483647 w 124"/>
              <a:gd name="T73" fmla="*/ 2147483647 h 136"/>
              <a:gd name="T74" fmla="*/ 2147483647 w 124"/>
              <a:gd name="T75" fmla="*/ 2147483647 h 136"/>
              <a:gd name="T76" fmla="*/ 2147483647 w 124"/>
              <a:gd name="T77" fmla="*/ 2147483647 h 136"/>
              <a:gd name="T78" fmla="*/ 2147483647 w 124"/>
              <a:gd name="T79" fmla="*/ 2147483647 h 136"/>
              <a:gd name="T80" fmla="*/ 2147483647 w 124"/>
              <a:gd name="T81" fmla="*/ 2147483647 h 136"/>
              <a:gd name="T82" fmla="*/ 0 w 124"/>
              <a:gd name="T83" fmla="*/ 2147483647 h 136"/>
              <a:gd name="T84" fmla="*/ 2147483647 w 124"/>
              <a:gd name="T85" fmla="*/ 2147483647 h 136"/>
              <a:gd name="T86" fmla="*/ 2147483647 w 124"/>
              <a:gd name="T87" fmla="*/ 2147483647 h 1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24"/>
              <a:gd name="T133" fmla="*/ 0 h 136"/>
              <a:gd name="T134" fmla="*/ 124 w 124"/>
              <a:gd name="T135" fmla="*/ 136 h 1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24" h="136">
                <a:moveTo>
                  <a:pt x="12" y="14"/>
                </a:moveTo>
                <a:lnTo>
                  <a:pt x="20" y="14"/>
                </a:lnTo>
                <a:lnTo>
                  <a:pt x="24" y="18"/>
                </a:lnTo>
                <a:lnTo>
                  <a:pt x="32" y="18"/>
                </a:lnTo>
                <a:lnTo>
                  <a:pt x="34" y="10"/>
                </a:lnTo>
                <a:lnTo>
                  <a:pt x="28" y="8"/>
                </a:lnTo>
                <a:lnTo>
                  <a:pt x="28" y="0"/>
                </a:lnTo>
                <a:lnTo>
                  <a:pt x="40" y="0"/>
                </a:lnTo>
                <a:lnTo>
                  <a:pt x="40" y="4"/>
                </a:lnTo>
                <a:lnTo>
                  <a:pt x="50" y="14"/>
                </a:lnTo>
                <a:lnTo>
                  <a:pt x="52" y="24"/>
                </a:lnTo>
                <a:lnTo>
                  <a:pt x="52" y="28"/>
                </a:lnTo>
                <a:lnTo>
                  <a:pt x="74" y="26"/>
                </a:lnTo>
                <a:lnTo>
                  <a:pt x="80" y="36"/>
                </a:lnTo>
                <a:lnTo>
                  <a:pt x="82" y="46"/>
                </a:lnTo>
                <a:lnTo>
                  <a:pt x="68" y="46"/>
                </a:lnTo>
                <a:lnTo>
                  <a:pt x="68" y="56"/>
                </a:lnTo>
                <a:lnTo>
                  <a:pt x="76" y="60"/>
                </a:lnTo>
                <a:lnTo>
                  <a:pt x="100" y="84"/>
                </a:lnTo>
                <a:lnTo>
                  <a:pt x="120" y="106"/>
                </a:lnTo>
                <a:lnTo>
                  <a:pt x="124" y="120"/>
                </a:lnTo>
                <a:lnTo>
                  <a:pt x="122" y="134"/>
                </a:lnTo>
                <a:lnTo>
                  <a:pt x="112" y="134"/>
                </a:lnTo>
                <a:lnTo>
                  <a:pt x="110" y="128"/>
                </a:lnTo>
                <a:lnTo>
                  <a:pt x="104" y="128"/>
                </a:lnTo>
                <a:lnTo>
                  <a:pt x="102" y="136"/>
                </a:lnTo>
                <a:lnTo>
                  <a:pt x="90" y="136"/>
                </a:lnTo>
                <a:lnTo>
                  <a:pt x="90" y="130"/>
                </a:lnTo>
                <a:lnTo>
                  <a:pt x="94" y="118"/>
                </a:lnTo>
                <a:lnTo>
                  <a:pt x="94" y="108"/>
                </a:lnTo>
                <a:lnTo>
                  <a:pt x="84" y="98"/>
                </a:lnTo>
                <a:lnTo>
                  <a:pt x="80" y="82"/>
                </a:lnTo>
                <a:lnTo>
                  <a:pt x="64" y="64"/>
                </a:lnTo>
                <a:lnTo>
                  <a:pt x="52" y="72"/>
                </a:lnTo>
                <a:lnTo>
                  <a:pt x="40" y="68"/>
                </a:lnTo>
                <a:lnTo>
                  <a:pt x="20" y="80"/>
                </a:lnTo>
                <a:lnTo>
                  <a:pt x="20" y="66"/>
                </a:lnTo>
                <a:lnTo>
                  <a:pt x="24" y="62"/>
                </a:lnTo>
                <a:lnTo>
                  <a:pt x="20" y="48"/>
                </a:lnTo>
                <a:lnTo>
                  <a:pt x="12" y="46"/>
                </a:lnTo>
                <a:lnTo>
                  <a:pt x="12" y="38"/>
                </a:lnTo>
                <a:lnTo>
                  <a:pt x="0" y="32"/>
                </a:lnTo>
                <a:lnTo>
                  <a:pt x="14" y="24"/>
                </a:lnTo>
                <a:lnTo>
                  <a:pt x="12" y="14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90" name="Freeform 270">
            <a:extLst>
              <a:ext uri="{FF2B5EF4-FFF2-40B4-BE49-F238E27FC236}">
                <a16:creationId xmlns:a16="http://schemas.microsoft.com/office/drawing/2014/main" id="{FA66F791-2E51-724F-7ACE-2851C4F603AB}"/>
              </a:ext>
            </a:extLst>
          </p:cNvPr>
          <p:cNvSpPr>
            <a:spLocks/>
          </p:cNvSpPr>
          <p:nvPr/>
        </p:nvSpPr>
        <p:spPr bwMode="auto">
          <a:xfrm>
            <a:off x="7956552" y="3139018"/>
            <a:ext cx="994833" cy="402167"/>
          </a:xfrm>
          <a:custGeom>
            <a:avLst/>
            <a:gdLst>
              <a:gd name="T0" fmla="*/ 2147483647 w 508"/>
              <a:gd name="T1" fmla="*/ 2147483647 h 208"/>
              <a:gd name="T2" fmla="*/ 2147483647 w 508"/>
              <a:gd name="T3" fmla="*/ 2147483647 h 208"/>
              <a:gd name="T4" fmla="*/ 2147483647 w 508"/>
              <a:gd name="T5" fmla="*/ 2147483647 h 208"/>
              <a:gd name="T6" fmla="*/ 2147483647 w 508"/>
              <a:gd name="T7" fmla="*/ 2147483647 h 208"/>
              <a:gd name="T8" fmla="*/ 2147483647 w 508"/>
              <a:gd name="T9" fmla="*/ 2147483647 h 208"/>
              <a:gd name="T10" fmla="*/ 2147483647 w 508"/>
              <a:gd name="T11" fmla="*/ 2147483647 h 208"/>
              <a:gd name="T12" fmla="*/ 2147483647 w 508"/>
              <a:gd name="T13" fmla="*/ 2147483647 h 208"/>
              <a:gd name="T14" fmla="*/ 2147483647 w 508"/>
              <a:gd name="T15" fmla="*/ 2147483647 h 208"/>
              <a:gd name="T16" fmla="*/ 2147483647 w 508"/>
              <a:gd name="T17" fmla="*/ 2147483647 h 208"/>
              <a:gd name="T18" fmla="*/ 2147483647 w 508"/>
              <a:gd name="T19" fmla="*/ 2147483647 h 208"/>
              <a:gd name="T20" fmla="*/ 2147483647 w 508"/>
              <a:gd name="T21" fmla="*/ 2147483647 h 208"/>
              <a:gd name="T22" fmla="*/ 2147483647 w 508"/>
              <a:gd name="T23" fmla="*/ 2147483647 h 208"/>
              <a:gd name="T24" fmla="*/ 2147483647 w 508"/>
              <a:gd name="T25" fmla="*/ 2147483647 h 208"/>
              <a:gd name="T26" fmla="*/ 2147483647 w 508"/>
              <a:gd name="T27" fmla="*/ 2147483647 h 208"/>
              <a:gd name="T28" fmla="*/ 2147483647 w 508"/>
              <a:gd name="T29" fmla="*/ 2147483647 h 208"/>
              <a:gd name="T30" fmla="*/ 2147483647 w 508"/>
              <a:gd name="T31" fmla="*/ 2147483647 h 208"/>
              <a:gd name="T32" fmla="*/ 2147483647 w 508"/>
              <a:gd name="T33" fmla="*/ 2147483647 h 208"/>
              <a:gd name="T34" fmla="*/ 2147483647 w 508"/>
              <a:gd name="T35" fmla="*/ 2147483647 h 208"/>
              <a:gd name="T36" fmla="*/ 2147483647 w 508"/>
              <a:gd name="T37" fmla="*/ 2147483647 h 208"/>
              <a:gd name="T38" fmla="*/ 2147483647 w 508"/>
              <a:gd name="T39" fmla="*/ 2147483647 h 208"/>
              <a:gd name="T40" fmla="*/ 2147483647 w 508"/>
              <a:gd name="T41" fmla="*/ 2147483647 h 208"/>
              <a:gd name="T42" fmla="*/ 2147483647 w 508"/>
              <a:gd name="T43" fmla="*/ 2147483647 h 208"/>
              <a:gd name="T44" fmla="*/ 2147483647 w 508"/>
              <a:gd name="T45" fmla="*/ 2147483647 h 208"/>
              <a:gd name="T46" fmla="*/ 2147483647 w 508"/>
              <a:gd name="T47" fmla="*/ 2147483647 h 208"/>
              <a:gd name="T48" fmla="*/ 2147483647 w 508"/>
              <a:gd name="T49" fmla="*/ 2147483647 h 208"/>
              <a:gd name="T50" fmla="*/ 2147483647 w 508"/>
              <a:gd name="T51" fmla="*/ 2147483647 h 208"/>
              <a:gd name="T52" fmla="*/ 2147483647 w 508"/>
              <a:gd name="T53" fmla="*/ 2147483647 h 208"/>
              <a:gd name="T54" fmla="*/ 2147483647 w 508"/>
              <a:gd name="T55" fmla="*/ 2147483647 h 208"/>
              <a:gd name="T56" fmla="*/ 2147483647 w 508"/>
              <a:gd name="T57" fmla="*/ 2147483647 h 208"/>
              <a:gd name="T58" fmla="*/ 2147483647 w 508"/>
              <a:gd name="T59" fmla="*/ 2147483647 h 208"/>
              <a:gd name="T60" fmla="*/ 2147483647 w 508"/>
              <a:gd name="T61" fmla="*/ 2147483647 h 208"/>
              <a:gd name="T62" fmla="*/ 2147483647 w 508"/>
              <a:gd name="T63" fmla="*/ 2147483647 h 208"/>
              <a:gd name="T64" fmla="*/ 2147483647 w 508"/>
              <a:gd name="T65" fmla="*/ 2147483647 h 208"/>
              <a:gd name="T66" fmla="*/ 2147483647 w 508"/>
              <a:gd name="T67" fmla="*/ 2147483647 h 208"/>
              <a:gd name="T68" fmla="*/ 2147483647 w 508"/>
              <a:gd name="T69" fmla="*/ 2147483647 h 208"/>
              <a:gd name="T70" fmla="*/ 2147483647 w 508"/>
              <a:gd name="T71" fmla="*/ 2147483647 h 208"/>
              <a:gd name="T72" fmla="*/ 2147483647 w 508"/>
              <a:gd name="T73" fmla="*/ 2147483647 h 208"/>
              <a:gd name="T74" fmla="*/ 2147483647 w 508"/>
              <a:gd name="T75" fmla="*/ 2147483647 h 20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508"/>
              <a:gd name="T115" fmla="*/ 0 h 208"/>
              <a:gd name="T116" fmla="*/ 508 w 508"/>
              <a:gd name="T117" fmla="*/ 208 h 208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508" h="208">
                <a:moveTo>
                  <a:pt x="0" y="62"/>
                </a:moveTo>
                <a:lnTo>
                  <a:pt x="8" y="54"/>
                </a:lnTo>
                <a:lnTo>
                  <a:pt x="22" y="52"/>
                </a:lnTo>
                <a:lnTo>
                  <a:pt x="30" y="44"/>
                </a:lnTo>
                <a:lnTo>
                  <a:pt x="64" y="26"/>
                </a:lnTo>
                <a:lnTo>
                  <a:pt x="80" y="28"/>
                </a:lnTo>
                <a:lnTo>
                  <a:pt x="102" y="32"/>
                </a:lnTo>
                <a:lnTo>
                  <a:pt x="112" y="44"/>
                </a:lnTo>
                <a:lnTo>
                  <a:pt x="144" y="44"/>
                </a:lnTo>
                <a:lnTo>
                  <a:pt x="152" y="50"/>
                </a:lnTo>
                <a:lnTo>
                  <a:pt x="164" y="40"/>
                </a:lnTo>
                <a:lnTo>
                  <a:pt x="166" y="32"/>
                </a:lnTo>
                <a:lnTo>
                  <a:pt x="154" y="18"/>
                </a:lnTo>
                <a:lnTo>
                  <a:pt x="168" y="4"/>
                </a:lnTo>
                <a:lnTo>
                  <a:pt x="172" y="0"/>
                </a:lnTo>
                <a:lnTo>
                  <a:pt x="186" y="2"/>
                </a:lnTo>
                <a:lnTo>
                  <a:pt x="200" y="6"/>
                </a:lnTo>
                <a:lnTo>
                  <a:pt x="224" y="14"/>
                </a:lnTo>
                <a:lnTo>
                  <a:pt x="226" y="24"/>
                </a:lnTo>
                <a:lnTo>
                  <a:pt x="236" y="36"/>
                </a:lnTo>
                <a:lnTo>
                  <a:pt x="262" y="40"/>
                </a:lnTo>
                <a:lnTo>
                  <a:pt x="276" y="32"/>
                </a:lnTo>
                <a:lnTo>
                  <a:pt x="300" y="36"/>
                </a:lnTo>
                <a:lnTo>
                  <a:pt x="306" y="42"/>
                </a:lnTo>
                <a:lnTo>
                  <a:pt x="316" y="44"/>
                </a:lnTo>
                <a:lnTo>
                  <a:pt x="322" y="52"/>
                </a:lnTo>
                <a:lnTo>
                  <a:pt x="328" y="58"/>
                </a:lnTo>
                <a:lnTo>
                  <a:pt x="350" y="60"/>
                </a:lnTo>
                <a:lnTo>
                  <a:pt x="368" y="58"/>
                </a:lnTo>
                <a:lnTo>
                  <a:pt x="398" y="52"/>
                </a:lnTo>
                <a:lnTo>
                  <a:pt x="408" y="44"/>
                </a:lnTo>
                <a:lnTo>
                  <a:pt x="416" y="38"/>
                </a:lnTo>
                <a:lnTo>
                  <a:pt x="426" y="36"/>
                </a:lnTo>
                <a:lnTo>
                  <a:pt x="434" y="42"/>
                </a:lnTo>
                <a:lnTo>
                  <a:pt x="442" y="42"/>
                </a:lnTo>
                <a:lnTo>
                  <a:pt x="458" y="44"/>
                </a:lnTo>
                <a:lnTo>
                  <a:pt x="452" y="52"/>
                </a:lnTo>
                <a:lnTo>
                  <a:pt x="448" y="60"/>
                </a:lnTo>
                <a:lnTo>
                  <a:pt x="440" y="84"/>
                </a:lnTo>
                <a:lnTo>
                  <a:pt x="468" y="86"/>
                </a:lnTo>
                <a:lnTo>
                  <a:pt x="476" y="80"/>
                </a:lnTo>
                <a:lnTo>
                  <a:pt x="486" y="82"/>
                </a:lnTo>
                <a:lnTo>
                  <a:pt x="506" y="102"/>
                </a:lnTo>
                <a:lnTo>
                  <a:pt x="508" y="112"/>
                </a:lnTo>
                <a:lnTo>
                  <a:pt x="494" y="110"/>
                </a:lnTo>
                <a:lnTo>
                  <a:pt x="480" y="110"/>
                </a:lnTo>
                <a:lnTo>
                  <a:pt x="460" y="118"/>
                </a:lnTo>
                <a:lnTo>
                  <a:pt x="442" y="132"/>
                </a:lnTo>
                <a:lnTo>
                  <a:pt x="426" y="132"/>
                </a:lnTo>
                <a:lnTo>
                  <a:pt x="412" y="146"/>
                </a:lnTo>
                <a:lnTo>
                  <a:pt x="394" y="144"/>
                </a:lnTo>
                <a:lnTo>
                  <a:pt x="380" y="144"/>
                </a:lnTo>
                <a:lnTo>
                  <a:pt x="374" y="156"/>
                </a:lnTo>
                <a:lnTo>
                  <a:pt x="380" y="168"/>
                </a:lnTo>
                <a:lnTo>
                  <a:pt x="362" y="178"/>
                </a:lnTo>
                <a:lnTo>
                  <a:pt x="362" y="184"/>
                </a:lnTo>
                <a:lnTo>
                  <a:pt x="344" y="194"/>
                </a:lnTo>
                <a:lnTo>
                  <a:pt x="300" y="194"/>
                </a:lnTo>
                <a:lnTo>
                  <a:pt x="278" y="208"/>
                </a:lnTo>
                <a:lnTo>
                  <a:pt x="242" y="204"/>
                </a:lnTo>
                <a:lnTo>
                  <a:pt x="218" y="192"/>
                </a:lnTo>
                <a:lnTo>
                  <a:pt x="190" y="190"/>
                </a:lnTo>
                <a:lnTo>
                  <a:pt x="136" y="188"/>
                </a:lnTo>
                <a:lnTo>
                  <a:pt x="130" y="178"/>
                </a:lnTo>
                <a:lnTo>
                  <a:pt x="124" y="166"/>
                </a:lnTo>
                <a:lnTo>
                  <a:pt x="102" y="154"/>
                </a:lnTo>
                <a:lnTo>
                  <a:pt x="92" y="144"/>
                </a:lnTo>
                <a:lnTo>
                  <a:pt x="58" y="142"/>
                </a:lnTo>
                <a:lnTo>
                  <a:pt x="50" y="138"/>
                </a:lnTo>
                <a:lnTo>
                  <a:pt x="46" y="126"/>
                </a:lnTo>
                <a:lnTo>
                  <a:pt x="52" y="118"/>
                </a:lnTo>
                <a:lnTo>
                  <a:pt x="52" y="110"/>
                </a:lnTo>
                <a:lnTo>
                  <a:pt x="44" y="98"/>
                </a:lnTo>
                <a:lnTo>
                  <a:pt x="30" y="84"/>
                </a:lnTo>
                <a:lnTo>
                  <a:pt x="14" y="82"/>
                </a:lnTo>
                <a:lnTo>
                  <a:pt x="4" y="72"/>
                </a:lnTo>
                <a:lnTo>
                  <a:pt x="0" y="62"/>
                </a:lnTo>
                <a:close/>
              </a:path>
            </a:pathLst>
          </a:custGeom>
          <a:solidFill>
            <a:srgbClr val="9EA8C6">
              <a:alpha val="50195"/>
            </a:srgbClr>
          </a:solidFill>
          <a:ln w="7938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91" name="AutoShape 271">
            <a:extLst>
              <a:ext uri="{FF2B5EF4-FFF2-40B4-BE49-F238E27FC236}">
                <a16:creationId xmlns:a16="http://schemas.microsoft.com/office/drawing/2014/main" id="{42181942-F696-4824-A77F-20127A46AF4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878234" y="2150534"/>
            <a:ext cx="220133" cy="205317"/>
          </a:xfrm>
          <a:prstGeom prst="diamond">
            <a:avLst/>
          </a:prstGeom>
          <a:solidFill>
            <a:srgbClr val="003366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60960" tIns="0" rIns="60960" bIns="0" anchor="ctr"/>
          <a:lstStyle/>
          <a:p>
            <a:pPr algn="ctr" defTabSz="1162022" eaLnBrk="0" hangingPunct="0">
              <a:defRPr/>
            </a:pPr>
            <a:endParaRPr lang="en-GB" sz="1333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92" name="Freeform 272">
            <a:extLst>
              <a:ext uri="{FF2B5EF4-FFF2-40B4-BE49-F238E27FC236}">
                <a16:creationId xmlns:a16="http://schemas.microsoft.com/office/drawing/2014/main" id="{577C3192-66E2-A883-D2C4-DF8DD7183A87}"/>
              </a:ext>
            </a:extLst>
          </p:cNvPr>
          <p:cNvSpPr>
            <a:spLocks noChangeAspect="1"/>
          </p:cNvSpPr>
          <p:nvPr/>
        </p:nvSpPr>
        <p:spPr bwMode="auto">
          <a:xfrm>
            <a:off x="1547285" y="3251200"/>
            <a:ext cx="302684" cy="179917"/>
          </a:xfrm>
          <a:custGeom>
            <a:avLst/>
            <a:gdLst>
              <a:gd name="T0" fmla="*/ 2147483647 w 156"/>
              <a:gd name="T1" fmla="*/ 2147483647 h 93"/>
              <a:gd name="T2" fmla="*/ 2147483647 w 156"/>
              <a:gd name="T3" fmla="*/ 2147483647 h 93"/>
              <a:gd name="T4" fmla="*/ 2147483647 w 156"/>
              <a:gd name="T5" fmla="*/ 2147483647 h 93"/>
              <a:gd name="T6" fmla="*/ 2147483647 w 156"/>
              <a:gd name="T7" fmla="*/ 2147483647 h 93"/>
              <a:gd name="T8" fmla="*/ 0 w 156"/>
              <a:gd name="T9" fmla="*/ 2147483647 h 93"/>
              <a:gd name="T10" fmla="*/ 0 w 156"/>
              <a:gd name="T11" fmla="*/ 2147483647 h 93"/>
              <a:gd name="T12" fmla="*/ 2147483647 w 156"/>
              <a:gd name="T13" fmla="*/ 2147483647 h 93"/>
              <a:gd name="T14" fmla="*/ 2147483647 w 156"/>
              <a:gd name="T15" fmla="*/ 2147483647 h 93"/>
              <a:gd name="T16" fmla="*/ 2147483647 w 156"/>
              <a:gd name="T17" fmla="*/ 2147483647 h 93"/>
              <a:gd name="T18" fmla="*/ 2147483647 w 156"/>
              <a:gd name="T19" fmla="*/ 2147483647 h 93"/>
              <a:gd name="T20" fmla="*/ 2147483647 w 156"/>
              <a:gd name="T21" fmla="*/ 2147483647 h 93"/>
              <a:gd name="T22" fmla="*/ 2147483647 w 156"/>
              <a:gd name="T23" fmla="*/ 2147483647 h 93"/>
              <a:gd name="T24" fmla="*/ 2147483647 w 156"/>
              <a:gd name="T25" fmla="*/ 2147483647 h 93"/>
              <a:gd name="T26" fmla="*/ 2147483647 w 156"/>
              <a:gd name="T27" fmla="*/ 2147483647 h 93"/>
              <a:gd name="T28" fmla="*/ 2147483647 w 156"/>
              <a:gd name="T29" fmla="*/ 2147483647 h 93"/>
              <a:gd name="T30" fmla="*/ 2147483647 w 156"/>
              <a:gd name="T31" fmla="*/ 2147483647 h 93"/>
              <a:gd name="T32" fmla="*/ 2147483647 w 156"/>
              <a:gd name="T33" fmla="*/ 2147483647 h 93"/>
              <a:gd name="T34" fmla="*/ 2147483647 w 156"/>
              <a:gd name="T35" fmla="*/ 2147483647 h 93"/>
              <a:gd name="T36" fmla="*/ 2147483647 w 156"/>
              <a:gd name="T37" fmla="*/ 2147483647 h 93"/>
              <a:gd name="T38" fmla="*/ 2147483647 w 156"/>
              <a:gd name="T39" fmla="*/ 2147483647 h 93"/>
              <a:gd name="T40" fmla="*/ 2147483647 w 156"/>
              <a:gd name="T41" fmla="*/ 2147483647 h 93"/>
              <a:gd name="T42" fmla="*/ 2147483647 w 156"/>
              <a:gd name="T43" fmla="*/ 2147483647 h 93"/>
              <a:gd name="T44" fmla="*/ 2147483647 w 156"/>
              <a:gd name="T45" fmla="*/ 2147483647 h 93"/>
              <a:gd name="T46" fmla="*/ 2147483647 w 156"/>
              <a:gd name="T47" fmla="*/ 2147483647 h 93"/>
              <a:gd name="T48" fmla="*/ 2147483647 w 156"/>
              <a:gd name="T49" fmla="*/ 2147483647 h 93"/>
              <a:gd name="T50" fmla="*/ 2147483647 w 156"/>
              <a:gd name="T51" fmla="*/ 2147483647 h 93"/>
              <a:gd name="T52" fmla="*/ 2147483647 w 156"/>
              <a:gd name="T53" fmla="*/ 2147483647 h 93"/>
              <a:gd name="T54" fmla="*/ 2147483647 w 156"/>
              <a:gd name="T55" fmla="*/ 2147483647 h 93"/>
              <a:gd name="T56" fmla="*/ 2147483647 w 156"/>
              <a:gd name="T57" fmla="*/ 2147483647 h 93"/>
              <a:gd name="T58" fmla="*/ 2147483647 w 156"/>
              <a:gd name="T59" fmla="*/ 2147483647 h 93"/>
              <a:gd name="T60" fmla="*/ 2147483647 w 156"/>
              <a:gd name="T61" fmla="*/ 2147483647 h 93"/>
              <a:gd name="T62" fmla="*/ 2147483647 w 156"/>
              <a:gd name="T63" fmla="*/ 2147483647 h 93"/>
              <a:gd name="T64" fmla="*/ 2147483647 w 156"/>
              <a:gd name="T65" fmla="*/ 2147483647 h 93"/>
              <a:gd name="T66" fmla="*/ 2147483647 w 156"/>
              <a:gd name="T67" fmla="*/ 2147483647 h 93"/>
              <a:gd name="T68" fmla="*/ 2147483647 w 156"/>
              <a:gd name="T69" fmla="*/ 2147483647 h 93"/>
              <a:gd name="T70" fmla="*/ 2147483647 w 156"/>
              <a:gd name="T71" fmla="*/ 2147483647 h 93"/>
              <a:gd name="T72" fmla="*/ 2147483647 w 156"/>
              <a:gd name="T73" fmla="*/ 2147483647 h 93"/>
              <a:gd name="T74" fmla="*/ 2147483647 w 156"/>
              <a:gd name="T75" fmla="*/ 2147483647 h 93"/>
              <a:gd name="T76" fmla="*/ 2147483647 w 156"/>
              <a:gd name="T77" fmla="*/ 2147483647 h 93"/>
              <a:gd name="T78" fmla="*/ 2147483647 w 156"/>
              <a:gd name="T79" fmla="*/ 2147483647 h 93"/>
              <a:gd name="T80" fmla="*/ 2147483647 w 156"/>
              <a:gd name="T81" fmla="*/ 2147483647 h 93"/>
              <a:gd name="T82" fmla="*/ 2147483647 w 156"/>
              <a:gd name="T83" fmla="*/ 2147483647 h 93"/>
              <a:gd name="T84" fmla="*/ 2147483647 w 156"/>
              <a:gd name="T85" fmla="*/ 2147483647 h 93"/>
              <a:gd name="T86" fmla="*/ 2147483647 w 156"/>
              <a:gd name="T87" fmla="*/ 2147483647 h 93"/>
              <a:gd name="T88" fmla="*/ 2147483647 w 156"/>
              <a:gd name="T89" fmla="*/ 2147483647 h 93"/>
              <a:gd name="T90" fmla="*/ 2147483647 w 156"/>
              <a:gd name="T91" fmla="*/ 2147483647 h 93"/>
              <a:gd name="T92" fmla="*/ 2147483647 w 156"/>
              <a:gd name="T93" fmla="*/ 2147483647 h 93"/>
              <a:gd name="T94" fmla="*/ 2147483647 w 156"/>
              <a:gd name="T95" fmla="*/ 2147483647 h 93"/>
              <a:gd name="T96" fmla="*/ 2147483647 w 156"/>
              <a:gd name="T97" fmla="*/ 2147483647 h 93"/>
              <a:gd name="T98" fmla="*/ 2147483647 w 156"/>
              <a:gd name="T99" fmla="*/ 2147483647 h 93"/>
              <a:gd name="T100" fmla="*/ 2147483647 w 156"/>
              <a:gd name="T101" fmla="*/ 2147483647 h 93"/>
              <a:gd name="T102" fmla="*/ 2147483647 w 156"/>
              <a:gd name="T103" fmla="*/ 2147483647 h 93"/>
              <a:gd name="T104" fmla="*/ 2147483647 w 156"/>
              <a:gd name="T105" fmla="*/ 2147483647 h 93"/>
              <a:gd name="T106" fmla="*/ 2147483647 w 156"/>
              <a:gd name="T107" fmla="*/ 2147483647 h 93"/>
              <a:gd name="T108" fmla="*/ 2147483647 w 156"/>
              <a:gd name="T109" fmla="*/ 2147483647 h 93"/>
              <a:gd name="T110" fmla="*/ 2147483647 w 156"/>
              <a:gd name="T111" fmla="*/ 2147483647 h 93"/>
              <a:gd name="T112" fmla="*/ 2147483647 w 156"/>
              <a:gd name="T113" fmla="*/ 2147483647 h 93"/>
              <a:gd name="T114" fmla="*/ 2147483647 w 156"/>
              <a:gd name="T115" fmla="*/ 2147483647 h 93"/>
              <a:gd name="T116" fmla="*/ 2147483647 w 156"/>
              <a:gd name="T117" fmla="*/ 2147483647 h 93"/>
              <a:gd name="T118" fmla="*/ 2147483647 w 156"/>
              <a:gd name="T119" fmla="*/ 2147483647 h 93"/>
              <a:gd name="T120" fmla="*/ 2147483647 w 156"/>
              <a:gd name="T121" fmla="*/ 2147483647 h 9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56"/>
              <a:gd name="T184" fmla="*/ 0 h 93"/>
              <a:gd name="T185" fmla="*/ 156 w 156"/>
              <a:gd name="T186" fmla="*/ 93 h 9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56" h="93">
                <a:moveTo>
                  <a:pt x="77" y="83"/>
                </a:moveTo>
                <a:lnTo>
                  <a:pt x="115" y="83"/>
                </a:lnTo>
                <a:lnTo>
                  <a:pt x="156" y="84"/>
                </a:lnTo>
                <a:lnTo>
                  <a:pt x="154" y="6"/>
                </a:lnTo>
                <a:lnTo>
                  <a:pt x="131" y="4"/>
                </a:lnTo>
                <a:lnTo>
                  <a:pt x="63" y="4"/>
                </a:lnTo>
                <a:lnTo>
                  <a:pt x="15" y="2"/>
                </a:lnTo>
                <a:lnTo>
                  <a:pt x="0" y="2"/>
                </a:lnTo>
                <a:lnTo>
                  <a:pt x="1" y="0"/>
                </a:lnTo>
                <a:lnTo>
                  <a:pt x="0" y="19"/>
                </a:lnTo>
                <a:lnTo>
                  <a:pt x="2" y="21"/>
                </a:lnTo>
                <a:lnTo>
                  <a:pt x="3" y="26"/>
                </a:lnTo>
                <a:lnTo>
                  <a:pt x="4" y="27"/>
                </a:lnTo>
                <a:lnTo>
                  <a:pt x="3" y="27"/>
                </a:lnTo>
                <a:lnTo>
                  <a:pt x="4" y="29"/>
                </a:lnTo>
                <a:lnTo>
                  <a:pt x="3" y="29"/>
                </a:lnTo>
                <a:lnTo>
                  <a:pt x="3" y="30"/>
                </a:lnTo>
                <a:lnTo>
                  <a:pt x="6" y="32"/>
                </a:lnTo>
                <a:lnTo>
                  <a:pt x="6" y="34"/>
                </a:lnTo>
                <a:lnTo>
                  <a:pt x="9" y="34"/>
                </a:lnTo>
                <a:lnTo>
                  <a:pt x="11" y="41"/>
                </a:lnTo>
                <a:lnTo>
                  <a:pt x="11" y="44"/>
                </a:lnTo>
                <a:lnTo>
                  <a:pt x="13" y="43"/>
                </a:lnTo>
                <a:lnTo>
                  <a:pt x="13" y="45"/>
                </a:lnTo>
                <a:lnTo>
                  <a:pt x="14" y="45"/>
                </a:lnTo>
                <a:lnTo>
                  <a:pt x="17" y="46"/>
                </a:lnTo>
                <a:lnTo>
                  <a:pt x="20" y="46"/>
                </a:lnTo>
                <a:lnTo>
                  <a:pt x="20" y="48"/>
                </a:lnTo>
                <a:lnTo>
                  <a:pt x="18" y="51"/>
                </a:lnTo>
                <a:lnTo>
                  <a:pt x="18" y="52"/>
                </a:lnTo>
                <a:lnTo>
                  <a:pt x="17" y="54"/>
                </a:lnTo>
                <a:lnTo>
                  <a:pt x="17" y="55"/>
                </a:lnTo>
                <a:lnTo>
                  <a:pt x="18" y="57"/>
                </a:lnTo>
                <a:lnTo>
                  <a:pt x="16" y="58"/>
                </a:lnTo>
                <a:lnTo>
                  <a:pt x="18" y="60"/>
                </a:lnTo>
                <a:lnTo>
                  <a:pt x="16" y="61"/>
                </a:lnTo>
                <a:lnTo>
                  <a:pt x="15" y="61"/>
                </a:lnTo>
                <a:lnTo>
                  <a:pt x="15" y="64"/>
                </a:lnTo>
                <a:lnTo>
                  <a:pt x="16" y="66"/>
                </a:lnTo>
                <a:lnTo>
                  <a:pt x="16" y="68"/>
                </a:lnTo>
                <a:lnTo>
                  <a:pt x="17" y="68"/>
                </a:lnTo>
                <a:lnTo>
                  <a:pt x="17" y="69"/>
                </a:lnTo>
                <a:lnTo>
                  <a:pt x="20" y="69"/>
                </a:lnTo>
                <a:lnTo>
                  <a:pt x="23" y="66"/>
                </a:lnTo>
                <a:lnTo>
                  <a:pt x="25" y="65"/>
                </a:lnTo>
                <a:lnTo>
                  <a:pt x="25" y="68"/>
                </a:lnTo>
                <a:lnTo>
                  <a:pt x="25" y="70"/>
                </a:lnTo>
                <a:lnTo>
                  <a:pt x="25" y="73"/>
                </a:lnTo>
                <a:lnTo>
                  <a:pt x="27" y="76"/>
                </a:lnTo>
                <a:lnTo>
                  <a:pt x="29" y="79"/>
                </a:lnTo>
                <a:lnTo>
                  <a:pt x="29" y="80"/>
                </a:lnTo>
                <a:lnTo>
                  <a:pt x="27" y="80"/>
                </a:lnTo>
                <a:lnTo>
                  <a:pt x="27" y="82"/>
                </a:lnTo>
                <a:lnTo>
                  <a:pt x="29" y="83"/>
                </a:lnTo>
                <a:lnTo>
                  <a:pt x="30" y="83"/>
                </a:lnTo>
                <a:lnTo>
                  <a:pt x="33" y="86"/>
                </a:lnTo>
                <a:lnTo>
                  <a:pt x="33" y="88"/>
                </a:lnTo>
                <a:lnTo>
                  <a:pt x="34" y="91"/>
                </a:lnTo>
                <a:lnTo>
                  <a:pt x="34" y="93"/>
                </a:lnTo>
                <a:lnTo>
                  <a:pt x="36" y="93"/>
                </a:lnTo>
                <a:lnTo>
                  <a:pt x="36" y="91"/>
                </a:lnTo>
                <a:lnTo>
                  <a:pt x="37" y="90"/>
                </a:lnTo>
                <a:lnTo>
                  <a:pt x="39" y="90"/>
                </a:lnTo>
                <a:lnTo>
                  <a:pt x="40" y="91"/>
                </a:lnTo>
                <a:lnTo>
                  <a:pt x="42" y="91"/>
                </a:lnTo>
                <a:lnTo>
                  <a:pt x="43" y="90"/>
                </a:lnTo>
                <a:lnTo>
                  <a:pt x="45" y="89"/>
                </a:lnTo>
                <a:lnTo>
                  <a:pt x="45" y="90"/>
                </a:lnTo>
                <a:lnTo>
                  <a:pt x="47" y="90"/>
                </a:lnTo>
                <a:lnTo>
                  <a:pt x="50" y="89"/>
                </a:lnTo>
                <a:lnTo>
                  <a:pt x="51" y="90"/>
                </a:lnTo>
                <a:lnTo>
                  <a:pt x="53" y="90"/>
                </a:lnTo>
                <a:lnTo>
                  <a:pt x="54" y="89"/>
                </a:lnTo>
                <a:lnTo>
                  <a:pt x="56" y="86"/>
                </a:lnTo>
                <a:lnTo>
                  <a:pt x="57" y="86"/>
                </a:lnTo>
                <a:lnTo>
                  <a:pt x="59" y="89"/>
                </a:lnTo>
                <a:lnTo>
                  <a:pt x="60" y="92"/>
                </a:lnTo>
                <a:lnTo>
                  <a:pt x="61" y="82"/>
                </a:lnTo>
                <a:lnTo>
                  <a:pt x="77" y="83"/>
                </a:lnTo>
                <a:close/>
              </a:path>
            </a:pathLst>
          </a:custGeom>
          <a:solidFill>
            <a:srgbClr val="003366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93" name="Freeform 273">
            <a:extLst>
              <a:ext uri="{FF2B5EF4-FFF2-40B4-BE49-F238E27FC236}">
                <a16:creationId xmlns:a16="http://schemas.microsoft.com/office/drawing/2014/main" id="{9A1FE467-9601-7E08-648C-A5FAC81BEB1F}"/>
              </a:ext>
            </a:extLst>
          </p:cNvPr>
          <p:cNvSpPr>
            <a:spLocks/>
          </p:cNvSpPr>
          <p:nvPr/>
        </p:nvSpPr>
        <p:spPr bwMode="gray">
          <a:xfrm>
            <a:off x="3096684" y="3289301"/>
            <a:ext cx="103717" cy="46567"/>
          </a:xfrm>
          <a:custGeom>
            <a:avLst/>
            <a:gdLst>
              <a:gd name="T0" fmla="*/ 2147483647 w 53"/>
              <a:gd name="T1" fmla="*/ 2147483647 h 24"/>
              <a:gd name="T2" fmla="*/ 0 w 53"/>
              <a:gd name="T3" fmla="*/ 2147483647 h 24"/>
              <a:gd name="T4" fmla="*/ 2147483647 w 53"/>
              <a:gd name="T5" fmla="*/ 0 h 24"/>
              <a:gd name="T6" fmla="*/ 2147483647 w 53"/>
              <a:gd name="T7" fmla="*/ 2147483647 h 24"/>
              <a:gd name="T8" fmla="*/ 0 60000 65536"/>
              <a:gd name="T9" fmla="*/ 0 60000 65536"/>
              <a:gd name="T10" fmla="*/ 0 60000 65536"/>
              <a:gd name="T11" fmla="*/ 0 60000 65536"/>
              <a:gd name="T12" fmla="*/ 0 w 53"/>
              <a:gd name="T13" fmla="*/ 0 h 24"/>
              <a:gd name="T14" fmla="*/ 53 w 53"/>
              <a:gd name="T15" fmla="*/ 24 h 2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3" h="24">
                <a:moveTo>
                  <a:pt x="6" y="24"/>
                </a:moveTo>
                <a:lnTo>
                  <a:pt x="0" y="5"/>
                </a:lnTo>
                <a:lnTo>
                  <a:pt x="18" y="0"/>
                </a:lnTo>
                <a:lnTo>
                  <a:pt x="53" y="3"/>
                </a:lnTo>
              </a:path>
            </a:pathLst>
          </a:custGeom>
          <a:noFill/>
          <a:ln w="3175">
            <a:solidFill>
              <a:schemeClr val="tx1"/>
            </a:solidFill>
            <a:round/>
            <a:headEnd/>
            <a:tailEnd/>
          </a:ln>
        </p:spPr>
        <p:txBody>
          <a:bodyPr lIns="60960" tIns="0" rIns="60960" bIns="0" anchor="ctr"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94" name="Freeform 274">
            <a:extLst>
              <a:ext uri="{FF2B5EF4-FFF2-40B4-BE49-F238E27FC236}">
                <a16:creationId xmlns:a16="http://schemas.microsoft.com/office/drawing/2014/main" id="{5E5EC759-3BD1-B7D1-5E6F-2CF28A6605F8}"/>
              </a:ext>
            </a:extLst>
          </p:cNvPr>
          <p:cNvSpPr>
            <a:spLocks/>
          </p:cNvSpPr>
          <p:nvPr/>
        </p:nvSpPr>
        <p:spPr bwMode="gray">
          <a:xfrm>
            <a:off x="3018366" y="3246967"/>
            <a:ext cx="205317" cy="86784"/>
          </a:xfrm>
          <a:custGeom>
            <a:avLst/>
            <a:gdLst>
              <a:gd name="T0" fmla="*/ 2147483647 w 105"/>
              <a:gd name="T1" fmla="*/ 2147483647 h 45"/>
              <a:gd name="T2" fmla="*/ 2147483647 w 105"/>
              <a:gd name="T3" fmla="*/ 2147483647 h 45"/>
              <a:gd name="T4" fmla="*/ 2147483647 w 105"/>
              <a:gd name="T5" fmla="*/ 2147483647 h 45"/>
              <a:gd name="T6" fmla="*/ 0 w 105"/>
              <a:gd name="T7" fmla="*/ 2147483647 h 45"/>
              <a:gd name="T8" fmla="*/ 2147483647 w 105"/>
              <a:gd name="T9" fmla="*/ 2147483647 h 45"/>
              <a:gd name="T10" fmla="*/ 2147483647 w 105"/>
              <a:gd name="T11" fmla="*/ 0 h 45"/>
              <a:gd name="T12" fmla="*/ 2147483647 w 105"/>
              <a:gd name="T13" fmla="*/ 2147483647 h 45"/>
              <a:gd name="T14" fmla="*/ 2147483647 w 105"/>
              <a:gd name="T15" fmla="*/ 2147483647 h 45"/>
              <a:gd name="T16" fmla="*/ 2147483647 w 105"/>
              <a:gd name="T17" fmla="*/ 2147483647 h 45"/>
              <a:gd name="T18" fmla="*/ 2147483647 w 105"/>
              <a:gd name="T19" fmla="*/ 2147483647 h 45"/>
              <a:gd name="T20" fmla="*/ 2147483647 w 105"/>
              <a:gd name="T21" fmla="*/ 2147483647 h 45"/>
              <a:gd name="T22" fmla="*/ 2147483647 w 105"/>
              <a:gd name="T23" fmla="*/ 2147483647 h 45"/>
              <a:gd name="T24" fmla="*/ 2147483647 w 105"/>
              <a:gd name="T25" fmla="*/ 2147483647 h 4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05"/>
              <a:gd name="T40" fmla="*/ 0 h 45"/>
              <a:gd name="T41" fmla="*/ 105 w 105"/>
              <a:gd name="T42" fmla="*/ 45 h 45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05" h="45">
                <a:moveTo>
                  <a:pt x="43" y="45"/>
                </a:moveTo>
                <a:lnTo>
                  <a:pt x="31" y="39"/>
                </a:lnTo>
                <a:lnTo>
                  <a:pt x="16" y="36"/>
                </a:lnTo>
                <a:lnTo>
                  <a:pt x="0" y="43"/>
                </a:lnTo>
                <a:lnTo>
                  <a:pt x="33" y="19"/>
                </a:lnTo>
                <a:lnTo>
                  <a:pt x="69" y="0"/>
                </a:lnTo>
                <a:lnTo>
                  <a:pt x="97" y="1"/>
                </a:lnTo>
                <a:lnTo>
                  <a:pt x="105" y="12"/>
                </a:lnTo>
                <a:lnTo>
                  <a:pt x="102" y="22"/>
                </a:lnTo>
                <a:lnTo>
                  <a:pt x="75" y="24"/>
                </a:lnTo>
                <a:lnTo>
                  <a:pt x="58" y="22"/>
                </a:lnTo>
                <a:lnTo>
                  <a:pt x="42" y="24"/>
                </a:lnTo>
                <a:lnTo>
                  <a:pt x="43" y="45"/>
                </a:lnTo>
                <a:close/>
              </a:path>
            </a:pathLst>
          </a:custGeom>
          <a:solidFill>
            <a:srgbClr val="003366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60960" tIns="0" rIns="60960" bIns="0" anchor="ctr"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95" name="Freeform 275">
            <a:extLst>
              <a:ext uri="{FF2B5EF4-FFF2-40B4-BE49-F238E27FC236}">
                <a16:creationId xmlns:a16="http://schemas.microsoft.com/office/drawing/2014/main" id="{A883C7F6-D859-40F5-9820-2C3783F835D3}"/>
              </a:ext>
            </a:extLst>
          </p:cNvPr>
          <p:cNvSpPr>
            <a:spLocks/>
          </p:cNvSpPr>
          <p:nvPr/>
        </p:nvSpPr>
        <p:spPr bwMode="gray">
          <a:xfrm>
            <a:off x="10066867" y="2561167"/>
            <a:ext cx="577851" cy="628651"/>
          </a:xfrm>
          <a:custGeom>
            <a:avLst/>
            <a:gdLst>
              <a:gd name="T0" fmla="*/ 2147483647 w 297"/>
              <a:gd name="T1" fmla="*/ 2147483647 h 324"/>
              <a:gd name="T2" fmla="*/ 2147483647 w 297"/>
              <a:gd name="T3" fmla="*/ 2147483647 h 324"/>
              <a:gd name="T4" fmla="*/ 2147483647 w 297"/>
              <a:gd name="T5" fmla="*/ 2147483647 h 324"/>
              <a:gd name="T6" fmla="*/ 2147483647 w 297"/>
              <a:gd name="T7" fmla="*/ 2147483647 h 324"/>
              <a:gd name="T8" fmla="*/ 2147483647 w 297"/>
              <a:gd name="T9" fmla="*/ 0 h 324"/>
              <a:gd name="T10" fmla="*/ 2147483647 w 297"/>
              <a:gd name="T11" fmla="*/ 2147483647 h 324"/>
              <a:gd name="T12" fmla="*/ 2147483647 w 297"/>
              <a:gd name="T13" fmla="*/ 2147483647 h 324"/>
              <a:gd name="T14" fmla="*/ 2147483647 w 297"/>
              <a:gd name="T15" fmla="*/ 2147483647 h 324"/>
              <a:gd name="T16" fmla="*/ 2147483647 w 297"/>
              <a:gd name="T17" fmla="*/ 2147483647 h 324"/>
              <a:gd name="T18" fmla="*/ 2147483647 w 297"/>
              <a:gd name="T19" fmla="*/ 2147483647 h 324"/>
              <a:gd name="T20" fmla="*/ 2147483647 w 297"/>
              <a:gd name="T21" fmla="*/ 2147483647 h 324"/>
              <a:gd name="T22" fmla="*/ 2147483647 w 297"/>
              <a:gd name="T23" fmla="*/ 2147483647 h 324"/>
              <a:gd name="T24" fmla="*/ 2147483647 w 297"/>
              <a:gd name="T25" fmla="*/ 2147483647 h 324"/>
              <a:gd name="T26" fmla="*/ 2147483647 w 297"/>
              <a:gd name="T27" fmla="*/ 2147483647 h 324"/>
              <a:gd name="T28" fmla="*/ 2147483647 w 297"/>
              <a:gd name="T29" fmla="*/ 2147483647 h 324"/>
              <a:gd name="T30" fmla="*/ 2147483647 w 297"/>
              <a:gd name="T31" fmla="*/ 2147483647 h 324"/>
              <a:gd name="T32" fmla="*/ 2147483647 w 297"/>
              <a:gd name="T33" fmla="*/ 2147483647 h 324"/>
              <a:gd name="T34" fmla="*/ 2147483647 w 297"/>
              <a:gd name="T35" fmla="*/ 2147483647 h 324"/>
              <a:gd name="T36" fmla="*/ 2147483647 w 297"/>
              <a:gd name="T37" fmla="*/ 2147483647 h 324"/>
              <a:gd name="T38" fmla="*/ 2147483647 w 297"/>
              <a:gd name="T39" fmla="*/ 2147483647 h 324"/>
              <a:gd name="T40" fmla="*/ 2147483647 w 297"/>
              <a:gd name="T41" fmla="*/ 2147483647 h 324"/>
              <a:gd name="T42" fmla="*/ 2147483647 w 297"/>
              <a:gd name="T43" fmla="*/ 2147483647 h 324"/>
              <a:gd name="T44" fmla="*/ 2147483647 w 297"/>
              <a:gd name="T45" fmla="*/ 2147483647 h 324"/>
              <a:gd name="T46" fmla="*/ 2147483647 w 297"/>
              <a:gd name="T47" fmla="*/ 2147483647 h 324"/>
              <a:gd name="T48" fmla="*/ 2147483647 w 297"/>
              <a:gd name="T49" fmla="*/ 2147483647 h 324"/>
              <a:gd name="T50" fmla="*/ 2147483647 w 297"/>
              <a:gd name="T51" fmla="*/ 2147483647 h 324"/>
              <a:gd name="T52" fmla="*/ 2147483647 w 297"/>
              <a:gd name="T53" fmla="*/ 2147483647 h 324"/>
              <a:gd name="T54" fmla="*/ 2147483647 w 297"/>
              <a:gd name="T55" fmla="*/ 2147483647 h 324"/>
              <a:gd name="T56" fmla="*/ 2147483647 w 297"/>
              <a:gd name="T57" fmla="*/ 2147483647 h 324"/>
              <a:gd name="T58" fmla="*/ 2147483647 w 297"/>
              <a:gd name="T59" fmla="*/ 2147483647 h 324"/>
              <a:gd name="T60" fmla="*/ 0 w 297"/>
              <a:gd name="T61" fmla="*/ 2147483647 h 324"/>
              <a:gd name="T62" fmla="*/ 0 w 297"/>
              <a:gd name="T63" fmla="*/ 2147483647 h 324"/>
              <a:gd name="T64" fmla="*/ 2147483647 w 297"/>
              <a:gd name="T65" fmla="*/ 2147483647 h 324"/>
              <a:gd name="T66" fmla="*/ 2147483647 w 297"/>
              <a:gd name="T67" fmla="*/ 2147483647 h 324"/>
              <a:gd name="T68" fmla="*/ 2147483647 w 297"/>
              <a:gd name="T69" fmla="*/ 2147483647 h 324"/>
              <a:gd name="T70" fmla="*/ 2147483647 w 297"/>
              <a:gd name="T71" fmla="*/ 2147483647 h 324"/>
              <a:gd name="T72" fmla="*/ 2147483647 w 297"/>
              <a:gd name="T73" fmla="*/ 2147483647 h 324"/>
              <a:gd name="T74" fmla="*/ 2147483647 w 297"/>
              <a:gd name="T75" fmla="*/ 2147483647 h 324"/>
              <a:gd name="T76" fmla="*/ 2147483647 w 297"/>
              <a:gd name="T77" fmla="*/ 2147483647 h 324"/>
              <a:gd name="T78" fmla="*/ 2147483647 w 297"/>
              <a:gd name="T79" fmla="*/ 2147483647 h 324"/>
              <a:gd name="T80" fmla="*/ 2147483647 w 297"/>
              <a:gd name="T81" fmla="*/ 2147483647 h 324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97"/>
              <a:gd name="T124" fmla="*/ 0 h 324"/>
              <a:gd name="T125" fmla="*/ 297 w 297"/>
              <a:gd name="T126" fmla="*/ 324 h 324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97" h="324">
                <a:moveTo>
                  <a:pt x="96" y="78"/>
                </a:moveTo>
                <a:lnTo>
                  <a:pt x="105" y="51"/>
                </a:lnTo>
                <a:lnTo>
                  <a:pt x="117" y="18"/>
                </a:lnTo>
                <a:lnTo>
                  <a:pt x="147" y="3"/>
                </a:lnTo>
                <a:lnTo>
                  <a:pt x="183" y="0"/>
                </a:lnTo>
                <a:lnTo>
                  <a:pt x="207" y="27"/>
                </a:lnTo>
                <a:lnTo>
                  <a:pt x="225" y="36"/>
                </a:lnTo>
                <a:lnTo>
                  <a:pt x="270" y="36"/>
                </a:lnTo>
                <a:lnTo>
                  <a:pt x="294" y="48"/>
                </a:lnTo>
                <a:lnTo>
                  <a:pt x="297" y="72"/>
                </a:lnTo>
                <a:lnTo>
                  <a:pt x="252" y="93"/>
                </a:lnTo>
                <a:lnTo>
                  <a:pt x="237" y="114"/>
                </a:lnTo>
                <a:lnTo>
                  <a:pt x="210" y="99"/>
                </a:lnTo>
                <a:lnTo>
                  <a:pt x="186" y="105"/>
                </a:lnTo>
                <a:lnTo>
                  <a:pt x="170" y="119"/>
                </a:lnTo>
                <a:lnTo>
                  <a:pt x="164" y="104"/>
                </a:lnTo>
                <a:lnTo>
                  <a:pt x="150" y="117"/>
                </a:lnTo>
                <a:lnTo>
                  <a:pt x="126" y="120"/>
                </a:lnTo>
                <a:lnTo>
                  <a:pt x="108" y="132"/>
                </a:lnTo>
                <a:lnTo>
                  <a:pt x="99" y="156"/>
                </a:lnTo>
                <a:lnTo>
                  <a:pt x="119" y="168"/>
                </a:lnTo>
                <a:lnTo>
                  <a:pt x="119" y="203"/>
                </a:lnTo>
                <a:lnTo>
                  <a:pt x="102" y="210"/>
                </a:lnTo>
                <a:lnTo>
                  <a:pt x="99" y="234"/>
                </a:lnTo>
                <a:lnTo>
                  <a:pt x="78" y="243"/>
                </a:lnTo>
                <a:lnTo>
                  <a:pt x="72" y="273"/>
                </a:lnTo>
                <a:lnTo>
                  <a:pt x="45" y="276"/>
                </a:lnTo>
                <a:lnTo>
                  <a:pt x="45" y="294"/>
                </a:lnTo>
                <a:lnTo>
                  <a:pt x="15" y="324"/>
                </a:lnTo>
                <a:lnTo>
                  <a:pt x="12" y="294"/>
                </a:lnTo>
                <a:lnTo>
                  <a:pt x="0" y="261"/>
                </a:lnTo>
                <a:lnTo>
                  <a:pt x="0" y="213"/>
                </a:lnTo>
                <a:lnTo>
                  <a:pt x="15" y="189"/>
                </a:lnTo>
                <a:lnTo>
                  <a:pt x="27" y="168"/>
                </a:lnTo>
                <a:lnTo>
                  <a:pt x="54" y="144"/>
                </a:lnTo>
                <a:lnTo>
                  <a:pt x="90" y="123"/>
                </a:lnTo>
                <a:lnTo>
                  <a:pt x="123" y="96"/>
                </a:lnTo>
                <a:lnTo>
                  <a:pt x="141" y="66"/>
                </a:lnTo>
                <a:lnTo>
                  <a:pt x="126" y="45"/>
                </a:lnTo>
                <a:lnTo>
                  <a:pt x="117" y="78"/>
                </a:lnTo>
                <a:lnTo>
                  <a:pt x="96" y="78"/>
                </a:lnTo>
                <a:close/>
              </a:path>
            </a:pathLst>
          </a:custGeom>
          <a:solidFill>
            <a:srgbClr val="003366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60960" tIns="0" rIns="60960" bIns="0" anchor="ctr"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96" name="Freeform 276">
            <a:extLst>
              <a:ext uri="{FF2B5EF4-FFF2-40B4-BE49-F238E27FC236}">
                <a16:creationId xmlns:a16="http://schemas.microsoft.com/office/drawing/2014/main" id="{18879BA7-5D4A-CEA0-3CEA-97019C9E6AF6}"/>
              </a:ext>
            </a:extLst>
          </p:cNvPr>
          <p:cNvSpPr>
            <a:spLocks/>
          </p:cNvSpPr>
          <p:nvPr/>
        </p:nvSpPr>
        <p:spPr bwMode="gray">
          <a:xfrm>
            <a:off x="9275234" y="2675467"/>
            <a:ext cx="626533" cy="694267"/>
          </a:xfrm>
          <a:custGeom>
            <a:avLst/>
            <a:gdLst>
              <a:gd name="T0" fmla="*/ 2147483647 w 323"/>
              <a:gd name="T1" fmla="*/ 2147483647 h 357"/>
              <a:gd name="T2" fmla="*/ 2147483647 w 323"/>
              <a:gd name="T3" fmla="*/ 2147483647 h 357"/>
              <a:gd name="T4" fmla="*/ 2147483647 w 323"/>
              <a:gd name="T5" fmla="*/ 2147483647 h 357"/>
              <a:gd name="T6" fmla="*/ 2147483647 w 323"/>
              <a:gd name="T7" fmla="*/ 2147483647 h 357"/>
              <a:gd name="T8" fmla="*/ 2147483647 w 323"/>
              <a:gd name="T9" fmla="*/ 2147483647 h 357"/>
              <a:gd name="T10" fmla="*/ 2147483647 w 323"/>
              <a:gd name="T11" fmla="*/ 2147483647 h 357"/>
              <a:gd name="T12" fmla="*/ 2147483647 w 323"/>
              <a:gd name="T13" fmla="*/ 2147483647 h 357"/>
              <a:gd name="T14" fmla="*/ 2147483647 w 323"/>
              <a:gd name="T15" fmla="*/ 2147483647 h 357"/>
              <a:gd name="T16" fmla="*/ 2147483647 w 323"/>
              <a:gd name="T17" fmla="*/ 2147483647 h 357"/>
              <a:gd name="T18" fmla="*/ 2147483647 w 323"/>
              <a:gd name="T19" fmla="*/ 2147483647 h 357"/>
              <a:gd name="T20" fmla="*/ 2147483647 w 323"/>
              <a:gd name="T21" fmla="*/ 0 h 357"/>
              <a:gd name="T22" fmla="*/ 2147483647 w 323"/>
              <a:gd name="T23" fmla="*/ 2147483647 h 357"/>
              <a:gd name="T24" fmla="*/ 2147483647 w 323"/>
              <a:gd name="T25" fmla="*/ 2147483647 h 357"/>
              <a:gd name="T26" fmla="*/ 2147483647 w 323"/>
              <a:gd name="T27" fmla="*/ 2147483647 h 357"/>
              <a:gd name="T28" fmla="*/ 2147483647 w 323"/>
              <a:gd name="T29" fmla="*/ 2147483647 h 357"/>
              <a:gd name="T30" fmla="*/ 2147483647 w 323"/>
              <a:gd name="T31" fmla="*/ 2147483647 h 357"/>
              <a:gd name="T32" fmla="*/ 0 w 323"/>
              <a:gd name="T33" fmla="*/ 2147483647 h 357"/>
              <a:gd name="T34" fmla="*/ 2147483647 w 323"/>
              <a:gd name="T35" fmla="*/ 2147483647 h 357"/>
              <a:gd name="T36" fmla="*/ 2147483647 w 323"/>
              <a:gd name="T37" fmla="*/ 2147483647 h 357"/>
              <a:gd name="T38" fmla="*/ 2147483647 w 323"/>
              <a:gd name="T39" fmla="*/ 2147483647 h 357"/>
              <a:gd name="T40" fmla="*/ 2147483647 w 323"/>
              <a:gd name="T41" fmla="*/ 2147483647 h 357"/>
              <a:gd name="T42" fmla="*/ 2147483647 w 323"/>
              <a:gd name="T43" fmla="*/ 2147483647 h 357"/>
              <a:gd name="T44" fmla="*/ 2147483647 w 323"/>
              <a:gd name="T45" fmla="*/ 2147483647 h 357"/>
              <a:gd name="T46" fmla="*/ 2147483647 w 323"/>
              <a:gd name="T47" fmla="*/ 2147483647 h 357"/>
              <a:gd name="T48" fmla="*/ 2147483647 w 323"/>
              <a:gd name="T49" fmla="*/ 2147483647 h 357"/>
              <a:gd name="T50" fmla="*/ 2147483647 w 323"/>
              <a:gd name="T51" fmla="*/ 2147483647 h 357"/>
              <a:gd name="T52" fmla="*/ 2147483647 w 323"/>
              <a:gd name="T53" fmla="*/ 2147483647 h 357"/>
              <a:gd name="T54" fmla="*/ 2147483647 w 323"/>
              <a:gd name="T55" fmla="*/ 2147483647 h 357"/>
              <a:gd name="T56" fmla="*/ 2147483647 w 323"/>
              <a:gd name="T57" fmla="*/ 2147483647 h 357"/>
              <a:gd name="T58" fmla="*/ 2147483647 w 323"/>
              <a:gd name="T59" fmla="*/ 2147483647 h 357"/>
              <a:gd name="T60" fmla="*/ 2147483647 w 323"/>
              <a:gd name="T61" fmla="*/ 2147483647 h 357"/>
              <a:gd name="T62" fmla="*/ 2147483647 w 323"/>
              <a:gd name="T63" fmla="*/ 2147483647 h 357"/>
              <a:gd name="T64" fmla="*/ 2147483647 w 323"/>
              <a:gd name="T65" fmla="*/ 2147483647 h 357"/>
              <a:gd name="T66" fmla="*/ 2147483647 w 323"/>
              <a:gd name="T67" fmla="*/ 2147483647 h 357"/>
              <a:gd name="T68" fmla="*/ 2147483647 w 323"/>
              <a:gd name="T69" fmla="*/ 2147483647 h 357"/>
              <a:gd name="T70" fmla="*/ 2147483647 w 323"/>
              <a:gd name="T71" fmla="*/ 2147483647 h 357"/>
              <a:gd name="T72" fmla="*/ 2147483647 w 323"/>
              <a:gd name="T73" fmla="*/ 2147483647 h 357"/>
              <a:gd name="T74" fmla="*/ 2147483647 w 323"/>
              <a:gd name="T75" fmla="*/ 2147483647 h 357"/>
              <a:gd name="T76" fmla="*/ 2147483647 w 323"/>
              <a:gd name="T77" fmla="*/ 2147483647 h 357"/>
              <a:gd name="T78" fmla="*/ 2147483647 w 323"/>
              <a:gd name="T79" fmla="*/ 2147483647 h 357"/>
              <a:gd name="T80" fmla="*/ 2147483647 w 323"/>
              <a:gd name="T81" fmla="*/ 2147483647 h 357"/>
              <a:gd name="T82" fmla="*/ 2147483647 w 323"/>
              <a:gd name="T83" fmla="*/ 2147483647 h 357"/>
              <a:gd name="T84" fmla="*/ 2147483647 w 323"/>
              <a:gd name="T85" fmla="*/ 2147483647 h 357"/>
              <a:gd name="T86" fmla="*/ 2147483647 w 323"/>
              <a:gd name="T87" fmla="*/ 2147483647 h 357"/>
              <a:gd name="T88" fmla="*/ 2147483647 w 323"/>
              <a:gd name="T89" fmla="*/ 2147483647 h 357"/>
              <a:gd name="T90" fmla="*/ 2147483647 w 323"/>
              <a:gd name="T91" fmla="*/ 2147483647 h 357"/>
              <a:gd name="T92" fmla="*/ 2147483647 w 323"/>
              <a:gd name="T93" fmla="*/ 2147483647 h 357"/>
              <a:gd name="T94" fmla="*/ 2147483647 w 323"/>
              <a:gd name="T95" fmla="*/ 2147483647 h 357"/>
              <a:gd name="T96" fmla="*/ 2147483647 w 323"/>
              <a:gd name="T97" fmla="*/ 2147483647 h 3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23"/>
              <a:gd name="T148" fmla="*/ 0 h 357"/>
              <a:gd name="T149" fmla="*/ 323 w 323"/>
              <a:gd name="T150" fmla="*/ 357 h 357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23" h="357">
                <a:moveTo>
                  <a:pt x="323" y="61"/>
                </a:moveTo>
                <a:lnTo>
                  <a:pt x="285" y="54"/>
                </a:lnTo>
                <a:lnTo>
                  <a:pt x="255" y="57"/>
                </a:lnTo>
                <a:lnTo>
                  <a:pt x="258" y="40"/>
                </a:lnTo>
                <a:lnTo>
                  <a:pt x="255" y="28"/>
                </a:lnTo>
                <a:lnTo>
                  <a:pt x="233" y="18"/>
                </a:lnTo>
                <a:lnTo>
                  <a:pt x="206" y="7"/>
                </a:lnTo>
                <a:lnTo>
                  <a:pt x="173" y="7"/>
                </a:lnTo>
                <a:lnTo>
                  <a:pt x="141" y="6"/>
                </a:lnTo>
                <a:lnTo>
                  <a:pt x="75" y="12"/>
                </a:lnTo>
                <a:lnTo>
                  <a:pt x="54" y="0"/>
                </a:lnTo>
                <a:lnTo>
                  <a:pt x="50" y="24"/>
                </a:lnTo>
                <a:lnTo>
                  <a:pt x="41" y="54"/>
                </a:lnTo>
                <a:lnTo>
                  <a:pt x="29" y="81"/>
                </a:lnTo>
                <a:lnTo>
                  <a:pt x="26" y="108"/>
                </a:lnTo>
                <a:lnTo>
                  <a:pt x="12" y="136"/>
                </a:lnTo>
                <a:lnTo>
                  <a:pt x="0" y="154"/>
                </a:lnTo>
                <a:lnTo>
                  <a:pt x="6" y="180"/>
                </a:lnTo>
                <a:lnTo>
                  <a:pt x="24" y="210"/>
                </a:lnTo>
                <a:lnTo>
                  <a:pt x="44" y="228"/>
                </a:lnTo>
                <a:lnTo>
                  <a:pt x="65" y="262"/>
                </a:lnTo>
                <a:lnTo>
                  <a:pt x="72" y="295"/>
                </a:lnTo>
                <a:lnTo>
                  <a:pt x="83" y="315"/>
                </a:lnTo>
                <a:lnTo>
                  <a:pt x="84" y="339"/>
                </a:lnTo>
                <a:lnTo>
                  <a:pt x="56" y="354"/>
                </a:lnTo>
                <a:lnTo>
                  <a:pt x="74" y="357"/>
                </a:lnTo>
                <a:lnTo>
                  <a:pt x="101" y="349"/>
                </a:lnTo>
                <a:lnTo>
                  <a:pt x="113" y="340"/>
                </a:lnTo>
                <a:lnTo>
                  <a:pt x="123" y="339"/>
                </a:lnTo>
                <a:lnTo>
                  <a:pt x="144" y="313"/>
                </a:lnTo>
                <a:lnTo>
                  <a:pt x="159" y="313"/>
                </a:lnTo>
                <a:lnTo>
                  <a:pt x="165" y="286"/>
                </a:lnTo>
                <a:lnTo>
                  <a:pt x="165" y="262"/>
                </a:lnTo>
                <a:lnTo>
                  <a:pt x="177" y="231"/>
                </a:lnTo>
                <a:lnTo>
                  <a:pt x="174" y="211"/>
                </a:lnTo>
                <a:lnTo>
                  <a:pt x="161" y="195"/>
                </a:lnTo>
                <a:lnTo>
                  <a:pt x="144" y="190"/>
                </a:lnTo>
                <a:lnTo>
                  <a:pt x="129" y="199"/>
                </a:lnTo>
                <a:lnTo>
                  <a:pt x="114" y="186"/>
                </a:lnTo>
                <a:lnTo>
                  <a:pt x="105" y="199"/>
                </a:lnTo>
                <a:lnTo>
                  <a:pt x="104" y="184"/>
                </a:lnTo>
                <a:lnTo>
                  <a:pt x="84" y="184"/>
                </a:lnTo>
                <a:lnTo>
                  <a:pt x="95" y="162"/>
                </a:lnTo>
                <a:lnTo>
                  <a:pt x="120" y="142"/>
                </a:lnTo>
                <a:lnTo>
                  <a:pt x="200" y="73"/>
                </a:lnTo>
                <a:lnTo>
                  <a:pt x="249" y="73"/>
                </a:lnTo>
                <a:lnTo>
                  <a:pt x="276" y="70"/>
                </a:lnTo>
                <a:lnTo>
                  <a:pt x="299" y="70"/>
                </a:lnTo>
                <a:lnTo>
                  <a:pt x="323" y="61"/>
                </a:lnTo>
                <a:close/>
              </a:path>
            </a:pathLst>
          </a:custGeom>
          <a:solidFill>
            <a:srgbClr val="003366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60960" tIns="0" rIns="60960" bIns="0" anchor="ctr"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97" name="Freeform 277">
            <a:extLst>
              <a:ext uri="{FF2B5EF4-FFF2-40B4-BE49-F238E27FC236}">
                <a16:creationId xmlns:a16="http://schemas.microsoft.com/office/drawing/2014/main" id="{679AC64C-2270-13AB-EF7C-F88760B15517}"/>
              </a:ext>
            </a:extLst>
          </p:cNvPr>
          <p:cNvSpPr>
            <a:spLocks/>
          </p:cNvSpPr>
          <p:nvPr/>
        </p:nvSpPr>
        <p:spPr bwMode="gray">
          <a:xfrm>
            <a:off x="6108701" y="2292351"/>
            <a:ext cx="395817" cy="203200"/>
          </a:xfrm>
          <a:custGeom>
            <a:avLst/>
            <a:gdLst>
              <a:gd name="T0" fmla="*/ 2147483647 w 204"/>
              <a:gd name="T1" fmla="*/ 2147483647 h 104"/>
              <a:gd name="T2" fmla="*/ 2147483647 w 204"/>
              <a:gd name="T3" fmla="*/ 2147483647 h 104"/>
              <a:gd name="T4" fmla="*/ 2147483647 w 204"/>
              <a:gd name="T5" fmla="*/ 2147483647 h 104"/>
              <a:gd name="T6" fmla="*/ 2147483647 w 204"/>
              <a:gd name="T7" fmla="*/ 2147483647 h 104"/>
              <a:gd name="T8" fmla="*/ 2147483647 w 204"/>
              <a:gd name="T9" fmla="*/ 2147483647 h 104"/>
              <a:gd name="T10" fmla="*/ 2147483647 w 204"/>
              <a:gd name="T11" fmla="*/ 2147483647 h 104"/>
              <a:gd name="T12" fmla="*/ 2147483647 w 204"/>
              <a:gd name="T13" fmla="*/ 2147483647 h 104"/>
              <a:gd name="T14" fmla="*/ 2147483647 w 204"/>
              <a:gd name="T15" fmla="*/ 2147483647 h 104"/>
              <a:gd name="T16" fmla="*/ 2147483647 w 204"/>
              <a:gd name="T17" fmla="*/ 2147483647 h 104"/>
              <a:gd name="T18" fmla="*/ 2147483647 w 204"/>
              <a:gd name="T19" fmla="*/ 2147483647 h 104"/>
              <a:gd name="T20" fmla="*/ 2147483647 w 204"/>
              <a:gd name="T21" fmla="*/ 2147483647 h 104"/>
              <a:gd name="T22" fmla="*/ 2147483647 w 204"/>
              <a:gd name="T23" fmla="*/ 2147483647 h 104"/>
              <a:gd name="T24" fmla="*/ 2147483647 w 204"/>
              <a:gd name="T25" fmla="*/ 2147483647 h 104"/>
              <a:gd name="T26" fmla="*/ 2147483647 w 204"/>
              <a:gd name="T27" fmla="*/ 2147483647 h 104"/>
              <a:gd name="T28" fmla="*/ 2147483647 w 204"/>
              <a:gd name="T29" fmla="*/ 2147483647 h 104"/>
              <a:gd name="T30" fmla="*/ 2147483647 w 204"/>
              <a:gd name="T31" fmla="*/ 0 h 104"/>
              <a:gd name="T32" fmla="*/ 2147483647 w 204"/>
              <a:gd name="T33" fmla="*/ 0 h 104"/>
              <a:gd name="T34" fmla="*/ 2147483647 w 204"/>
              <a:gd name="T35" fmla="*/ 2147483647 h 104"/>
              <a:gd name="T36" fmla="*/ 2147483647 w 204"/>
              <a:gd name="T37" fmla="*/ 2147483647 h 104"/>
              <a:gd name="T38" fmla="*/ 0 w 204"/>
              <a:gd name="T39" fmla="*/ 2147483647 h 104"/>
              <a:gd name="T40" fmla="*/ 0 w 204"/>
              <a:gd name="T41" fmla="*/ 2147483647 h 104"/>
              <a:gd name="T42" fmla="*/ 2147483647 w 204"/>
              <a:gd name="T43" fmla="*/ 2147483647 h 104"/>
              <a:gd name="T44" fmla="*/ 2147483647 w 204"/>
              <a:gd name="T45" fmla="*/ 2147483647 h 10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204"/>
              <a:gd name="T70" fmla="*/ 0 h 104"/>
              <a:gd name="T71" fmla="*/ 204 w 204"/>
              <a:gd name="T72" fmla="*/ 104 h 10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204" h="104">
                <a:moveTo>
                  <a:pt x="12" y="69"/>
                </a:moveTo>
                <a:lnTo>
                  <a:pt x="37" y="81"/>
                </a:lnTo>
                <a:lnTo>
                  <a:pt x="46" y="104"/>
                </a:lnTo>
                <a:lnTo>
                  <a:pt x="57" y="93"/>
                </a:lnTo>
                <a:lnTo>
                  <a:pt x="57" y="71"/>
                </a:lnTo>
                <a:lnTo>
                  <a:pt x="93" y="87"/>
                </a:lnTo>
                <a:lnTo>
                  <a:pt x="153" y="101"/>
                </a:lnTo>
                <a:lnTo>
                  <a:pt x="180" y="99"/>
                </a:lnTo>
                <a:lnTo>
                  <a:pt x="201" y="87"/>
                </a:lnTo>
                <a:lnTo>
                  <a:pt x="204" y="74"/>
                </a:lnTo>
                <a:lnTo>
                  <a:pt x="199" y="60"/>
                </a:lnTo>
                <a:lnTo>
                  <a:pt x="174" y="48"/>
                </a:lnTo>
                <a:lnTo>
                  <a:pt x="139" y="26"/>
                </a:lnTo>
                <a:lnTo>
                  <a:pt x="114" y="14"/>
                </a:lnTo>
                <a:lnTo>
                  <a:pt x="78" y="15"/>
                </a:lnTo>
                <a:lnTo>
                  <a:pt x="60" y="0"/>
                </a:lnTo>
                <a:lnTo>
                  <a:pt x="37" y="0"/>
                </a:lnTo>
                <a:lnTo>
                  <a:pt x="22" y="5"/>
                </a:lnTo>
                <a:lnTo>
                  <a:pt x="13" y="11"/>
                </a:lnTo>
                <a:lnTo>
                  <a:pt x="0" y="20"/>
                </a:lnTo>
                <a:lnTo>
                  <a:pt x="0" y="42"/>
                </a:lnTo>
                <a:lnTo>
                  <a:pt x="21" y="54"/>
                </a:lnTo>
                <a:lnTo>
                  <a:pt x="12" y="69"/>
                </a:lnTo>
                <a:close/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60960" tIns="0" rIns="60960" bIns="0" anchor="ctr"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98" name="Freeform 278">
            <a:extLst>
              <a:ext uri="{FF2B5EF4-FFF2-40B4-BE49-F238E27FC236}">
                <a16:creationId xmlns:a16="http://schemas.microsoft.com/office/drawing/2014/main" id="{2E27F27D-DDAF-E789-2D6C-4BB4FE2A77F7}"/>
              </a:ext>
            </a:extLst>
          </p:cNvPr>
          <p:cNvSpPr>
            <a:spLocks/>
          </p:cNvSpPr>
          <p:nvPr/>
        </p:nvSpPr>
        <p:spPr bwMode="gray">
          <a:xfrm>
            <a:off x="6750051" y="2823634"/>
            <a:ext cx="285751" cy="256117"/>
          </a:xfrm>
          <a:custGeom>
            <a:avLst/>
            <a:gdLst>
              <a:gd name="T0" fmla="*/ 2147483647 w 148"/>
              <a:gd name="T1" fmla="*/ 0 h 132"/>
              <a:gd name="T2" fmla="*/ 2147483647 w 148"/>
              <a:gd name="T3" fmla="*/ 2147483647 h 132"/>
              <a:gd name="T4" fmla="*/ 2147483647 w 148"/>
              <a:gd name="T5" fmla="*/ 2147483647 h 132"/>
              <a:gd name="T6" fmla="*/ 2147483647 w 148"/>
              <a:gd name="T7" fmla="*/ 2147483647 h 132"/>
              <a:gd name="T8" fmla="*/ 2147483647 w 148"/>
              <a:gd name="T9" fmla="*/ 2147483647 h 132"/>
              <a:gd name="T10" fmla="*/ 2147483647 w 148"/>
              <a:gd name="T11" fmla="*/ 2147483647 h 132"/>
              <a:gd name="T12" fmla="*/ 2147483647 w 148"/>
              <a:gd name="T13" fmla="*/ 2147483647 h 132"/>
              <a:gd name="T14" fmla="*/ 2147483647 w 148"/>
              <a:gd name="T15" fmla="*/ 2147483647 h 132"/>
              <a:gd name="T16" fmla="*/ 2147483647 w 148"/>
              <a:gd name="T17" fmla="*/ 2147483647 h 132"/>
              <a:gd name="T18" fmla="*/ 0 w 148"/>
              <a:gd name="T19" fmla="*/ 2147483647 h 132"/>
              <a:gd name="T20" fmla="*/ 2147483647 w 148"/>
              <a:gd name="T21" fmla="*/ 2147483647 h 132"/>
              <a:gd name="T22" fmla="*/ 2147483647 w 148"/>
              <a:gd name="T23" fmla="*/ 2147483647 h 132"/>
              <a:gd name="T24" fmla="*/ 2147483647 w 148"/>
              <a:gd name="T25" fmla="*/ 2147483647 h 132"/>
              <a:gd name="T26" fmla="*/ 2147483647 w 148"/>
              <a:gd name="T27" fmla="*/ 2147483647 h 132"/>
              <a:gd name="T28" fmla="*/ 2147483647 w 148"/>
              <a:gd name="T29" fmla="*/ 2147483647 h 132"/>
              <a:gd name="T30" fmla="*/ 2147483647 w 148"/>
              <a:gd name="T31" fmla="*/ 0 h 132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48"/>
              <a:gd name="T49" fmla="*/ 0 h 132"/>
              <a:gd name="T50" fmla="*/ 148 w 148"/>
              <a:gd name="T51" fmla="*/ 132 h 132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48" h="132">
                <a:moveTo>
                  <a:pt x="68" y="0"/>
                </a:moveTo>
                <a:lnTo>
                  <a:pt x="96" y="29"/>
                </a:lnTo>
                <a:lnTo>
                  <a:pt x="112" y="62"/>
                </a:lnTo>
                <a:lnTo>
                  <a:pt x="144" y="83"/>
                </a:lnTo>
                <a:lnTo>
                  <a:pt x="148" y="105"/>
                </a:lnTo>
                <a:lnTo>
                  <a:pt x="136" y="119"/>
                </a:lnTo>
                <a:lnTo>
                  <a:pt x="112" y="126"/>
                </a:lnTo>
                <a:lnTo>
                  <a:pt x="80" y="132"/>
                </a:lnTo>
                <a:lnTo>
                  <a:pt x="44" y="132"/>
                </a:lnTo>
                <a:lnTo>
                  <a:pt x="0" y="108"/>
                </a:lnTo>
                <a:lnTo>
                  <a:pt x="22" y="87"/>
                </a:lnTo>
                <a:lnTo>
                  <a:pt x="25" y="65"/>
                </a:lnTo>
                <a:lnTo>
                  <a:pt x="37" y="60"/>
                </a:lnTo>
                <a:lnTo>
                  <a:pt x="58" y="53"/>
                </a:lnTo>
                <a:lnTo>
                  <a:pt x="60" y="28"/>
                </a:lnTo>
                <a:lnTo>
                  <a:pt x="68" y="0"/>
                </a:lnTo>
                <a:close/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60960" tIns="0" rIns="60960" bIns="0" anchor="ctr"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99" name="Freeform 279">
            <a:extLst>
              <a:ext uri="{FF2B5EF4-FFF2-40B4-BE49-F238E27FC236}">
                <a16:creationId xmlns:a16="http://schemas.microsoft.com/office/drawing/2014/main" id="{FFA1A88F-DD60-673A-0789-EEC577F96AE5}"/>
              </a:ext>
            </a:extLst>
          </p:cNvPr>
          <p:cNvSpPr>
            <a:spLocks/>
          </p:cNvSpPr>
          <p:nvPr/>
        </p:nvSpPr>
        <p:spPr bwMode="auto">
          <a:xfrm>
            <a:off x="5924551" y="5623985"/>
            <a:ext cx="292100" cy="209551"/>
          </a:xfrm>
          <a:custGeom>
            <a:avLst/>
            <a:gdLst>
              <a:gd name="T0" fmla="*/ 0 w 637"/>
              <a:gd name="T1" fmla="*/ 0 h 454"/>
              <a:gd name="T2" fmla="*/ 0 w 637"/>
              <a:gd name="T3" fmla="*/ 0 h 454"/>
              <a:gd name="T4" fmla="*/ 0 w 637"/>
              <a:gd name="T5" fmla="*/ 0 h 454"/>
              <a:gd name="T6" fmla="*/ 0 w 637"/>
              <a:gd name="T7" fmla="*/ 0 h 454"/>
              <a:gd name="T8" fmla="*/ 0 w 637"/>
              <a:gd name="T9" fmla="*/ 0 h 454"/>
              <a:gd name="T10" fmla="*/ 0 w 637"/>
              <a:gd name="T11" fmla="*/ 0 h 454"/>
              <a:gd name="T12" fmla="*/ 0 w 637"/>
              <a:gd name="T13" fmla="*/ 0 h 454"/>
              <a:gd name="T14" fmla="*/ 0 w 637"/>
              <a:gd name="T15" fmla="*/ 0 h 454"/>
              <a:gd name="T16" fmla="*/ 0 w 637"/>
              <a:gd name="T17" fmla="*/ 0 h 454"/>
              <a:gd name="T18" fmla="*/ 0 w 637"/>
              <a:gd name="T19" fmla="*/ 0 h 454"/>
              <a:gd name="T20" fmla="*/ 0 w 637"/>
              <a:gd name="T21" fmla="*/ 0 h 454"/>
              <a:gd name="T22" fmla="*/ 0 w 637"/>
              <a:gd name="T23" fmla="*/ 0 h 454"/>
              <a:gd name="T24" fmla="*/ 0 w 637"/>
              <a:gd name="T25" fmla="*/ 0 h 454"/>
              <a:gd name="T26" fmla="*/ 0 w 637"/>
              <a:gd name="T27" fmla="*/ 0 h 454"/>
              <a:gd name="T28" fmla="*/ 0 w 637"/>
              <a:gd name="T29" fmla="*/ 0 h 454"/>
              <a:gd name="T30" fmla="*/ 0 w 637"/>
              <a:gd name="T31" fmla="*/ 0 h 454"/>
              <a:gd name="T32" fmla="*/ 0 w 637"/>
              <a:gd name="T33" fmla="*/ 0 h 454"/>
              <a:gd name="T34" fmla="*/ 0 w 637"/>
              <a:gd name="T35" fmla="*/ 0 h 454"/>
              <a:gd name="T36" fmla="*/ 0 w 637"/>
              <a:gd name="T37" fmla="*/ 0 h 454"/>
              <a:gd name="T38" fmla="*/ 0 w 637"/>
              <a:gd name="T39" fmla="*/ 0 h 454"/>
              <a:gd name="T40" fmla="*/ 0 w 637"/>
              <a:gd name="T41" fmla="*/ 0 h 454"/>
              <a:gd name="T42" fmla="*/ 0 w 637"/>
              <a:gd name="T43" fmla="*/ 0 h 454"/>
              <a:gd name="T44" fmla="*/ 0 w 637"/>
              <a:gd name="T45" fmla="*/ 0 h 454"/>
              <a:gd name="T46" fmla="*/ 0 w 637"/>
              <a:gd name="T47" fmla="*/ 0 h 454"/>
              <a:gd name="T48" fmla="*/ 0 w 637"/>
              <a:gd name="T49" fmla="*/ 0 h 454"/>
              <a:gd name="T50" fmla="*/ 0 w 637"/>
              <a:gd name="T51" fmla="*/ 0 h 454"/>
              <a:gd name="T52" fmla="*/ 0 w 637"/>
              <a:gd name="T53" fmla="*/ 0 h 454"/>
              <a:gd name="T54" fmla="*/ 0 w 637"/>
              <a:gd name="T55" fmla="*/ 0 h 454"/>
              <a:gd name="T56" fmla="*/ 0 w 637"/>
              <a:gd name="T57" fmla="*/ 0 h 45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637"/>
              <a:gd name="T88" fmla="*/ 0 h 454"/>
              <a:gd name="T89" fmla="*/ 637 w 637"/>
              <a:gd name="T90" fmla="*/ 454 h 454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637" h="454">
                <a:moveTo>
                  <a:pt x="0" y="280"/>
                </a:moveTo>
                <a:lnTo>
                  <a:pt x="17" y="229"/>
                </a:lnTo>
                <a:lnTo>
                  <a:pt x="60" y="229"/>
                </a:lnTo>
                <a:lnTo>
                  <a:pt x="103" y="263"/>
                </a:lnTo>
                <a:lnTo>
                  <a:pt x="189" y="255"/>
                </a:lnTo>
                <a:lnTo>
                  <a:pt x="224" y="195"/>
                </a:lnTo>
                <a:lnTo>
                  <a:pt x="387" y="25"/>
                </a:lnTo>
                <a:lnTo>
                  <a:pt x="430" y="25"/>
                </a:lnTo>
                <a:lnTo>
                  <a:pt x="439" y="0"/>
                </a:lnTo>
                <a:lnTo>
                  <a:pt x="568" y="8"/>
                </a:lnTo>
                <a:lnTo>
                  <a:pt x="603" y="34"/>
                </a:lnTo>
                <a:lnTo>
                  <a:pt x="637" y="136"/>
                </a:lnTo>
                <a:lnTo>
                  <a:pt x="637" y="289"/>
                </a:lnTo>
                <a:lnTo>
                  <a:pt x="577" y="318"/>
                </a:lnTo>
                <a:lnTo>
                  <a:pt x="557" y="350"/>
                </a:lnTo>
                <a:lnTo>
                  <a:pt x="577" y="378"/>
                </a:lnTo>
                <a:lnTo>
                  <a:pt x="613" y="410"/>
                </a:lnTo>
                <a:lnTo>
                  <a:pt x="521" y="402"/>
                </a:lnTo>
                <a:lnTo>
                  <a:pt x="481" y="422"/>
                </a:lnTo>
                <a:lnTo>
                  <a:pt x="433" y="394"/>
                </a:lnTo>
                <a:lnTo>
                  <a:pt x="365" y="358"/>
                </a:lnTo>
                <a:lnTo>
                  <a:pt x="285" y="382"/>
                </a:lnTo>
                <a:lnTo>
                  <a:pt x="233" y="430"/>
                </a:lnTo>
                <a:lnTo>
                  <a:pt x="169" y="454"/>
                </a:lnTo>
                <a:lnTo>
                  <a:pt x="121" y="446"/>
                </a:lnTo>
                <a:lnTo>
                  <a:pt x="85" y="422"/>
                </a:lnTo>
                <a:lnTo>
                  <a:pt x="21" y="370"/>
                </a:lnTo>
                <a:lnTo>
                  <a:pt x="1" y="350"/>
                </a:lnTo>
                <a:lnTo>
                  <a:pt x="0" y="280"/>
                </a:lnTo>
                <a:close/>
              </a:path>
            </a:pathLst>
          </a:custGeom>
          <a:solidFill>
            <a:srgbClr val="003366"/>
          </a:solidFill>
          <a:ln w="8001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defTabSz="609585">
              <a:defRPr/>
            </a:pPr>
            <a:endParaRPr lang="en-ZA" sz="24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00" name="Rectangle 283">
            <a:extLst>
              <a:ext uri="{FF2B5EF4-FFF2-40B4-BE49-F238E27FC236}">
                <a16:creationId xmlns:a16="http://schemas.microsoft.com/office/drawing/2014/main" id="{BCF4C0E6-1D93-1D68-FCD1-093E7D33F20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2276" y="6422417"/>
            <a:ext cx="12130617" cy="364067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1162022" eaLnBrk="0" hangingPunct="0">
              <a:defRPr/>
            </a:pPr>
            <a:r>
              <a:rPr lang="en-US" sz="1067" dirty="0">
                <a:solidFill>
                  <a:srgbClr val="000000"/>
                </a:solidFill>
                <a:latin typeface="Arial" charset="0"/>
                <a:cs typeface="Arial" charset="0"/>
              </a:rPr>
              <a:t>Source: SFA, 2022</a:t>
            </a:r>
          </a:p>
        </p:txBody>
      </p:sp>
      <p:sp>
        <p:nvSpPr>
          <p:cNvPr id="301" name="Text Box 287">
            <a:extLst>
              <a:ext uri="{FF2B5EF4-FFF2-40B4-BE49-F238E27FC236}">
                <a16:creationId xmlns:a16="http://schemas.microsoft.com/office/drawing/2014/main" id="{FB37D5EF-4941-69B5-187B-E3559142BE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89633" y="3210984"/>
            <a:ext cx="973667" cy="29017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62371" tIns="62371" rIns="62371" bIns="62371">
            <a:spAutoFit/>
          </a:bodyPr>
          <a:lstStyle/>
          <a:p>
            <a:pPr algn="ctr" defTabSz="609585" eaLnBrk="0" hangingPunct="0">
              <a:defRPr/>
            </a:pPr>
            <a:r>
              <a:rPr lang="en-ZA" sz="1067" b="1">
                <a:solidFill>
                  <a:srgbClr val="000000"/>
                </a:solidFill>
                <a:latin typeface="Arial" charset="0"/>
                <a:cs typeface="Arial" charset="0"/>
              </a:rPr>
              <a:t>Russia</a:t>
            </a:r>
          </a:p>
        </p:txBody>
      </p:sp>
      <p:sp>
        <p:nvSpPr>
          <p:cNvPr id="302" name="Text Box 289">
            <a:extLst>
              <a:ext uri="{FF2B5EF4-FFF2-40B4-BE49-F238E27FC236}">
                <a16:creationId xmlns:a16="http://schemas.microsoft.com/office/drawing/2014/main" id="{B31443CA-7E85-8546-D850-44BAE9BBE8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35233" y="4762501"/>
            <a:ext cx="973667" cy="29017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62371" tIns="62371" rIns="62371" bIns="62371">
            <a:spAutoFit/>
          </a:bodyPr>
          <a:lstStyle/>
          <a:p>
            <a:pPr algn="ctr" defTabSz="609585" eaLnBrk="0" hangingPunct="0">
              <a:defRPr/>
            </a:pPr>
            <a:r>
              <a:rPr lang="en-ZA" sz="1067" b="1">
                <a:solidFill>
                  <a:srgbClr val="000000"/>
                </a:solidFill>
                <a:latin typeface="Arial" charset="0"/>
                <a:cs typeface="Arial" charset="0"/>
              </a:rPr>
              <a:t>Zimbabwe</a:t>
            </a:r>
          </a:p>
        </p:txBody>
      </p:sp>
      <p:graphicFrame>
        <p:nvGraphicFramePr>
          <p:cNvPr id="303" name="Group 340">
            <a:extLst>
              <a:ext uri="{FF2B5EF4-FFF2-40B4-BE49-F238E27FC236}">
                <a16:creationId xmlns:a16="http://schemas.microsoft.com/office/drawing/2014/main" id="{9C3E3C81-AD41-AE9A-7ABE-E5ED0A868874}"/>
              </a:ext>
            </a:extLst>
          </p:cNvPr>
          <p:cNvGraphicFramePr>
            <a:graphicFrameLocks noGrp="1"/>
          </p:cNvGraphicFramePr>
          <p:nvPr/>
        </p:nvGraphicFramePr>
        <p:xfrm>
          <a:off x="509037" y="4935107"/>
          <a:ext cx="3419475" cy="1398780"/>
        </p:xfrm>
        <a:graphic>
          <a:graphicData uri="http://schemas.openxmlformats.org/drawingml/2006/table">
            <a:tbl>
              <a:tblPr/>
              <a:tblGrid>
                <a:gridCol w="9219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44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619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21104">
                  <a:extLst>
                    <a:ext uri="{9D8B030D-6E8A-4147-A177-3AD203B41FA5}">
                      <a16:colId xmlns:a16="http://schemas.microsoft.com/office/drawing/2014/main" val="2880015694"/>
                    </a:ext>
                  </a:extLst>
                </a:gridCol>
              </a:tblGrid>
              <a:tr h="162560">
                <a:tc gridSpan="4">
                  <a:txBody>
                    <a:bodyPr/>
                    <a:lstStyle/>
                    <a:p>
                      <a:pPr marL="0" marR="0" lvl="0" indent="0" algn="ctr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are by major PGM producing region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1" i="0" u="sng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3513563"/>
                  </a:ext>
                </a:extLst>
              </a:tr>
              <a:tr h="325120">
                <a:tc>
                  <a:txBody>
                    <a:bodyPr/>
                    <a:lstStyle/>
                    <a:p>
                      <a:pPr marL="0" marR="0" lvl="0" indent="0" algn="ctr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gion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are of Resources</a:t>
                      </a:r>
                      <a:endParaRPr kumimoji="0" lang="en-US" sz="1100" b="1" i="0" u="sng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are of Reserves 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21Share of production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0498539"/>
                  </a:ext>
                </a:extLst>
              </a:tr>
              <a:tr h="186860">
                <a:tc>
                  <a:txBody>
                    <a:bodyPr/>
                    <a:lstStyle/>
                    <a:p>
                      <a:pPr marL="0" marR="0" lvl="0" indent="0" algn="l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South Africa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5%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9%</a:t>
                      </a: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0%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6860">
                <a:tc>
                  <a:txBody>
                    <a:bodyPr/>
                    <a:lstStyle/>
                    <a:p>
                      <a:pPr marL="0" marR="0" lvl="0" indent="0" algn="l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Zimbabwe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6%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%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%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4105023"/>
                  </a:ext>
                </a:extLst>
              </a:tr>
              <a:tr h="186860">
                <a:tc>
                  <a:txBody>
                    <a:bodyPr/>
                    <a:lstStyle/>
                    <a:p>
                      <a:pPr marL="0" marR="0" lvl="0" indent="0" algn="l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Russia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6%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7%</a:t>
                      </a: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4%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5120">
                <a:tc>
                  <a:txBody>
                    <a:bodyPr/>
                    <a:lstStyle/>
                    <a:p>
                      <a:pPr marL="0" marR="0" lvl="0" indent="0" algn="l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North America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%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%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55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%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04" name="Text Box 323">
            <a:extLst>
              <a:ext uri="{FF2B5EF4-FFF2-40B4-BE49-F238E27FC236}">
                <a16:creationId xmlns:a16="http://schemas.microsoft.com/office/drawing/2014/main" id="{51B0755B-42F5-DAA4-4A07-72D5A16CFE8D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888568" y="6392334"/>
            <a:ext cx="167217" cy="167217"/>
          </a:xfrm>
          <a:prstGeom prst="rect">
            <a:avLst/>
          </a:prstGeom>
          <a:solidFill>
            <a:srgbClr val="003366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360000" tIns="0" rIns="0" bIns="0" anchor="ctr"/>
          <a:lstStyle/>
          <a:p>
            <a:pPr defTabSz="1162022" eaLnBrk="0" hangingPunct="0">
              <a:defRPr/>
            </a:pPr>
            <a:endParaRPr lang="en-US" sz="667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1162022" eaLnBrk="0" hangingPunct="0">
              <a:defRPr/>
            </a:pPr>
            <a:r>
              <a:rPr lang="en-US" sz="1333">
                <a:solidFill>
                  <a:srgbClr val="000000"/>
                </a:solidFill>
                <a:latin typeface="Arial" charset="0"/>
                <a:cs typeface="Arial" charset="0"/>
              </a:rPr>
              <a:t> PGM producing region</a:t>
            </a:r>
            <a:endParaRPr lang="en-GB" sz="1333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05" name="Oval 331">
            <a:extLst>
              <a:ext uri="{FF2B5EF4-FFF2-40B4-BE49-F238E27FC236}">
                <a16:creationId xmlns:a16="http://schemas.microsoft.com/office/drawing/2014/main" id="{0D1FBA13-058A-9BF1-6192-9B632CC0B3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2768" y="3139017"/>
            <a:ext cx="563033" cy="366184"/>
          </a:xfrm>
          <a:prstGeom prst="ellips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609585">
              <a:defRPr/>
            </a:pPr>
            <a:endParaRPr lang="en-ZA" sz="1333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06" name="Oval 332">
            <a:extLst>
              <a:ext uri="{FF2B5EF4-FFF2-40B4-BE49-F238E27FC236}">
                <a16:creationId xmlns:a16="http://schemas.microsoft.com/office/drawing/2014/main" id="{70A139BB-0D49-E413-5C23-FE90F5404A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8200" y="5611285"/>
            <a:ext cx="366184" cy="268817"/>
          </a:xfrm>
          <a:prstGeom prst="ellips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609585">
              <a:defRPr/>
            </a:pPr>
            <a:endParaRPr lang="en-ZA" sz="1333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07" name="Oval 333">
            <a:extLst>
              <a:ext uri="{FF2B5EF4-FFF2-40B4-BE49-F238E27FC236}">
                <a16:creationId xmlns:a16="http://schemas.microsoft.com/office/drawing/2014/main" id="{94AA7B52-2F87-80F0-BB82-F6D37CBCCA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66884" y="5340352"/>
            <a:ext cx="366184" cy="268817"/>
          </a:xfrm>
          <a:prstGeom prst="ellips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609585">
              <a:defRPr/>
            </a:pPr>
            <a:endParaRPr lang="en-ZA" sz="1333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08" name="Oval 334">
            <a:extLst>
              <a:ext uri="{FF2B5EF4-FFF2-40B4-BE49-F238E27FC236}">
                <a16:creationId xmlns:a16="http://schemas.microsoft.com/office/drawing/2014/main" id="{0C147E01-329C-96D5-CF54-4AFF3553C8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2351" y="2266952"/>
            <a:ext cx="366184" cy="268817"/>
          </a:xfrm>
          <a:prstGeom prst="ellips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609585">
              <a:defRPr/>
            </a:pPr>
            <a:endParaRPr lang="en-ZA" sz="1333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09" name="Oval 335">
            <a:extLst>
              <a:ext uri="{FF2B5EF4-FFF2-40B4-BE49-F238E27FC236}">
                <a16:creationId xmlns:a16="http://schemas.microsoft.com/office/drawing/2014/main" id="{67671A3A-62EF-DC94-CD7B-F594998967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07717" y="2846918"/>
            <a:ext cx="366184" cy="268817"/>
          </a:xfrm>
          <a:prstGeom prst="ellips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609585">
              <a:defRPr/>
            </a:pPr>
            <a:endParaRPr lang="en-ZA" sz="1333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10" name="Oval 336">
            <a:extLst>
              <a:ext uri="{FF2B5EF4-FFF2-40B4-BE49-F238E27FC236}">
                <a16:creationId xmlns:a16="http://schemas.microsoft.com/office/drawing/2014/main" id="{666BA723-4CEA-D362-D8E0-6A4619B00F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2984" y="2103968"/>
            <a:ext cx="366184" cy="268817"/>
          </a:xfrm>
          <a:prstGeom prst="ellips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609585">
              <a:defRPr/>
            </a:pPr>
            <a:endParaRPr lang="en-ZA" sz="1333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11" name="Oval 337">
            <a:extLst>
              <a:ext uri="{FF2B5EF4-FFF2-40B4-BE49-F238E27FC236}">
                <a16:creationId xmlns:a16="http://schemas.microsoft.com/office/drawing/2014/main" id="{DC679330-0DBC-4EAE-3517-9F9A845D33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6334" y="2722033"/>
            <a:ext cx="539751" cy="442384"/>
          </a:xfrm>
          <a:prstGeom prst="ellips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609585">
              <a:defRPr/>
            </a:pPr>
            <a:endParaRPr lang="en-ZA" sz="1333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12" name="Oval 338">
            <a:extLst>
              <a:ext uri="{FF2B5EF4-FFF2-40B4-BE49-F238E27FC236}">
                <a16:creationId xmlns:a16="http://schemas.microsoft.com/office/drawing/2014/main" id="{ED55B66A-ED23-92CC-9E9D-7297A0FF27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75334" y="2578100"/>
            <a:ext cx="539751" cy="442384"/>
          </a:xfrm>
          <a:prstGeom prst="ellips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609585">
              <a:defRPr/>
            </a:pPr>
            <a:endParaRPr lang="en-ZA" sz="1333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13" name="Oval 339">
            <a:extLst>
              <a:ext uri="{FF2B5EF4-FFF2-40B4-BE49-F238E27FC236}">
                <a16:creationId xmlns:a16="http://schemas.microsoft.com/office/drawing/2014/main" id="{D2C10072-10AA-14C6-536E-D6AD9C88DB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6884" y="2906185"/>
            <a:ext cx="1111251" cy="463551"/>
          </a:xfrm>
          <a:prstGeom prst="ellips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609585">
              <a:defRPr/>
            </a:pPr>
            <a:endParaRPr lang="en-ZA" sz="1333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14" name="Oval 341">
            <a:extLst>
              <a:ext uri="{FF2B5EF4-FFF2-40B4-BE49-F238E27FC236}">
                <a16:creationId xmlns:a16="http://schemas.microsoft.com/office/drawing/2014/main" id="{907EE3D1-9592-F2F9-EEEC-06064BA46C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1200" y="6339418"/>
            <a:ext cx="366184" cy="268817"/>
          </a:xfrm>
          <a:prstGeom prst="ellips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609585">
              <a:defRPr/>
            </a:pPr>
            <a:endParaRPr lang="en-ZA" sz="1333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BD101BBA-4434-A024-2B2C-FC0DE6D26403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23124414"/>
              </p:ext>
            </p:extLst>
          </p:nvPr>
        </p:nvGraphicFramePr>
        <p:xfrm>
          <a:off x="9918700" y="3424238"/>
          <a:ext cx="966788" cy="806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316" name="Text Placeholder 4">
            <a:extLst>
              <a:ext uri="{FF2B5EF4-FFF2-40B4-BE49-F238E27FC236}">
                <a16:creationId xmlns:a16="http://schemas.microsoft.com/office/drawing/2014/main" id="{15AE1C89-1E83-A622-0987-0AE8896CA52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288588" y="4181475"/>
            <a:ext cx="4429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609585">
              <a:spcBef>
                <a:spcPct val="0"/>
              </a:spcBef>
              <a:spcAft>
                <a:spcPct val="0"/>
              </a:spcAft>
              <a:defRPr/>
            </a:pPr>
            <a:r>
              <a:rPr lang="en-ZA" altLang="en-US" sz="800">
                <a:solidFill>
                  <a:srgbClr val="031795"/>
                </a:solidFill>
                <a:latin typeface="Arial"/>
              </a:rPr>
              <a:t>Reserves</a:t>
            </a:r>
            <a:endParaRPr lang="en-ZA" sz="800">
              <a:solidFill>
                <a:srgbClr val="031795"/>
              </a:solidFill>
              <a:latin typeface="Arial"/>
            </a:endParaRPr>
          </a:p>
        </p:txBody>
      </p:sp>
      <p:sp>
        <p:nvSpPr>
          <p:cNvPr id="317" name="Text Placeholder 4">
            <a:extLst>
              <a:ext uri="{FF2B5EF4-FFF2-40B4-BE49-F238E27FC236}">
                <a16:creationId xmlns:a16="http://schemas.microsoft.com/office/drawing/2014/main" id="{2765FA7D-A8B2-C67F-F507-3979D6B6817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0409239" y="3844925"/>
            <a:ext cx="2000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817" tIns="0" rIns="14817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609585">
              <a:spcBef>
                <a:spcPct val="0"/>
              </a:spcBef>
              <a:spcAft>
                <a:spcPct val="0"/>
              </a:spcAft>
              <a:defRPr/>
            </a:pPr>
            <a:fld id="{3626EE23-D67B-46C2-87AE-7C0E352921DC}" type="datetime'''''''''12''1'''''''''''''''''''''''''''''''''''''''''''''">
              <a:rPr lang="en-US" altLang="en-US" sz="800">
                <a:solidFill>
                  <a:srgbClr val="031795"/>
                </a:solidFill>
                <a:latin typeface="Arial" panose="020B0604020202020204"/>
              </a:rPr>
              <a:pPr lvl="1" algn="ctr" defTabSz="609585">
                <a:spcBef>
                  <a:spcPct val="0"/>
                </a:spcBef>
                <a:spcAft>
                  <a:spcPct val="0"/>
                </a:spcAft>
                <a:defRPr/>
              </a:pPr>
              <a:t>121</a:t>
            </a:fld>
            <a:endParaRPr lang="en-ZA" sz="800">
              <a:solidFill>
                <a:srgbClr val="031795"/>
              </a:solidFill>
              <a:latin typeface="Arial" panose="020B0604020202020204"/>
            </a:endParaRP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BED0E930-3A68-8794-AD97-3ABEF9C8364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018463" y="6432550"/>
            <a:ext cx="190500" cy="142875"/>
          </a:xfrm>
          <a:prstGeom prst="rect">
            <a:avLst/>
          </a:prstGeom>
          <a:solidFill>
            <a:srgbClr val="364D6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en-ZA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21" name="Rectangle 320">
            <a:extLst>
              <a:ext uri="{FF2B5EF4-FFF2-40B4-BE49-F238E27FC236}">
                <a16:creationId xmlns:a16="http://schemas.microsoft.com/office/drawing/2014/main" id="{14C728B7-8085-A49F-76DB-8CA7B142890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513888" y="6432550"/>
            <a:ext cx="190500" cy="1428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en-ZA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7F902751-8011-0002-EEB1-CE3A44A323C8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8489950" y="6432550"/>
            <a:ext cx="190500" cy="142875"/>
          </a:xfrm>
          <a:prstGeom prst="rect">
            <a:avLst/>
          </a:prstGeom>
          <a:solidFill>
            <a:srgbClr val="66983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en-ZA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20" name="Rectangle 319">
            <a:extLst>
              <a:ext uri="{FF2B5EF4-FFF2-40B4-BE49-F238E27FC236}">
                <a16:creationId xmlns:a16="http://schemas.microsoft.com/office/drawing/2014/main" id="{0689E372-AF84-3253-795A-F95577C80755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997950" y="6432550"/>
            <a:ext cx="190500" cy="142875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en-ZA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23" name="Text Placeholder 4">
            <a:extLst>
              <a:ext uri="{FF2B5EF4-FFF2-40B4-BE49-F238E27FC236}">
                <a16:creationId xmlns:a16="http://schemas.microsoft.com/office/drawing/2014/main" id="{6F496C99-052E-9B5C-B13A-6D7074E9939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259763" y="6429376"/>
            <a:ext cx="128588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609585">
              <a:spcBef>
                <a:spcPct val="0"/>
              </a:spcBef>
              <a:spcAft>
                <a:spcPct val="0"/>
              </a:spcAft>
              <a:defRPr/>
            </a:pPr>
            <a:fld id="{C79B0EDA-3003-4791-BD41-DE27E5C1B1D4}" type="datetime'''''''''''''''''''''P''''''''''''''''''t'''''''''''''">
              <a:rPr lang="en-ZA" altLang="en-US" sz="1067">
                <a:solidFill>
                  <a:srgbClr val="031795"/>
                </a:solidFill>
                <a:latin typeface="Arial" panose="020B0604020202020204"/>
              </a:rPr>
              <a:pPr lvl="1" defTabSz="609585">
                <a:spcBef>
                  <a:spcPct val="0"/>
                </a:spcBef>
                <a:spcAft>
                  <a:spcPct val="0"/>
                </a:spcAft>
                <a:defRPr/>
              </a:pPr>
              <a:t>Pt</a:t>
            </a:fld>
            <a:endParaRPr lang="en-ZA" sz="1067">
              <a:solidFill>
                <a:srgbClr val="031795"/>
              </a:solidFill>
              <a:latin typeface="Arial" panose="020B0604020202020204"/>
            </a:endParaRPr>
          </a:p>
        </p:txBody>
      </p:sp>
      <p:sp>
        <p:nvSpPr>
          <p:cNvPr id="322" name="Text Placeholder 4">
            <a:extLst>
              <a:ext uri="{FF2B5EF4-FFF2-40B4-BE49-F238E27FC236}">
                <a16:creationId xmlns:a16="http://schemas.microsoft.com/office/drawing/2014/main" id="{4B1FB5C5-4A5F-A5D5-F9CD-2FA00296953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731250" y="6429376"/>
            <a:ext cx="16510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609585">
              <a:spcBef>
                <a:spcPct val="0"/>
              </a:spcBef>
              <a:spcAft>
                <a:spcPct val="0"/>
              </a:spcAft>
              <a:defRPr/>
            </a:pPr>
            <a:fld id="{A96E45B9-51B3-4AFA-9357-42A7E5673978}" type="datetime'''''''''''''''''''''''''''''P''''''''d'''''''''''''''''">
              <a:rPr lang="en-ZA" altLang="en-US" sz="1067">
                <a:solidFill>
                  <a:srgbClr val="031795"/>
                </a:solidFill>
                <a:latin typeface="Arial" panose="020B0604020202020204"/>
              </a:rPr>
              <a:pPr lvl="1" defTabSz="609585">
                <a:spcBef>
                  <a:spcPct val="0"/>
                </a:spcBef>
                <a:spcAft>
                  <a:spcPct val="0"/>
                </a:spcAft>
                <a:defRPr/>
              </a:pPr>
              <a:t>Pd</a:t>
            </a:fld>
            <a:endParaRPr lang="en-ZA" sz="1067">
              <a:solidFill>
                <a:srgbClr val="031795"/>
              </a:solidFill>
              <a:latin typeface="Arial" panose="020B0604020202020204"/>
            </a:endParaRPr>
          </a:p>
        </p:txBody>
      </p:sp>
      <p:sp>
        <p:nvSpPr>
          <p:cNvPr id="325" name="Text Placeholder 4">
            <a:extLst>
              <a:ext uri="{FF2B5EF4-FFF2-40B4-BE49-F238E27FC236}">
                <a16:creationId xmlns:a16="http://schemas.microsoft.com/office/drawing/2014/main" id="{D1D240FB-39F9-A80D-7C1D-8E6A085005F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755188" y="6429376"/>
            <a:ext cx="16510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609585">
              <a:spcBef>
                <a:spcPct val="0"/>
              </a:spcBef>
              <a:spcAft>
                <a:spcPct val="0"/>
              </a:spcAft>
              <a:defRPr/>
            </a:pPr>
            <a:fld id="{3C3FC85A-B1C5-4B3B-BBD4-4DCBD8B5E13E}" type="datetime'''''''''''''''''''''''A''''u'''">
              <a:rPr lang="en-ZA" altLang="en-US" sz="1067">
                <a:solidFill>
                  <a:srgbClr val="031795"/>
                </a:solidFill>
                <a:latin typeface="Arial" panose="020B0604020202020204"/>
              </a:rPr>
              <a:pPr lvl="1" defTabSz="609585">
                <a:spcBef>
                  <a:spcPct val="0"/>
                </a:spcBef>
                <a:spcAft>
                  <a:spcPct val="0"/>
                </a:spcAft>
                <a:defRPr/>
              </a:pPr>
              <a:t>Au</a:t>
            </a:fld>
            <a:endParaRPr lang="en-ZA" sz="1067">
              <a:solidFill>
                <a:srgbClr val="031795"/>
              </a:solidFill>
              <a:latin typeface="Arial" panose="020B0604020202020204"/>
            </a:endParaRPr>
          </a:p>
        </p:txBody>
      </p:sp>
      <p:sp>
        <p:nvSpPr>
          <p:cNvPr id="324" name="Text Placeholder 4">
            <a:extLst>
              <a:ext uri="{FF2B5EF4-FFF2-40B4-BE49-F238E27FC236}">
                <a16:creationId xmlns:a16="http://schemas.microsoft.com/office/drawing/2014/main" id="{00D7E901-0189-B955-BB1F-D2F02F009D1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239250" y="6429376"/>
            <a:ext cx="173038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609585">
              <a:spcBef>
                <a:spcPct val="0"/>
              </a:spcBef>
              <a:spcAft>
                <a:spcPct val="0"/>
              </a:spcAft>
              <a:defRPr/>
            </a:pPr>
            <a:fld id="{0C0F1F83-D44B-41F9-B3D3-078556000A18}" type="datetime'''''''''''''''''''R''''''h'''''''''''''''''''''''''''">
              <a:rPr lang="en-ZA" altLang="en-US" sz="1067">
                <a:solidFill>
                  <a:srgbClr val="031795"/>
                </a:solidFill>
                <a:latin typeface="Arial" panose="020B0604020202020204"/>
              </a:rPr>
              <a:pPr lvl="1" defTabSz="609585">
                <a:spcBef>
                  <a:spcPct val="0"/>
                </a:spcBef>
                <a:spcAft>
                  <a:spcPct val="0"/>
                </a:spcAft>
                <a:defRPr/>
              </a:pPr>
              <a:t>Rh</a:t>
            </a:fld>
            <a:endParaRPr lang="en-ZA" sz="1067">
              <a:solidFill>
                <a:srgbClr val="031795"/>
              </a:solidFill>
              <a:latin typeface="Arial" panose="020B0604020202020204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4E625F0C-238F-7CA4-A820-EF9397035861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32184908"/>
              </p:ext>
            </p:extLst>
          </p:nvPr>
        </p:nvGraphicFramePr>
        <p:xfrm>
          <a:off x="10775950" y="3524250"/>
          <a:ext cx="762000" cy="733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328" name="Text Placeholder 4">
            <a:extLst>
              <a:ext uri="{FF2B5EF4-FFF2-40B4-BE49-F238E27FC236}">
                <a16:creationId xmlns:a16="http://schemas.microsoft.com/office/drawing/2014/main" id="{C2611D5C-F16D-ACB8-9400-AF5FC22B5BA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0906126" y="4208463"/>
            <a:ext cx="5000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609585">
              <a:spcBef>
                <a:spcPct val="0"/>
              </a:spcBef>
              <a:spcAft>
                <a:spcPct val="0"/>
              </a:spcAft>
              <a:defRPr/>
            </a:pPr>
            <a:r>
              <a:rPr lang="en-ZA" altLang="en-US" sz="800">
                <a:solidFill>
                  <a:srgbClr val="031795"/>
                </a:solidFill>
                <a:latin typeface="Arial"/>
              </a:rPr>
              <a:t>Resources</a:t>
            </a:r>
            <a:endParaRPr lang="en-ZA" sz="800">
              <a:solidFill>
                <a:srgbClr val="031795"/>
              </a:solidFill>
              <a:latin typeface="Arial"/>
            </a:endParaRPr>
          </a:p>
        </p:txBody>
      </p:sp>
      <p:sp>
        <p:nvSpPr>
          <p:cNvPr id="327" name="Text Placeholder 4">
            <a:extLst>
              <a:ext uri="{FF2B5EF4-FFF2-40B4-BE49-F238E27FC236}">
                <a16:creationId xmlns:a16="http://schemas.microsoft.com/office/drawing/2014/main" id="{BDDF5030-7F80-0E45-DB6C-A113A6E5E6D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1055351" y="3459163"/>
            <a:ext cx="2000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817" tIns="0" rIns="14817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609585">
              <a:spcBef>
                <a:spcPct val="0"/>
              </a:spcBef>
              <a:spcAft>
                <a:spcPct val="0"/>
              </a:spcAft>
              <a:defRPr/>
            </a:pPr>
            <a:fld id="{BBCC00A0-BB8C-4F60-B6DF-18854842F8ED}" type="datetime'''43''''''''''''''''''''''''''''''''''''''''6'''''''''">
              <a:rPr lang="en-US" altLang="en-US" sz="800">
                <a:solidFill>
                  <a:srgbClr val="031795"/>
                </a:solidFill>
                <a:latin typeface="Arial" panose="020B0604020202020204"/>
              </a:rPr>
              <a:pPr lvl="1" algn="ctr" defTabSz="609585">
                <a:spcBef>
                  <a:spcPct val="0"/>
                </a:spcBef>
                <a:spcAft>
                  <a:spcPct val="0"/>
                </a:spcAft>
                <a:defRPr/>
              </a:pPr>
              <a:t>436</a:t>
            </a:fld>
            <a:endParaRPr lang="en-ZA" sz="800">
              <a:solidFill>
                <a:srgbClr val="031795"/>
              </a:solidFill>
              <a:latin typeface="Arial" panose="020B0604020202020204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862B6BE-49F7-29FB-0956-CF2BBF7B60F1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770433165"/>
              </p:ext>
            </p:extLst>
          </p:nvPr>
        </p:nvGraphicFramePr>
        <p:xfrm>
          <a:off x="6527800" y="4921250"/>
          <a:ext cx="966788" cy="806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330" name="Text Placeholder 4">
            <a:extLst>
              <a:ext uri="{FF2B5EF4-FFF2-40B4-BE49-F238E27FC236}">
                <a16:creationId xmlns:a16="http://schemas.microsoft.com/office/drawing/2014/main" id="{D73C52B4-DCE1-F4BD-4880-77D1AB3E18F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897688" y="5678488"/>
            <a:ext cx="4429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609585">
              <a:spcBef>
                <a:spcPct val="0"/>
              </a:spcBef>
              <a:spcAft>
                <a:spcPct val="0"/>
              </a:spcAft>
              <a:defRPr/>
            </a:pPr>
            <a:r>
              <a:rPr lang="en-ZA" sz="800">
                <a:solidFill>
                  <a:srgbClr val="031795"/>
                </a:solidFill>
                <a:latin typeface="Arial"/>
              </a:rPr>
              <a:t>Reserves</a:t>
            </a:r>
          </a:p>
        </p:txBody>
      </p:sp>
      <p:sp>
        <p:nvSpPr>
          <p:cNvPr id="331" name="Text Placeholder 4">
            <a:extLst>
              <a:ext uri="{FF2B5EF4-FFF2-40B4-BE49-F238E27FC236}">
                <a16:creationId xmlns:a16="http://schemas.microsoft.com/office/drawing/2014/main" id="{F88C0DE1-4B4F-4133-35C6-A214E4944A9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046913" y="5457825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817" tIns="0" rIns="14817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609585">
              <a:spcBef>
                <a:spcPct val="0"/>
              </a:spcBef>
              <a:spcAft>
                <a:spcPct val="0"/>
              </a:spcAft>
              <a:defRPr/>
            </a:pPr>
            <a:fld id="{0DEAEEC8-73D7-4987-9A54-3DB9BDA0FD2E}" type="datetime'''''''''''3''''1'''''">
              <a:rPr lang="en-US" altLang="en-US" sz="800">
                <a:solidFill>
                  <a:srgbClr val="031795"/>
                </a:solidFill>
                <a:latin typeface="Arial" panose="020B0604020202020204"/>
              </a:rPr>
              <a:pPr lvl="1" algn="ctr" defTabSz="609585">
                <a:spcBef>
                  <a:spcPct val="0"/>
                </a:spcBef>
                <a:spcAft>
                  <a:spcPct val="0"/>
                </a:spcAft>
                <a:defRPr/>
              </a:pPr>
              <a:t>31</a:t>
            </a:fld>
            <a:endParaRPr lang="en-ZA" sz="800">
              <a:solidFill>
                <a:srgbClr val="031795"/>
              </a:solidFill>
              <a:latin typeface="Arial" panose="020B0604020202020204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41D123C3-D8AF-8820-220C-7B73F4C851A0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798722392"/>
              </p:ext>
            </p:extLst>
          </p:nvPr>
        </p:nvGraphicFramePr>
        <p:xfrm>
          <a:off x="7385050" y="5021263"/>
          <a:ext cx="762000" cy="733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334" name="Text Placeholder 4">
            <a:extLst>
              <a:ext uri="{FF2B5EF4-FFF2-40B4-BE49-F238E27FC236}">
                <a16:creationId xmlns:a16="http://schemas.microsoft.com/office/drawing/2014/main" id="{81AA85F5-B97F-30D5-F873-E19F57BDB11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664451" y="4956175"/>
            <a:ext cx="2000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817" tIns="0" rIns="14817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609585">
              <a:spcBef>
                <a:spcPct val="0"/>
              </a:spcBef>
              <a:spcAft>
                <a:spcPct val="0"/>
              </a:spcAft>
              <a:defRPr/>
            </a:pPr>
            <a:fld id="{8995BB5B-DBFA-4BF9-A6A4-4D87B3AB2513}" type="datetime'''''4''''''''''''''''''''''''1''5'''''''">
              <a:rPr lang="en-US" altLang="en-US" sz="800">
                <a:solidFill>
                  <a:srgbClr val="031795"/>
                </a:solidFill>
                <a:latin typeface="Arial" panose="020B0604020202020204"/>
              </a:rPr>
              <a:pPr lvl="1" algn="ctr" defTabSz="609585">
                <a:spcBef>
                  <a:spcPct val="0"/>
                </a:spcBef>
                <a:spcAft>
                  <a:spcPct val="0"/>
                </a:spcAft>
                <a:defRPr/>
              </a:pPr>
              <a:t>415</a:t>
            </a:fld>
            <a:endParaRPr lang="en-ZA" sz="800">
              <a:solidFill>
                <a:srgbClr val="031795"/>
              </a:solidFill>
              <a:latin typeface="Arial" panose="020B0604020202020204"/>
            </a:endParaRPr>
          </a:p>
        </p:txBody>
      </p:sp>
      <p:sp>
        <p:nvSpPr>
          <p:cNvPr id="333" name="Text Placeholder 4">
            <a:extLst>
              <a:ext uri="{FF2B5EF4-FFF2-40B4-BE49-F238E27FC236}">
                <a16:creationId xmlns:a16="http://schemas.microsoft.com/office/drawing/2014/main" id="{F03EBA26-E2EF-C0BC-8763-3FA80E8DA3F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515226" y="5705475"/>
            <a:ext cx="5000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609585">
              <a:spcBef>
                <a:spcPct val="0"/>
              </a:spcBef>
              <a:spcAft>
                <a:spcPct val="0"/>
              </a:spcAft>
              <a:defRPr/>
            </a:pPr>
            <a:r>
              <a:rPr lang="en-ZA" altLang="en-US" sz="800">
                <a:solidFill>
                  <a:srgbClr val="031795"/>
                </a:solidFill>
                <a:latin typeface="Arial"/>
              </a:rPr>
              <a:t>Resources</a:t>
            </a:r>
            <a:endParaRPr lang="en-ZA" sz="800">
              <a:solidFill>
                <a:srgbClr val="031795"/>
              </a:solidFill>
              <a:latin typeface="Arial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164E013F-3909-5167-4CDE-6A3D84BA93BF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7293832"/>
              </p:ext>
            </p:extLst>
          </p:nvPr>
        </p:nvGraphicFramePr>
        <p:xfrm>
          <a:off x="4233863" y="5505450"/>
          <a:ext cx="752475" cy="806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339" name="Text Placeholder 4">
            <a:extLst>
              <a:ext uri="{FF2B5EF4-FFF2-40B4-BE49-F238E27FC236}">
                <a16:creationId xmlns:a16="http://schemas.microsoft.com/office/drawing/2014/main" id="{CC70703D-CAC0-2A2D-224F-8B26796E67A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044950" y="6008688"/>
            <a:ext cx="171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 defTabSz="609585">
              <a:spcBef>
                <a:spcPct val="0"/>
              </a:spcBef>
              <a:spcAft>
                <a:spcPct val="0"/>
              </a:spcAft>
              <a:defRPr/>
            </a:pPr>
            <a:fld id="{7C07E1D7-28E9-451B-A170-9C9B36FDDEE2}" type="datetime'''''''''5''''''''''''''''''''''''''''''''''''''''0''''''0'''''">
              <a:rPr lang="en-US" altLang="en-US" sz="800">
                <a:solidFill>
                  <a:srgbClr val="031795"/>
                </a:solidFill>
                <a:latin typeface="Arial" panose="020B0604020202020204"/>
              </a:rPr>
              <a:pPr lvl="1" algn="r" defTabSz="609585">
                <a:spcBef>
                  <a:spcPct val="0"/>
                </a:spcBef>
                <a:spcAft>
                  <a:spcPct val="0"/>
                </a:spcAft>
                <a:defRPr/>
              </a:pPr>
              <a:t>500</a:t>
            </a:fld>
            <a:endParaRPr lang="en-ZA" sz="800">
              <a:solidFill>
                <a:srgbClr val="031795"/>
              </a:solidFill>
              <a:latin typeface="Arial" panose="020B0604020202020204"/>
            </a:endParaRPr>
          </a:p>
        </p:txBody>
      </p:sp>
      <p:sp>
        <p:nvSpPr>
          <p:cNvPr id="336" name="Text Placeholder 4">
            <a:extLst>
              <a:ext uri="{FF2B5EF4-FFF2-40B4-BE49-F238E27FC236}">
                <a16:creationId xmlns:a16="http://schemas.microsoft.com/office/drawing/2014/main" id="{E677D72F-E6CF-E28A-21A3-5D247CBE57C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159250" y="6169025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 defTabSz="609585">
              <a:spcBef>
                <a:spcPct val="0"/>
              </a:spcBef>
              <a:spcAft>
                <a:spcPct val="0"/>
              </a:spcAft>
              <a:defRPr/>
            </a:pPr>
            <a:fld id="{42755999-9B51-4F9F-82D6-71A4ACB5B782}" type="datetime'''''''''''''''''''''''''0'''''''''''''''">
              <a:rPr lang="en-US" altLang="en-US" sz="800">
                <a:solidFill>
                  <a:srgbClr val="031795"/>
                </a:solidFill>
                <a:latin typeface="Arial" panose="020B0604020202020204"/>
              </a:rPr>
              <a:pPr lvl="1" algn="r" defTabSz="609585">
                <a:spcBef>
                  <a:spcPct val="0"/>
                </a:spcBef>
                <a:spcAft>
                  <a:spcPct val="0"/>
                </a:spcAft>
                <a:defRPr/>
              </a:pPr>
              <a:t>0</a:t>
            </a:fld>
            <a:endParaRPr lang="en-ZA" sz="800">
              <a:solidFill>
                <a:srgbClr val="031795"/>
              </a:solidFill>
              <a:latin typeface="Arial" panose="020B0604020202020204"/>
            </a:endParaRPr>
          </a:p>
        </p:txBody>
      </p:sp>
      <p:sp>
        <p:nvSpPr>
          <p:cNvPr id="340" name="Text Placeholder 4">
            <a:extLst>
              <a:ext uri="{FF2B5EF4-FFF2-40B4-BE49-F238E27FC236}">
                <a16:creationId xmlns:a16="http://schemas.microsoft.com/office/drawing/2014/main" id="{7B18DCB1-7FC1-089B-C182-7C4043D0038C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959225" y="5848350"/>
            <a:ext cx="2571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 defTabSz="609585">
              <a:spcBef>
                <a:spcPct val="0"/>
              </a:spcBef>
              <a:spcAft>
                <a:spcPct val="0"/>
              </a:spcAft>
              <a:defRPr/>
            </a:pPr>
            <a:fld id="{2CE30EAB-343E-4531-98D9-18506EB9DB77}" type="datetime'''''''''1'''''''''''',''''0''''''''''''0''''''0'''">
              <a:rPr lang="en-US" altLang="en-US" sz="800">
                <a:solidFill>
                  <a:srgbClr val="031795"/>
                </a:solidFill>
                <a:latin typeface="Arial" panose="020B0604020202020204"/>
              </a:rPr>
              <a:pPr lvl="1" algn="r" defTabSz="609585">
                <a:spcBef>
                  <a:spcPct val="0"/>
                </a:spcBef>
                <a:spcAft>
                  <a:spcPct val="0"/>
                </a:spcAft>
                <a:defRPr/>
              </a:pPr>
              <a:t>1,000</a:t>
            </a:fld>
            <a:endParaRPr lang="en-ZA" sz="800">
              <a:solidFill>
                <a:srgbClr val="031795"/>
              </a:solidFill>
              <a:latin typeface="Arial" panose="020B0604020202020204"/>
            </a:endParaRPr>
          </a:p>
        </p:txBody>
      </p:sp>
      <p:sp>
        <p:nvSpPr>
          <p:cNvPr id="338" name="Text Placeholder 4">
            <a:extLst>
              <a:ext uri="{FF2B5EF4-FFF2-40B4-BE49-F238E27FC236}">
                <a16:creationId xmlns:a16="http://schemas.microsoft.com/office/drawing/2014/main" id="{1528DEE4-B7E5-C95A-5A7E-49D1BB20272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959225" y="5688013"/>
            <a:ext cx="2571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 defTabSz="609585">
              <a:spcBef>
                <a:spcPct val="0"/>
              </a:spcBef>
              <a:spcAft>
                <a:spcPct val="0"/>
              </a:spcAft>
              <a:defRPr/>
            </a:pPr>
            <a:fld id="{FEAA1893-DA43-48A7-A528-A3C63D33439A}" type="datetime'''''''1'',''5''''''''''''''00'''''''''''''''''''''''''''''''''">
              <a:rPr lang="en-US" altLang="en-US" sz="800">
                <a:solidFill>
                  <a:srgbClr val="031795"/>
                </a:solidFill>
                <a:latin typeface="Arial" panose="020B0604020202020204"/>
              </a:rPr>
              <a:pPr lvl="1" algn="r" defTabSz="609585">
                <a:spcBef>
                  <a:spcPct val="0"/>
                </a:spcBef>
                <a:spcAft>
                  <a:spcPct val="0"/>
                </a:spcAft>
                <a:defRPr/>
              </a:pPr>
              <a:t>1,500</a:t>
            </a:fld>
            <a:endParaRPr lang="en-ZA" sz="800">
              <a:solidFill>
                <a:srgbClr val="031795"/>
              </a:solidFill>
              <a:latin typeface="Arial" panose="020B0604020202020204"/>
            </a:endParaRPr>
          </a:p>
        </p:txBody>
      </p:sp>
      <p:sp>
        <p:nvSpPr>
          <p:cNvPr id="337" name="Text Placeholder 4">
            <a:extLst>
              <a:ext uri="{FF2B5EF4-FFF2-40B4-BE49-F238E27FC236}">
                <a16:creationId xmlns:a16="http://schemas.microsoft.com/office/drawing/2014/main" id="{F2BE8B7C-199B-84BE-3078-3524BA4144F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959225" y="5527675"/>
            <a:ext cx="2571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 defTabSz="609585">
              <a:spcBef>
                <a:spcPct val="0"/>
              </a:spcBef>
              <a:spcAft>
                <a:spcPct val="0"/>
              </a:spcAft>
              <a:defRPr/>
            </a:pPr>
            <a:fld id="{CC08C1D3-014E-45C9-B712-524EDB4F9537}" type="datetime'''''''2'''''''''',''''0''''''''0''''''''0'''''">
              <a:rPr lang="en-US" altLang="en-US" sz="800">
                <a:solidFill>
                  <a:srgbClr val="031795"/>
                </a:solidFill>
                <a:latin typeface="Arial" panose="020B0604020202020204"/>
              </a:rPr>
              <a:pPr lvl="1" algn="r" defTabSz="609585">
                <a:spcBef>
                  <a:spcPct val="0"/>
                </a:spcBef>
                <a:spcAft>
                  <a:spcPct val="0"/>
                </a:spcAft>
                <a:defRPr/>
              </a:pPr>
              <a:t>2,000</a:t>
            </a:fld>
            <a:endParaRPr lang="en-ZA" sz="800">
              <a:solidFill>
                <a:srgbClr val="031795"/>
              </a:solidFill>
              <a:latin typeface="Arial" panose="020B0604020202020204"/>
            </a:endParaRPr>
          </a:p>
        </p:txBody>
      </p:sp>
      <p:sp>
        <p:nvSpPr>
          <p:cNvPr id="341" name="Text Placeholder 4">
            <a:extLst>
              <a:ext uri="{FF2B5EF4-FFF2-40B4-BE49-F238E27FC236}">
                <a16:creationId xmlns:a16="http://schemas.microsoft.com/office/drawing/2014/main" id="{C37747F0-558E-C255-1835-79DD123DF90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389438" y="6262688"/>
            <a:ext cx="4429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609585">
              <a:spcBef>
                <a:spcPct val="0"/>
              </a:spcBef>
              <a:spcAft>
                <a:spcPct val="0"/>
              </a:spcAft>
              <a:defRPr/>
            </a:pPr>
            <a:r>
              <a:rPr lang="en-ZA" altLang="en-US" sz="800">
                <a:solidFill>
                  <a:srgbClr val="031795"/>
                </a:solidFill>
                <a:latin typeface="Arial"/>
              </a:rPr>
              <a:t>Reserves</a:t>
            </a:r>
            <a:endParaRPr lang="en-ZA" sz="800">
              <a:solidFill>
                <a:srgbClr val="031795"/>
              </a:solidFill>
              <a:latin typeface="Arial"/>
            </a:endParaRPr>
          </a:p>
        </p:txBody>
      </p:sp>
      <p:sp>
        <p:nvSpPr>
          <p:cNvPr id="342" name="Text Placeholder 4">
            <a:extLst>
              <a:ext uri="{FF2B5EF4-FFF2-40B4-BE49-F238E27FC236}">
                <a16:creationId xmlns:a16="http://schemas.microsoft.com/office/drawing/2014/main" id="{64B30173-2DE5-F45E-7346-210ADE06BE3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510089" y="5995988"/>
            <a:ext cx="20002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817" tIns="0" rIns="14817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609585">
              <a:spcBef>
                <a:spcPct val="0"/>
              </a:spcBef>
              <a:spcAft>
                <a:spcPct val="0"/>
              </a:spcAft>
              <a:defRPr/>
            </a:pPr>
            <a:fld id="{BA950F1B-3550-47BF-90B3-B7D27205C928}" type="datetime'''''''''2''''''''''6''''''''''''''''6'''''''''''">
              <a:rPr lang="en-US" altLang="en-US" sz="800">
                <a:solidFill>
                  <a:srgbClr val="031795"/>
                </a:solidFill>
                <a:latin typeface="Arial" panose="020B0604020202020204"/>
              </a:rPr>
              <a:pPr lvl="1" algn="ctr" defTabSz="609585">
                <a:spcBef>
                  <a:spcPct val="0"/>
                </a:spcBef>
                <a:spcAft>
                  <a:spcPct val="0"/>
                </a:spcAft>
                <a:defRPr/>
              </a:pPr>
              <a:t>266</a:t>
            </a:fld>
            <a:endParaRPr lang="en-ZA" sz="800">
              <a:solidFill>
                <a:srgbClr val="031795"/>
              </a:solidFill>
              <a:latin typeface="Arial" panose="020B0604020202020204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5DFDC82C-EBDF-47AF-65D1-254DB73B019E}"/>
              </a:ext>
            </a:extLst>
          </p:cNvPr>
          <p:cNvGraphicFramePr/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440818133"/>
              </p:ext>
            </p:extLst>
          </p:nvPr>
        </p:nvGraphicFramePr>
        <p:xfrm>
          <a:off x="4876800" y="5589588"/>
          <a:ext cx="762000" cy="744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344" name="Text Placeholder 4">
            <a:extLst>
              <a:ext uri="{FF2B5EF4-FFF2-40B4-BE49-F238E27FC236}">
                <a16:creationId xmlns:a16="http://schemas.microsoft.com/office/drawing/2014/main" id="{B2514F12-D71B-88F8-14EE-D8BB3608656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006976" y="6284913"/>
            <a:ext cx="5000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609585">
              <a:spcBef>
                <a:spcPct val="0"/>
              </a:spcBef>
              <a:spcAft>
                <a:spcPct val="0"/>
              </a:spcAft>
              <a:defRPr/>
            </a:pPr>
            <a:r>
              <a:rPr lang="en-ZA" altLang="en-US" sz="800">
                <a:solidFill>
                  <a:srgbClr val="031795"/>
                </a:solidFill>
                <a:latin typeface="Arial"/>
              </a:rPr>
              <a:t>Resources</a:t>
            </a:r>
            <a:endParaRPr lang="en-ZA" sz="800">
              <a:solidFill>
                <a:srgbClr val="031795"/>
              </a:solidFill>
              <a:latin typeface="Arial"/>
            </a:endParaRPr>
          </a:p>
        </p:txBody>
      </p:sp>
      <p:sp>
        <p:nvSpPr>
          <p:cNvPr id="345" name="Text Placeholder 4">
            <a:extLst>
              <a:ext uri="{FF2B5EF4-FFF2-40B4-BE49-F238E27FC236}">
                <a16:creationId xmlns:a16="http://schemas.microsoft.com/office/drawing/2014/main" id="{45244796-47F9-51D4-E8B6-7D6D0ABB3F91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113867" y="5524500"/>
            <a:ext cx="285751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817" tIns="0" rIns="14817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609585">
              <a:spcBef>
                <a:spcPct val="0"/>
              </a:spcBef>
              <a:spcAft>
                <a:spcPct val="0"/>
              </a:spcAft>
              <a:defRPr/>
            </a:pPr>
            <a:fld id="{55B15151-43FC-4210-A569-B9445AD7A39D}" type="datetime'''''''''''''''1'''',''''''''''''7''''''''''''''''''''''''7''2'">
              <a:rPr lang="en-US" altLang="en-US" sz="800">
                <a:solidFill>
                  <a:srgbClr val="031795"/>
                </a:solidFill>
                <a:latin typeface="Arial" panose="020B0604020202020204"/>
              </a:rPr>
              <a:pPr lvl="1" algn="ctr" defTabSz="609585">
                <a:spcBef>
                  <a:spcPct val="0"/>
                </a:spcBef>
                <a:spcAft>
                  <a:spcPct val="0"/>
                </a:spcAft>
                <a:defRPr/>
              </a:pPr>
              <a:t>1,772</a:t>
            </a:fld>
            <a:endParaRPr lang="en-ZA" sz="800">
              <a:solidFill>
                <a:srgbClr val="031795"/>
              </a:solidFill>
              <a:latin typeface="Arial" panose="020B0604020202020204"/>
            </a:endParaRPr>
          </a:p>
        </p:txBody>
      </p:sp>
      <p:sp>
        <p:nvSpPr>
          <p:cNvPr id="346" name="Text Box 287">
            <a:extLst>
              <a:ext uri="{FF2B5EF4-FFF2-40B4-BE49-F238E27FC236}">
                <a16:creationId xmlns:a16="http://schemas.microsoft.com/office/drawing/2014/main" id="{3DB9F27A-AB94-268C-A0AF-53F03A823D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14284" y="5298018"/>
            <a:ext cx="973667" cy="29017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62371" tIns="62371" rIns="62371" bIns="62371">
            <a:spAutoFit/>
          </a:bodyPr>
          <a:lstStyle/>
          <a:p>
            <a:pPr algn="ctr" defTabSz="609585" eaLnBrk="0" hangingPunct="0">
              <a:defRPr/>
            </a:pPr>
            <a:r>
              <a:rPr lang="en-ZA" sz="1067" b="1">
                <a:solidFill>
                  <a:srgbClr val="000000"/>
                </a:solidFill>
                <a:latin typeface="Arial" charset="0"/>
                <a:cs typeface="Arial" charset="0"/>
              </a:rPr>
              <a:t>South Africa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2FC613E0-3EF3-4928-009A-FDB6167F3425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918074492"/>
              </p:ext>
            </p:extLst>
          </p:nvPr>
        </p:nvGraphicFramePr>
        <p:xfrm>
          <a:off x="3070225" y="3643313"/>
          <a:ext cx="968375" cy="806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348" name="Text Placeholder 4">
            <a:extLst>
              <a:ext uri="{FF2B5EF4-FFF2-40B4-BE49-F238E27FC236}">
                <a16:creationId xmlns:a16="http://schemas.microsoft.com/office/drawing/2014/main" id="{7BEF07A0-8B69-7231-D31D-46FB35FAAEDA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440113" y="4400550"/>
            <a:ext cx="4429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609585">
              <a:spcBef>
                <a:spcPct val="0"/>
              </a:spcBef>
              <a:spcAft>
                <a:spcPct val="0"/>
              </a:spcAft>
              <a:defRPr/>
            </a:pPr>
            <a:r>
              <a:rPr lang="en-ZA" altLang="en-US" sz="800">
                <a:solidFill>
                  <a:srgbClr val="031795"/>
                </a:solidFill>
                <a:latin typeface="Arial"/>
              </a:rPr>
              <a:t>Reserves</a:t>
            </a:r>
            <a:endParaRPr lang="en-ZA" sz="800">
              <a:solidFill>
                <a:srgbClr val="031795"/>
              </a:solidFill>
              <a:latin typeface="Arial"/>
            </a:endParaRPr>
          </a:p>
        </p:txBody>
      </p:sp>
      <p:sp>
        <p:nvSpPr>
          <p:cNvPr id="349" name="Text Placeholder 4">
            <a:extLst>
              <a:ext uri="{FF2B5EF4-FFF2-40B4-BE49-F238E27FC236}">
                <a16:creationId xmlns:a16="http://schemas.microsoft.com/office/drawing/2014/main" id="{B20AA15F-875E-823E-C67B-A33E680B4D7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3589338" y="4179888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817" tIns="0" rIns="14817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609585">
              <a:spcBef>
                <a:spcPct val="0"/>
              </a:spcBef>
              <a:spcAft>
                <a:spcPct val="0"/>
              </a:spcAft>
              <a:defRPr/>
            </a:pPr>
            <a:fld id="{56FCAD7B-F9FE-4F02-8DC7-C8B61955C71B}" type="datetime'''3''''''''''''''''''''''''''''''''0'''''''''''''''''''''''''">
              <a:rPr lang="en-US" altLang="en-US" sz="800">
                <a:solidFill>
                  <a:srgbClr val="031795"/>
                </a:solidFill>
                <a:latin typeface="Arial" panose="020B0604020202020204"/>
              </a:rPr>
              <a:pPr lvl="1" algn="ctr" defTabSz="609585">
                <a:spcBef>
                  <a:spcPct val="0"/>
                </a:spcBef>
                <a:spcAft>
                  <a:spcPct val="0"/>
                </a:spcAft>
                <a:defRPr/>
              </a:pPr>
              <a:t>30</a:t>
            </a:fld>
            <a:endParaRPr lang="en-ZA" sz="800">
              <a:solidFill>
                <a:srgbClr val="031795"/>
              </a:solidFill>
              <a:latin typeface="Arial" panose="020B0604020202020204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C3453CCA-2A1C-EF17-56E0-E21F2460D62F}"/>
              </a:ext>
            </a:extLst>
          </p:cNvPr>
          <p:cNvGraphicFramePr/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2012627212"/>
              </p:ext>
            </p:extLst>
          </p:nvPr>
        </p:nvGraphicFramePr>
        <p:xfrm>
          <a:off x="3929063" y="3735388"/>
          <a:ext cx="762000" cy="738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352" name="Text Placeholder 4">
            <a:extLst>
              <a:ext uri="{FF2B5EF4-FFF2-40B4-BE49-F238E27FC236}">
                <a16:creationId xmlns:a16="http://schemas.microsoft.com/office/drawing/2014/main" id="{0730164E-EBE8-DB2D-9A0D-5CA1CEDD76BD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059239" y="4424363"/>
            <a:ext cx="5000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609585">
              <a:spcBef>
                <a:spcPct val="0"/>
              </a:spcBef>
              <a:spcAft>
                <a:spcPct val="0"/>
              </a:spcAft>
              <a:defRPr/>
            </a:pPr>
            <a:r>
              <a:rPr lang="en-ZA" altLang="en-US" sz="800">
                <a:solidFill>
                  <a:srgbClr val="031795"/>
                </a:solidFill>
                <a:latin typeface="Arial"/>
              </a:rPr>
              <a:t>Resources</a:t>
            </a:r>
            <a:endParaRPr lang="en-ZA" sz="800">
              <a:solidFill>
                <a:srgbClr val="031795"/>
              </a:solidFill>
              <a:latin typeface="Arial"/>
            </a:endParaRPr>
          </a:p>
        </p:txBody>
      </p:sp>
      <p:sp>
        <p:nvSpPr>
          <p:cNvPr id="351" name="Text Placeholder 4">
            <a:extLst>
              <a:ext uri="{FF2B5EF4-FFF2-40B4-BE49-F238E27FC236}">
                <a16:creationId xmlns:a16="http://schemas.microsoft.com/office/drawing/2014/main" id="{F08233B5-FE3E-DB68-F477-81E1C6D2B23C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4237038" y="4140200"/>
            <a:ext cx="1428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817" tIns="0" rIns="14817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defTabSz="609585">
              <a:spcBef>
                <a:spcPct val="0"/>
              </a:spcBef>
              <a:spcAft>
                <a:spcPct val="0"/>
              </a:spcAft>
              <a:defRPr/>
            </a:pPr>
            <a:fld id="{C44575FA-7CCD-4A55-9621-E5C5504D8786}" type="datetime'''''''''''''9''''''''''''''''''0'''''''''''''''''''''''''''">
              <a:rPr lang="en-US" altLang="en-US" sz="800">
                <a:solidFill>
                  <a:srgbClr val="031795"/>
                </a:solidFill>
                <a:latin typeface="Arial" panose="020B0604020202020204"/>
              </a:rPr>
              <a:pPr lvl="1" algn="ctr" defTabSz="609585">
                <a:spcBef>
                  <a:spcPct val="0"/>
                </a:spcBef>
                <a:spcAft>
                  <a:spcPct val="0"/>
                </a:spcAft>
                <a:defRPr/>
              </a:pPr>
              <a:t>90</a:t>
            </a:fld>
            <a:endParaRPr lang="en-ZA" sz="800">
              <a:solidFill>
                <a:srgbClr val="031795"/>
              </a:solidFill>
              <a:latin typeface="Arial" panose="020B0604020202020204"/>
            </a:endParaRPr>
          </a:p>
        </p:txBody>
      </p:sp>
      <p:sp>
        <p:nvSpPr>
          <p:cNvPr id="353" name="Text Box 287">
            <a:extLst>
              <a:ext uri="{FF2B5EF4-FFF2-40B4-BE49-F238E27FC236}">
                <a16:creationId xmlns:a16="http://schemas.microsoft.com/office/drawing/2014/main" id="{5BE7B26D-631E-65D2-9FE2-C9BBAA09A1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40100" y="3393018"/>
            <a:ext cx="1100667" cy="29017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 lIns="62371" tIns="62371" rIns="62371" bIns="62371">
            <a:spAutoFit/>
          </a:bodyPr>
          <a:lstStyle/>
          <a:p>
            <a:pPr algn="ctr" defTabSz="609585" eaLnBrk="0" hangingPunct="0">
              <a:defRPr/>
            </a:pPr>
            <a:r>
              <a:rPr lang="en-ZA" sz="1067" b="1">
                <a:solidFill>
                  <a:srgbClr val="000000"/>
                </a:solidFill>
                <a:latin typeface="Arial" charset="0"/>
                <a:cs typeface="Arial" charset="0"/>
              </a:rPr>
              <a:t>North America</a:t>
            </a:r>
          </a:p>
        </p:txBody>
      </p:sp>
    </p:spTree>
    <p:extLst>
      <p:ext uri="{BB962C8B-B14F-4D97-AF65-F5344CB8AC3E}">
        <p14:creationId xmlns:p14="http://schemas.microsoft.com/office/powerpoint/2010/main" val="14430150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135CAAE-B1F1-4CCE-954A-D59EDF495D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655542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9" name="think-cell Slide" r:id="rId13" imgW="383" imgH="383" progId="TCLayout.ActiveDocument.1">
                  <p:embed/>
                </p:oleObj>
              </mc:Choice>
              <mc:Fallback>
                <p:oleObj name="think-cell Slide" r:id="rId13" imgW="383" imgH="38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135CAAE-B1F1-4CCE-954A-D59EDF495D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AC090175-6A67-1280-F1A5-23617C70A203}"/>
              </a:ext>
            </a:extLst>
          </p:cNvPr>
          <p:cNvSpPr/>
          <p:nvPr/>
        </p:nvSpPr>
        <p:spPr>
          <a:xfrm>
            <a:off x="6070045" y="2097618"/>
            <a:ext cx="2404032" cy="1926167"/>
          </a:xfrm>
          <a:prstGeom prst="rect">
            <a:avLst/>
          </a:prstGeom>
          <a:solidFill>
            <a:srgbClr val="347FF6">
              <a:alpha val="17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D0452C8-78B7-14FD-4A53-A01A795389CB}"/>
              </a:ext>
            </a:extLst>
          </p:cNvPr>
          <p:cNvCxnSpPr>
            <a:cxnSpLocks/>
          </p:cNvCxnSpPr>
          <p:nvPr/>
        </p:nvCxnSpPr>
        <p:spPr>
          <a:xfrm>
            <a:off x="1315330" y="3992034"/>
            <a:ext cx="9598204" cy="27517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7E46B0C-736E-B2EE-9E7F-8E6EA056350F}"/>
              </a:ext>
            </a:extLst>
          </p:cNvPr>
          <p:cNvCxnSpPr>
            <a:cxnSpLocks/>
          </p:cNvCxnSpPr>
          <p:nvPr/>
        </p:nvCxnSpPr>
        <p:spPr>
          <a:xfrm>
            <a:off x="6071660" y="2108200"/>
            <a:ext cx="4233" cy="3742267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E44FB5-E183-4532-997A-19BAAF9F1E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654194" y="6461572"/>
            <a:ext cx="162437" cy="143629"/>
          </a:xfrm>
        </p:spPr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586D5E-2722-0D44-AA02-B15E62DD2934}" type="slidenum"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E4626F9E-1D4F-70E1-1AD9-BDFB2EF22F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2395" y="477963"/>
            <a:ext cx="11132096" cy="1289455"/>
          </a:xfrm>
        </p:spPr>
        <p:txBody>
          <a:bodyPr vert="horz"/>
          <a:lstStyle/>
          <a:p>
            <a:r>
              <a:rPr lang="en-GB" dirty="0"/>
              <a:t>Key Zimbabwean PGM mining risks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51939C-8A5B-256F-A9AA-FB5EABA45358}"/>
              </a:ext>
            </a:extLst>
          </p:cNvPr>
          <p:cNvSpPr txBox="1"/>
          <p:nvPr/>
        </p:nvSpPr>
        <p:spPr>
          <a:xfrm rot="16200000">
            <a:off x="584161" y="3801872"/>
            <a:ext cx="790601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67" b="1" i="0" u="none" strike="noStrike" kern="1200" cap="none" spc="0" normalizeH="0" baseline="0" noProof="0">
                <a:ln>
                  <a:noFill/>
                </a:ln>
                <a:solidFill>
                  <a:srgbClr val="0317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4948BD7-AFA4-604C-CF79-6A54E0FA99F3}"/>
              </a:ext>
            </a:extLst>
          </p:cNvPr>
          <p:cNvSpPr txBox="1"/>
          <p:nvPr/>
        </p:nvSpPr>
        <p:spPr>
          <a:xfrm>
            <a:off x="5429251" y="5901267"/>
            <a:ext cx="1322917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67" b="1" i="0" u="none" strike="noStrike" kern="1200" cap="none" spc="0" normalizeH="0" baseline="0" noProof="0">
                <a:ln>
                  <a:noFill/>
                </a:ln>
                <a:solidFill>
                  <a:srgbClr val="0317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kelihoo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9385522-A110-8BE5-6CE5-097A06263332}"/>
              </a:ext>
            </a:extLst>
          </p:cNvPr>
          <p:cNvSpPr txBox="1"/>
          <p:nvPr/>
        </p:nvSpPr>
        <p:spPr>
          <a:xfrm>
            <a:off x="10503979" y="5852585"/>
            <a:ext cx="465192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67" b="0" i="1" u="none" strike="noStrike" kern="1200" cap="none" spc="0" normalizeH="0" baseline="0" noProof="0">
                <a:ln>
                  <a:noFill/>
                </a:ln>
                <a:solidFill>
                  <a:srgbClr val="0317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3519492-14F8-1AFF-AEEB-8A13DE48E7AD}"/>
              </a:ext>
            </a:extLst>
          </p:cNvPr>
          <p:cNvSpPr txBox="1"/>
          <p:nvPr/>
        </p:nvSpPr>
        <p:spPr>
          <a:xfrm>
            <a:off x="750816" y="1976967"/>
            <a:ext cx="465192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67" b="0" i="1" u="none" strike="noStrike" kern="1200" cap="none" spc="0" normalizeH="0" baseline="0" noProof="0">
                <a:ln>
                  <a:noFill/>
                </a:ln>
                <a:solidFill>
                  <a:srgbClr val="0317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D2D7A6A7-CA01-0AD2-5BD0-948BB68307D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83735018"/>
              </p:ext>
            </p:extLst>
          </p:nvPr>
        </p:nvGraphicFramePr>
        <p:xfrm>
          <a:off x="1187450" y="2014538"/>
          <a:ext cx="7373938" cy="300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46A7A107-1E4F-3FDF-16A5-61420A1D44B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780088" y="2452688"/>
            <a:ext cx="25161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9A90390-C790-40C5-B018-3F73EE25D7D7}" type="datetime'Foreign ''''''Ex''c''''hange'''''' ''''Con''''''tr''ols'''">
              <a:rPr kumimoji="0" lang="en-GB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317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1" indent="0" algn="l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Foreign Exchange Controls</a:t>
            </a:fld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317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F291435A-16DF-57DE-CDD6-54074D3F458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224338" y="2828925"/>
            <a:ext cx="13081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735BE51-2232-4C7E-BBF9-16E2886BB129}" type="datetime'In''di''g''''''''''en''''is''a''t''''''''''io''''''''n'''''''">
              <a:rPr kumimoji="0" lang="en-GB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317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1" indent="0" algn="l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Indigenisation</a:t>
            </a:fld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317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6285786C-F2AA-BD0B-A9A3-08196BD2826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027613" y="3681413"/>
            <a:ext cx="12176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AD5EA4A-AF0E-4BEC-BFB4-D5652E69D2F0}" type="datetime'''''''B''e''''nef''''ic''''''''''i''a''''''''''t''i''''''''on'">
              <a:rPr kumimoji="0" lang="en-GB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317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1" indent="0" algn="l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eneficiation</a:t>
            </a:fld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317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9B905424-2627-A085-EDAE-4D97A5F6010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881813" y="3703638"/>
            <a:ext cx="159226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5DAED0B-F11A-4792-80CF-0A4BB5161998}" type="datetime'''''''''''''''''Ma''c''r''''o''''''''''eco''no''mi''c''s'">
              <a:rPr kumimoji="0" lang="en-GB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317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1" indent="0" algn="l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croeconomics</a:t>
            </a:fld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317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E97EC748-7681-3288-8AFF-B414C2054B1C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230688" y="6396038"/>
            <a:ext cx="101600" cy="101600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188CD52A-A81B-7788-BA65-3A50E538973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264150" y="6396038"/>
            <a:ext cx="101600" cy="1016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6" name="Text Placeholder 4">
            <a:extLst>
              <a:ext uri="{FF2B5EF4-FFF2-40B4-BE49-F238E27FC236}">
                <a16:creationId xmlns:a16="http://schemas.microsoft.com/office/drawing/2014/main" id="{D28AB297-6ACC-59BB-C8B2-A574BB1362A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440238" y="6362701"/>
            <a:ext cx="666750" cy="182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F0C05E3-9F6C-48C4-B421-31DE1D77421F}" type="datetime'''''''''''''''E''c''''''o''''''''nomi''''''c'''''''">
              <a:rPr kumimoji="0" lang="en-GB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317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1" indent="0" algn="l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conomic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317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2" name="Text Placeholder 4">
            <a:extLst>
              <a:ext uri="{FF2B5EF4-FFF2-40B4-BE49-F238E27FC236}">
                <a16:creationId xmlns:a16="http://schemas.microsoft.com/office/drawing/2014/main" id="{5075229E-7A7A-EB5D-2842-563709835BD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473700" y="6362701"/>
            <a:ext cx="733425" cy="182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1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075" indent="-92075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800" indent="-90488" algn="l" defTabSz="4572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87313" algn="l" defTabSz="457200" rtl="0" eaLnBrk="1" latinLnBrk="0" hangingPunct="1">
              <a:spcBef>
                <a:spcPts val="300"/>
              </a:spcBef>
              <a:buFont typeface="AA Smart Sans" panose="00000500000000000000" pitchFamily="50" charset="0"/>
              <a:buChar char="-"/>
              <a:defRPr sz="1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4F820D7-3658-4BA0-9659-A551B382A725}" type="datetime'''''''''R''''''e''g''u''l''at''''''o''''ry'''''''''''''''''''">
              <a:rPr kumimoji="0" lang="en-GB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317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1" indent="0" algn="l" defTabSz="60958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Regulatory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317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D3363220-CDB8-F004-CE7F-F0C2CDAF2E59}"/>
              </a:ext>
            </a:extLst>
          </p:cNvPr>
          <p:cNvSpPr txBox="1"/>
          <p:nvPr/>
        </p:nvSpPr>
        <p:spPr>
          <a:xfrm>
            <a:off x="816903" y="5850467"/>
            <a:ext cx="434734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67" b="0" i="1" u="none" strike="noStrike" kern="1200" cap="none" spc="0" normalizeH="0" baseline="0" noProof="0">
                <a:ln>
                  <a:noFill/>
                </a:ln>
                <a:solidFill>
                  <a:srgbClr val="0317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w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C8B76A5-ABB1-0825-1605-053A5BB374D2}"/>
              </a:ext>
            </a:extLst>
          </p:cNvPr>
          <p:cNvSpPr txBox="1"/>
          <p:nvPr/>
        </p:nvSpPr>
        <p:spPr>
          <a:xfrm>
            <a:off x="11358753" y="6431828"/>
            <a:ext cx="457879" cy="2358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586D5E-2722-0D44-AA02-B15E62DD2934}" type="slidenum"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0317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rgbClr val="0317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72774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135CAAE-B1F1-4CCE-954A-D59EDF495D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think-cell Slide" r:id="rId4" imgW="383" imgH="383" progId="TCLayout.ActiveDocument.1">
                  <p:embed/>
                </p:oleObj>
              </mc:Choice>
              <mc:Fallback>
                <p:oleObj name="think-cell Slide" r:id="rId4" imgW="383" imgH="38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135CAAE-B1F1-4CCE-954A-D59EDF495D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E44FB5-E183-4532-997A-19BAAF9F1E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654194" y="6461572"/>
            <a:ext cx="162437" cy="143629"/>
          </a:xfrm>
        </p:spPr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586D5E-2722-0D44-AA02-B15E62DD2934}" type="slidenum"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F3223BA-C2D4-AE5D-310F-43DF5FED3747}"/>
              </a:ext>
            </a:extLst>
          </p:cNvPr>
          <p:cNvSpPr txBox="1"/>
          <p:nvPr/>
        </p:nvSpPr>
        <p:spPr>
          <a:xfrm>
            <a:off x="11358753" y="6494891"/>
            <a:ext cx="457879" cy="2358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586D5E-2722-0D44-AA02-B15E62DD2934}" type="slidenum"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0317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rgbClr val="0317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F2B9CC-23A8-79DB-20DB-06B660003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499873"/>
            <a:ext cx="11135784" cy="675219"/>
          </a:xfrm>
        </p:spPr>
        <p:txBody>
          <a:bodyPr vert="horz"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GM demand today largely automotive, </a:t>
            </a:r>
            <a:r>
              <a:rPr lang="en-US" dirty="0"/>
              <a:t>concentration issue</a:t>
            </a:r>
            <a:endParaRPr lang="en-GB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9F79ED44-499E-49E8-923B-A4D6D83CB64A}"/>
              </a:ext>
            </a:extLst>
          </p:cNvPr>
          <p:cNvGraphicFramePr>
            <a:graphicFrameLocks/>
          </p:cNvGraphicFramePr>
          <p:nvPr/>
        </p:nvGraphicFramePr>
        <p:xfrm>
          <a:off x="6244936" y="1904908"/>
          <a:ext cx="5059793" cy="3956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8A293F1F-9F19-1E74-B7E0-C35CE1E96054}"/>
              </a:ext>
            </a:extLst>
          </p:cNvPr>
          <p:cNvGraphicFramePr>
            <a:graphicFrameLocks/>
          </p:cNvGraphicFramePr>
          <p:nvPr/>
        </p:nvGraphicFramePr>
        <p:xfrm>
          <a:off x="531930" y="1904908"/>
          <a:ext cx="4849945" cy="393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FD8B83FE-E55B-D5E6-A1AF-437AFA2399A7}"/>
              </a:ext>
            </a:extLst>
          </p:cNvPr>
          <p:cNvSpPr txBox="1"/>
          <p:nvPr/>
        </p:nvSpPr>
        <p:spPr>
          <a:xfrm>
            <a:off x="540348" y="6016735"/>
            <a:ext cx="4698069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67" b="0" i="0" u="none" strike="noStrike" kern="1200" cap="none" spc="0" normalizeH="0" baseline="0" noProof="0" dirty="0">
                <a:ln>
                  <a:noFill/>
                </a:ln>
                <a:solidFill>
                  <a:srgbClr val="0317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Average 2018-2022</a:t>
            </a:r>
            <a:endParaRPr kumimoji="0" lang="en-US" sz="1067" b="0" i="0" u="none" strike="noStrike" kern="1200" cap="none" spc="0" normalizeH="0" baseline="0" noProof="0" dirty="0" err="1">
              <a:ln>
                <a:noFill/>
              </a:ln>
              <a:solidFill>
                <a:srgbClr val="0317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A46A84F-1E87-D9B3-2CBD-AA07AB9C2615}"/>
              </a:ext>
            </a:extLst>
          </p:cNvPr>
          <p:cNvSpPr txBox="1"/>
          <p:nvPr/>
        </p:nvSpPr>
        <p:spPr>
          <a:xfrm>
            <a:off x="5132129" y="4378908"/>
            <a:ext cx="1806459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67" b="0" i="0" u="none" strike="noStrike" kern="1200" cap="none" spc="0" normalizeH="0" baseline="0" noProof="0" dirty="0">
                <a:ln>
                  <a:noFill/>
                </a:ln>
                <a:solidFill>
                  <a:srgbClr val="0317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7% by volume,</a:t>
            </a:r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67" b="0" i="0" u="none" strike="noStrike" kern="1200" cap="none" spc="0" normalizeH="0" baseline="0" noProof="0" dirty="0">
                <a:ln>
                  <a:noFill/>
                </a:ln>
                <a:solidFill>
                  <a:srgbClr val="0317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0% by value</a:t>
            </a:r>
            <a:endParaRPr kumimoji="0" lang="en-US" sz="1467" b="0" i="0" u="none" strike="noStrike" kern="1200" cap="none" spc="0" normalizeH="0" baseline="0" noProof="0" dirty="0" err="1">
              <a:ln>
                <a:noFill/>
              </a:ln>
              <a:solidFill>
                <a:srgbClr val="0317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Graphic 1" descr="Car with solid fill">
            <a:extLst>
              <a:ext uri="{FF2B5EF4-FFF2-40B4-BE49-F238E27FC236}">
                <a16:creationId xmlns:a16="http://schemas.microsoft.com/office/drawing/2014/main" id="{2611B68C-032A-60CE-773D-3526B5F29CA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254871" y="3475405"/>
            <a:ext cx="12192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1982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_auvfRuKsjBwjvqa.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4UqZ_LQpGmG.d2zpTSB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oItoGWsOdsEPyR0w1Rz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QZ1AbMHQlLK2dYZMaU4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BpaRLWopvsz9wYK_us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WpiaKeOfCTRdGRVx2z1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.QPJmaKs0vAhNzAzZ6H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_.FSkBzZbrai5odPVbU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s6GbQPeIGSiEkXxyvR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Yhnkdgv0AuYZm9n2yA4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P1S8tQ25Woyp9KMKj6f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zKzm4lum._T05d_kwmD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wcoiThdcBFS2ay0Lud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Mpo0HV0_vUbCQyKeyHw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gCEcEYPy8x4L_4_hW5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79p30hTZG5xGZQZYNuC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6Efzn9_Tyu3qVA4Fk49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3KfAwfHONxBHA9498ot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XMA0L1n.fZsDYIM9pyL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N7svb.YjdMjtdLBfjYi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iMg_CdsSQZIJjKIgYVD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j3wt00zz4nrBV.Hxx3Y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6MPpKKgQFtuTUbg0QNe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MpbC4RosG8Gimnnx0mx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Vn8Uq8c2h14m9crZz1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lYePCNW_dKRW43qrR3A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pA0eByqN9mmTxrmL6wR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htIHHlH97FfufPLsixD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vj33pR1JbA586rbI0TN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v4D4.MAHj2AzzOhmx6x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r257tkw3zu8mfSWNdfL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zX6lHy1t.5pcDwsX0eB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bdIkdCKlXP0Y.Ie6gAM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X0DQyIfqCVYbGisLuiw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7vU7TuCsNYvzCHYTss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UP8u2vP1wqz.jBLgsGP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crusutxpexyZmjuF_F9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0ji5y8AeNdvfRO0lHgZ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hdyjCSfjX_URa.UATZE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QK58trEK1DVkH5UCKUc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5e.DKAi4FGM6IcOrQRl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ua5ZGStQwjzKZDZB9Up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tZ7qQtEY9481TALrJ.Q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nrP0vZEL_ybxHTRUcb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JiYhgo345gqChe.l4ik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PlyDn33s_4mXZebkXYB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9GAEA.2.R3y9Viy7cCT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26s5DZYj3qHCxXTGhUq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Default Theme">
  <a:themeElements>
    <a:clrScheme name="Anglo American 2">
      <a:dk1>
        <a:srgbClr val="031795"/>
      </a:dk1>
      <a:lt1>
        <a:srgbClr val="FFFFFF"/>
      </a:lt1>
      <a:dk2>
        <a:srgbClr val="347FF6"/>
      </a:dk2>
      <a:lt2>
        <a:srgbClr val="FF0000"/>
      </a:lt2>
      <a:accent1>
        <a:srgbClr val="FF8B00"/>
      </a:accent1>
      <a:accent2>
        <a:srgbClr val="F4D500"/>
      </a:accent2>
      <a:accent3>
        <a:srgbClr val="63B145"/>
      </a:accent3>
      <a:accent4>
        <a:srgbClr val="17EADB"/>
      </a:accent4>
      <a:accent5>
        <a:srgbClr val="6B2281"/>
      </a:accent5>
      <a:accent6>
        <a:srgbClr val="B80B77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1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ngloAmericanTemplateWidescreen_210421" id="{28129B8D-56DE-4E5E-A130-AE3373BDC2FE}" vid="{FC5BF897-5E54-427D-A3F7-3760B21D48F0}"/>
    </a:ext>
  </a:extLst>
</a:theme>
</file>

<file path=ppt/theme/theme3.xml><?xml version="1.0" encoding="utf-8"?>
<a:theme xmlns:a="http://schemas.openxmlformats.org/drawingml/2006/main" name="1_Default Theme">
  <a:themeElements>
    <a:clrScheme name="Anglo American 2">
      <a:dk1>
        <a:srgbClr val="031795"/>
      </a:dk1>
      <a:lt1>
        <a:srgbClr val="FFFFFF"/>
      </a:lt1>
      <a:dk2>
        <a:srgbClr val="347FF6"/>
      </a:dk2>
      <a:lt2>
        <a:srgbClr val="FF0000"/>
      </a:lt2>
      <a:accent1>
        <a:srgbClr val="FF8B00"/>
      </a:accent1>
      <a:accent2>
        <a:srgbClr val="F4D500"/>
      </a:accent2>
      <a:accent3>
        <a:srgbClr val="63B145"/>
      </a:accent3>
      <a:accent4>
        <a:srgbClr val="17EADB"/>
      </a:accent4>
      <a:accent5>
        <a:srgbClr val="6B2281"/>
      </a:accent5>
      <a:accent6>
        <a:srgbClr val="B80B77"/>
      </a:accent6>
      <a:hlink>
        <a:srgbClr val="0000FF"/>
      </a:hlink>
      <a:folHlink>
        <a:srgbClr val="800080"/>
      </a:folHlink>
    </a:clrScheme>
    <a:fontScheme name="AngloAmerican 202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1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ngloAmerican_Template_Widescreen_160621.potx" id="{FB96DAE8-DAF5-41A6-BDB3-3F721135C0FA}" vid="{20E44761-9319-42CF-BD3F-4EA7912E0C7E}"/>
    </a:ext>
  </a:extLst>
</a:theme>
</file>

<file path=ppt/theme/theme4.xml><?xml version="1.0" encoding="utf-8"?>
<a:theme xmlns:a="http://schemas.openxmlformats.org/drawingml/2006/main" name="2_Default Theme">
  <a:themeElements>
    <a:clrScheme name="Anglo American 2">
      <a:dk1>
        <a:srgbClr val="031795"/>
      </a:dk1>
      <a:lt1>
        <a:srgbClr val="FFFFFF"/>
      </a:lt1>
      <a:dk2>
        <a:srgbClr val="347FF6"/>
      </a:dk2>
      <a:lt2>
        <a:srgbClr val="FF0000"/>
      </a:lt2>
      <a:accent1>
        <a:srgbClr val="FF8B00"/>
      </a:accent1>
      <a:accent2>
        <a:srgbClr val="F4D500"/>
      </a:accent2>
      <a:accent3>
        <a:srgbClr val="63B145"/>
      </a:accent3>
      <a:accent4>
        <a:srgbClr val="17EADB"/>
      </a:accent4>
      <a:accent5>
        <a:srgbClr val="6B2281"/>
      </a:accent5>
      <a:accent6>
        <a:srgbClr val="B80B77"/>
      </a:accent6>
      <a:hlink>
        <a:srgbClr val="0000FF"/>
      </a:hlink>
      <a:folHlink>
        <a:srgbClr val="800080"/>
      </a:folHlink>
    </a:clrScheme>
    <a:fontScheme name="AngloAmerican 202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1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ngloAmerican_Template_Widescreen_160621.potx" id="{FB96DAE8-DAF5-41A6-BDB3-3F721135C0FA}" vid="{20E44761-9319-42CF-BD3F-4EA7912E0C7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199</Words>
  <Application>Microsoft Office PowerPoint</Application>
  <PresentationFormat>Widescreen</PresentationFormat>
  <Paragraphs>90</Paragraphs>
  <Slides>4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Office Theme</vt:lpstr>
      <vt:lpstr>3_Default Theme</vt:lpstr>
      <vt:lpstr>1_Default Theme</vt:lpstr>
      <vt:lpstr>2_Default Theme</vt:lpstr>
      <vt:lpstr>Addressing Challenges Undermining the Potential Growth of Mineral Subsectors</vt:lpstr>
      <vt:lpstr>There is potential for Zimbabwe to increase its  share of global production, in line with its resources</vt:lpstr>
      <vt:lpstr>Key Zimbabwean PGM mining risks</vt:lpstr>
      <vt:lpstr>PGM demand today largely automotive, concentration issu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dressing Challenges Undermining the Potential Growth of Mineral Subsectors</dc:title>
  <dc:creator>Chibafa, Colin</dc:creator>
  <cp:lastModifiedBy>Chibafa, Colin</cp:lastModifiedBy>
  <cp:revision>2</cp:revision>
  <dcterms:created xsi:type="dcterms:W3CDTF">2023-05-29T12:53:01Z</dcterms:created>
  <dcterms:modified xsi:type="dcterms:W3CDTF">2023-05-31T07:21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f2a5e4-10d8-4dfe-8082-7352c27520cb_Enabled">
    <vt:lpwstr>true</vt:lpwstr>
  </property>
  <property fmtid="{D5CDD505-2E9C-101B-9397-08002B2CF9AE}" pid="3" name="MSIP_Label_e3f2a5e4-10d8-4dfe-8082-7352c27520cb_SetDate">
    <vt:lpwstr>2023-05-29T13:13:44Z</vt:lpwstr>
  </property>
  <property fmtid="{D5CDD505-2E9C-101B-9397-08002B2CF9AE}" pid="4" name="MSIP_Label_e3f2a5e4-10d8-4dfe-8082-7352c27520cb_Method">
    <vt:lpwstr>Standard</vt:lpwstr>
  </property>
  <property fmtid="{D5CDD505-2E9C-101B-9397-08002B2CF9AE}" pid="5" name="MSIP_Label_e3f2a5e4-10d8-4dfe-8082-7352c27520cb_Name">
    <vt:lpwstr>_Official</vt:lpwstr>
  </property>
  <property fmtid="{D5CDD505-2E9C-101B-9397-08002B2CF9AE}" pid="6" name="MSIP_Label_e3f2a5e4-10d8-4dfe-8082-7352c27520cb_SiteId">
    <vt:lpwstr>2864f69d-77c3-4fbe-bbc0-97502052391a</vt:lpwstr>
  </property>
  <property fmtid="{D5CDD505-2E9C-101B-9397-08002B2CF9AE}" pid="7" name="MSIP_Label_e3f2a5e4-10d8-4dfe-8082-7352c27520cb_ActionId">
    <vt:lpwstr>4dd50f6a-abcd-44e6-965f-6fcd77886817</vt:lpwstr>
  </property>
  <property fmtid="{D5CDD505-2E9C-101B-9397-08002B2CF9AE}" pid="8" name="MSIP_Label_e3f2a5e4-10d8-4dfe-8082-7352c27520cb_ContentBits">
    <vt:lpwstr>1</vt:lpwstr>
  </property>
  <property fmtid="{D5CDD505-2E9C-101B-9397-08002B2CF9AE}" pid="9" name="ClassificationContentMarkingHeaderLocations">
    <vt:lpwstr>Office Theme:12\3_Default Theme:4\1_Default Theme:3</vt:lpwstr>
  </property>
  <property fmtid="{D5CDD505-2E9C-101B-9397-08002B2CF9AE}" pid="10" name="ClassificationContentMarkingHeaderText">
    <vt:lpwstr>[OFFICIAL]</vt:lpwstr>
  </property>
</Properties>
</file>